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12" r:id="rId4"/>
    <p:sldMasterId id="2147483728" r:id="rId5"/>
    <p:sldMasterId id="2147483749" r:id="rId6"/>
  </p:sldMasterIdLst>
  <p:notesMasterIdLst>
    <p:notesMasterId r:id="rId13"/>
  </p:notesMasterIdLst>
  <p:handoutMasterIdLst>
    <p:handoutMasterId r:id="rId14"/>
  </p:handoutMasterIdLst>
  <p:sldIdLst>
    <p:sldId id="282" r:id="rId7"/>
    <p:sldId id="537" r:id="rId8"/>
    <p:sldId id="536" r:id="rId9"/>
    <p:sldId id="540" r:id="rId10"/>
    <p:sldId id="546" r:id="rId11"/>
    <p:sldId id="281" r:id="rId12"/>
  </p:sldIdLst>
  <p:sldSz cx="12192000" cy="6858000"/>
  <p:notesSz cx="6858000" cy="9144000"/>
  <p:defaultTextStyle>
    <a:defPPr>
      <a:defRPr lang="it-I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Istruzioni" id="{E0561466-C59A-438B-BB3A-25C8B0C4C4D7}">
          <p14:sldIdLst>
            <p14:sldId id="282"/>
            <p14:sldId id="537"/>
            <p14:sldId id="536"/>
            <p14:sldId id="540"/>
            <p14:sldId id="546"/>
            <p14:sldId id="281"/>
          </p14:sldIdLst>
        </p14:section>
      </p14:sectionLst>
    </p:ext>
    <p:ext uri="{EFAFB233-063F-42B5-8137-9DF3F51BA10A}">
      <p15:sldGuideLst xmlns:p15="http://schemas.microsoft.com/office/powerpoint/2012/main">
        <p15:guide id="2" pos="3840" userDrawn="1">
          <p15:clr>
            <a:srgbClr val="A4A3A4"/>
          </p15:clr>
        </p15:guide>
        <p15:guide id="3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9CB88457-DDB7-902E-40EC-ABFD9730D4A1}" name="DI FILIPPO ALESSIA (CA)" initials="DFA(" userId="S::DIFILI47@posteitaliane.it::30ce2eba-a978-4b21-b69c-c0584c62b430" providerId="AD"/>
  <p188:author id="{1DD6C3C3-D095-0C69-990F-3B6B058B1E90}" name="FARINA ANNARITA (BP)" initials="FA(" userId="S::FARINA66@posteitaliane.it::6a118f16-8a78-4d5c-8400-75585e9f7c26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DI FILIPPO ALESSIA (CA)" initials="DFA(" lastIdx="5" clrIdx="0">
    <p:extLst>
      <p:ext uri="{19B8F6BF-5375-455C-9EA6-DF929625EA0E}">
        <p15:presenceInfo xmlns:p15="http://schemas.microsoft.com/office/powerpoint/2012/main" userId="S-1-5-21-1645522239-764733703-1801674531-2901874" providerId="AD"/>
      </p:ext>
    </p:extLst>
  </p:cmAuthor>
  <p:cmAuthor id="2" name="Valentina Belia" initials="VB" lastIdx="4" clrIdx="1">
    <p:extLst>
      <p:ext uri="{19B8F6BF-5375-455C-9EA6-DF929625EA0E}">
        <p15:presenceInfo xmlns:p15="http://schemas.microsoft.com/office/powerpoint/2012/main" userId="S::multimedia@keen95.onmicrosoft.com::cd5ed4c8-ff84-4268-8eed-9a91efc108c4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C3C3B"/>
    <a:srgbClr val="0047BB"/>
    <a:srgbClr val="E6DC00"/>
    <a:srgbClr val="6F6F6F"/>
    <a:srgbClr val="F7DA00"/>
    <a:srgbClr val="B9B9B9"/>
    <a:srgbClr val="D5DEF2"/>
    <a:srgbClr val="3B3B3A"/>
    <a:srgbClr val="707173"/>
    <a:srgbClr val="EFDC0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A175A62-9412-472C-B211-0FC0C7EE8B7A}" v="22" dt="2023-10-19T15:06:34.374"/>
  </p1510:revLst>
</p1510:revInfo>
</file>

<file path=ppt/tableStyles.xml><?xml version="1.0" encoding="utf-8"?>
<a:tblStyleLst xmlns:a="http://schemas.openxmlformats.org/drawingml/2006/main" def="{F2DE63D5-997A-4646-A377-4702673A728D}">
  <a:tblStyle styleId="{5C22544A-7EE6-4342-B048-85BDC9FD1C3A}" styleName="Stile medio 2 - Color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Stile medio 2 - Colore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EB344D84-9AFB-497E-A393-DC336BA19D2E}" styleName="Stile medio 3 - Colore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F2DE63D5-997A-4646-A377-4702673A728D}" styleName="Stile chiaro 2 - Colore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69012ECD-51FC-41F1-AA8D-1B2483CD663E}" styleName="Stile chiaro 2 - Colore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6E25E649-3F16-4E02-A733-19D2CDBF48F0}" styleName="Stile medio 3 - Colore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Stile medio 2 - Colore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987" autoAdjust="0"/>
    <p:restoredTop sz="94681" autoAdjust="0"/>
  </p:normalViewPr>
  <p:slideViewPr>
    <p:cSldViewPr snapToGrid="0" showGuides="1">
      <p:cViewPr varScale="1">
        <p:scale>
          <a:sx n="62" d="100"/>
          <a:sy n="62" d="100"/>
        </p:scale>
        <p:origin x="792" y="56"/>
      </p:cViewPr>
      <p:guideLst>
        <p:guide pos="3840"/>
        <p:guide orient="horz" pos="2160"/>
      </p:guideLst>
    </p:cSldViewPr>
  </p:slideViewPr>
  <p:outlineViewPr>
    <p:cViewPr>
      <p:scale>
        <a:sx n="33" d="100"/>
        <a:sy n="33" d="100"/>
      </p:scale>
      <p:origin x="0" y="-19362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-9978"/>
    </p:cViewPr>
  </p:sorterViewPr>
  <p:notesViewPr>
    <p:cSldViewPr snapToGrid="0" showGuides="1">
      <p:cViewPr varScale="1">
        <p:scale>
          <a:sx n="68" d="100"/>
          <a:sy n="68" d="100"/>
        </p:scale>
        <p:origin x="2808" y="84"/>
      </p:cViewPr>
      <p:guideLst>
        <p:guide orient="horz" pos="2880"/>
        <p:guide pos="2160"/>
      </p:guideLst>
    </p:cSldViewPr>
  </p:notesViewPr>
  <p:gridSpacing cx="72000" cy="720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notesMaster" Target="notesMasters/notesMaster1.xml"/><Relationship Id="rId18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microsoft.com/office/2018/10/relationships/authors" Target="authors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presProps" Target="presProps.xml"/><Relationship Id="rId20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5" Type="http://schemas.openxmlformats.org/officeDocument/2006/relationships/slideMaster" Target="slideMasters/slideMaster2.xml"/><Relationship Id="rId15" Type="http://schemas.openxmlformats.org/officeDocument/2006/relationships/commentAuthors" Target="commentAuthors.xml"/><Relationship Id="rId10" Type="http://schemas.openxmlformats.org/officeDocument/2006/relationships/slide" Target="slides/slide4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handoutMaster" Target="handoutMasters/handout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3" name="Segnaposto data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BA27F44-93BE-4FB7-9E19-7A628A7EB4B3}" type="datetimeFigureOut">
              <a:rPr lang="it-IT" smtClean="0"/>
              <a:t>15/02/2024</a:t>
            </a:fld>
            <a:endParaRPr lang="it-IT"/>
          </a:p>
        </p:txBody>
      </p:sp>
      <p:sp>
        <p:nvSpPr>
          <p:cNvPr id="4" name="Segnaposto piè di pagina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5" name="Segnaposto numero diapositiva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34D4E57-A626-483B-A2BF-75876291785D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69344300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3" name="Segnaposto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BEDB3C5-AE6C-4732-8E2E-E751C6E2559C}" type="datetimeFigureOut">
              <a:rPr lang="it-IT" smtClean="0"/>
              <a:t>15/02/2024</a:t>
            </a:fld>
            <a:endParaRPr lang="it-IT"/>
          </a:p>
        </p:txBody>
      </p:sp>
      <p:sp>
        <p:nvSpPr>
          <p:cNvPr id="4" name="Segnaposto immagin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it-IT"/>
          </a:p>
        </p:txBody>
      </p:sp>
      <p:sp>
        <p:nvSpPr>
          <p:cNvPr id="5" name="Segnaposto note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4394A5F-BBD8-48D1-BFB7-ADE00A536AA5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92580957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.sv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3.svg"/><Relationship Id="rId4" Type="http://schemas.openxmlformats.org/officeDocument/2006/relationships/image" Target="../media/image12.pn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3.svg"/><Relationship Id="rId4" Type="http://schemas.openxmlformats.org/officeDocument/2006/relationships/image" Target="../media/image12.pn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4.jp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.svg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8.emf"/><Relationship Id="rId4" Type="http://schemas.openxmlformats.org/officeDocument/2006/relationships/image" Target="../media/image17.png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0.svg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2.svg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13.svg"/><Relationship Id="rId4" Type="http://schemas.openxmlformats.org/officeDocument/2006/relationships/image" Target="../media/image12.png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13.svg"/><Relationship Id="rId4" Type="http://schemas.openxmlformats.org/officeDocument/2006/relationships/image" Target="../media/image12.png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14.jp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2.svg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18.emf"/><Relationship Id="rId4" Type="http://schemas.openxmlformats.org/officeDocument/2006/relationships/image" Target="../media/image17.png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20.svg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.xml"/><Relationship Id="rId6" Type="http://schemas.openxmlformats.org/officeDocument/2006/relationships/image" Target="../media/image2.svg"/><Relationship Id="rId5" Type="http://schemas.openxmlformats.org/officeDocument/2006/relationships/image" Target="../media/image1.png"/><Relationship Id="rId4" Type="http://schemas.openxmlformats.org/officeDocument/2006/relationships/image" Target="../media/image21.emf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0_Copertin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ject 6">
            <a:extLst>
              <a:ext uri="{FF2B5EF4-FFF2-40B4-BE49-F238E27FC236}">
                <a16:creationId xmlns:a16="http://schemas.microsoft.com/office/drawing/2014/main" id="{630A3358-171E-9F95-744D-0A9F81DA371C}"/>
              </a:ext>
            </a:extLst>
          </p:cNvPr>
          <p:cNvSpPr/>
          <p:nvPr userDrawn="1"/>
        </p:nvSpPr>
        <p:spPr>
          <a:xfrm>
            <a:off x="12111981" y="6771644"/>
            <a:ext cx="80645" cy="86360"/>
          </a:xfrm>
          <a:custGeom>
            <a:avLst/>
            <a:gdLst/>
            <a:ahLst/>
            <a:cxnLst/>
            <a:rect l="l" t="t" r="r" b="b"/>
            <a:pathLst>
              <a:path w="80645" h="86359">
                <a:moveTo>
                  <a:pt x="0" y="86355"/>
                </a:moveTo>
                <a:lnTo>
                  <a:pt x="41642" y="42245"/>
                </a:lnTo>
                <a:lnTo>
                  <a:pt x="80018" y="0"/>
                </a:lnTo>
              </a:path>
            </a:pathLst>
          </a:custGeom>
          <a:ln w="1270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venirNext LT Pro Regular" panose="020B0504020202020204" pitchFamily="34" charset="77"/>
              <a:ea typeface="+mn-ea"/>
              <a:cs typeface="+mn-cs"/>
            </a:endParaRPr>
          </a:p>
        </p:txBody>
      </p:sp>
      <p:sp>
        <p:nvSpPr>
          <p:cNvPr id="10" name="object 7">
            <a:extLst>
              <a:ext uri="{FF2B5EF4-FFF2-40B4-BE49-F238E27FC236}">
                <a16:creationId xmlns:a16="http://schemas.microsoft.com/office/drawing/2014/main" id="{32095C2C-B333-F205-B4D6-B882BEE342F4}"/>
              </a:ext>
            </a:extLst>
          </p:cNvPr>
          <p:cNvSpPr/>
          <p:nvPr userDrawn="1"/>
        </p:nvSpPr>
        <p:spPr>
          <a:xfrm>
            <a:off x="11918422" y="6559810"/>
            <a:ext cx="273685" cy="298450"/>
          </a:xfrm>
          <a:custGeom>
            <a:avLst/>
            <a:gdLst/>
            <a:ahLst/>
            <a:cxnLst/>
            <a:rect l="l" t="t" r="r" b="b"/>
            <a:pathLst>
              <a:path w="273684" h="298450">
                <a:moveTo>
                  <a:pt x="0" y="298189"/>
                </a:moveTo>
                <a:lnTo>
                  <a:pt x="69408" y="225749"/>
                </a:lnTo>
                <a:lnTo>
                  <a:pt x="172330" y="114116"/>
                </a:lnTo>
                <a:lnTo>
                  <a:pt x="273577" y="0"/>
                </a:lnTo>
              </a:path>
            </a:pathLst>
          </a:custGeom>
          <a:ln w="1270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venirNext LT Pro Regular" panose="020B0504020202020204" pitchFamily="34" charset="77"/>
              <a:ea typeface="+mn-ea"/>
              <a:cs typeface="+mn-cs"/>
            </a:endParaRPr>
          </a:p>
        </p:txBody>
      </p:sp>
      <p:sp>
        <p:nvSpPr>
          <p:cNvPr id="11" name="object 8">
            <a:extLst>
              <a:ext uri="{FF2B5EF4-FFF2-40B4-BE49-F238E27FC236}">
                <a16:creationId xmlns:a16="http://schemas.microsoft.com/office/drawing/2014/main" id="{6AE440DE-AA0B-DEA7-C4B9-023551B1644F}"/>
              </a:ext>
            </a:extLst>
          </p:cNvPr>
          <p:cNvSpPr/>
          <p:nvPr userDrawn="1"/>
        </p:nvSpPr>
        <p:spPr>
          <a:xfrm>
            <a:off x="11724016" y="6340674"/>
            <a:ext cx="467995" cy="517525"/>
          </a:xfrm>
          <a:custGeom>
            <a:avLst/>
            <a:gdLst/>
            <a:ahLst/>
            <a:cxnLst/>
            <a:rect l="l" t="t" r="r" b="b"/>
            <a:pathLst>
              <a:path w="467995" h="517525">
                <a:moveTo>
                  <a:pt x="0" y="517325"/>
                </a:moveTo>
                <a:lnTo>
                  <a:pt x="98020" y="416558"/>
                </a:lnTo>
                <a:lnTo>
                  <a:pt x="200645" y="306920"/>
                </a:lnTo>
                <a:lnTo>
                  <a:pt x="302075" y="194322"/>
                </a:lnTo>
                <a:lnTo>
                  <a:pt x="402286" y="78734"/>
                </a:lnTo>
                <a:lnTo>
                  <a:pt x="467983" y="0"/>
                </a:lnTo>
              </a:path>
            </a:pathLst>
          </a:custGeom>
          <a:ln w="1270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venirNext LT Pro Regular" panose="020B0504020202020204" pitchFamily="34" charset="77"/>
              <a:ea typeface="+mn-ea"/>
              <a:cs typeface="+mn-cs"/>
            </a:endParaRPr>
          </a:p>
        </p:txBody>
      </p:sp>
      <p:sp>
        <p:nvSpPr>
          <p:cNvPr id="12" name="object 9">
            <a:extLst>
              <a:ext uri="{FF2B5EF4-FFF2-40B4-BE49-F238E27FC236}">
                <a16:creationId xmlns:a16="http://schemas.microsoft.com/office/drawing/2014/main" id="{2F5F0983-3610-DB53-8771-1519440EC36D}"/>
              </a:ext>
            </a:extLst>
          </p:cNvPr>
          <p:cNvSpPr/>
          <p:nvPr userDrawn="1"/>
        </p:nvSpPr>
        <p:spPr>
          <a:xfrm>
            <a:off x="11527764" y="6115261"/>
            <a:ext cx="664845" cy="742950"/>
          </a:xfrm>
          <a:custGeom>
            <a:avLst/>
            <a:gdLst/>
            <a:ahLst/>
            <a:cxnLst/>
            <a:rect l="l" t="t" r="r" b="b"/>
            <a:pathLst>
              <a:path w="664845" h="742950">
                <a:moveTo>
                  <a:pt x="0" y="742738"/>
                </a:moveTo>
                <a:lnTo>
                  <a:pt x="128484" y="613635"/>
                </a:lnTo>
                <a:lnTo>
                  <a:pt x="230812" y="505993"/>
                </a:lnTo>
                <a:lnTo>
                  <a:pt x="331981" y="395414"/>
                </a:lnTo>
                <a:lnTo>
                  <a:pt x="431967" y="281868"/>
                </a:lnTo>
                <a:lnTo>
                  <a:pt x="530747" y="165327"/>
                </a:lnTo>
                <a:lnTo>
                  <a:pt x="628297" y="45761"/>
                </a:lnTo>
                <a:lnTo>
                  <a:pt x="664235" y="0"/>
                </a:lnTo>
              </a:path>
            </a:pathLst>
          </a:custGeom>
          <a:ln w="1270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venirNext LT Pro Regular" panose="020B0504020202020204" pitchFamily="34" charset="77"/>
              <a:ea typeface="+mn-ea"/>
              <a:cs typeface="+mn-cs"/>
            </a:endParaRPr>
          </a:p>
        </p:txBody>
      </p:sp>
      <p:sp>
        <p:nvSpPr>
          <p:cNvPr id="13" name="object 10">
            <a:extLst>
              <a:ext uri="{FF2B5EF4-FFF2-40B4-BE49-F238E27FC236}">
                <a16:creationId xmlns:a16="http://schemas.microsoft.com/office/drawing/2014/main" id="{37DD7BBB-3A6E-C74E-9A9D-29E4258E5C7A}"/>
              </a:ext>
            </a:extLst>
          </p:cNvPr>
          <p:cNvSpPr/>
          <p:nvPr userDrawn="1"/>
        </p:nvSpPr>
        <p:spPr>
          <a:xfrm>
            <a:off x="11330296" y="5882986"/>
            <a:ext cx="862330" cy="975360"/>
          </a:xfrm>
          <a:custGeom>
            <a:avLst/>
            <a:gdLst/>
            <a:ahLst/>
            <a:cxnLst/>
            <a:rect l="l" t="t" r="r" b="b"/>
            <a:pathLst>
              <a:path w="862329" h="975359">
                <a:moveTo>
                  <a:pt x="0" y="975013"/>
                </a:moveTo>
                <a:lnTo>
                  <a:pt x="57026" y="920341"/>
                </a:lnTo>
                <a:lnTo>
                  <a:pt x="160158" y="817580"/>
                </a:lnTo>
                <a:lnTo>
                  <a:pt x="262189" y="711933"/>
                </a:lnTo>
                <a:lnTo>
                  <a:pt x="363096" y="603373"/>
                </a:lnTo>
                <a:lnTo>
                  <a:pt x="462857" y="491870"/>
                </a:lnTo>
                <a:lnTo>
                  <a:pt x="561448" y="377396"/>
                </a:lnTo>
                <a:lnTo>
                  <a:pt x="658847" y="259921"/>
                </a:lnTo>
                <a:lnTo>
                  <a:pt x="755031" y="139417"/>
                </a:lnTo>
                <a:lnTo>
                  <a:pt x="849976" y="15854"/>
                </a:lnTo>
                <a:lnTo>
                  <a:pt x="861704" y="0"/>
                </a:lnTo>
              </a:path>
            </a:pathLst>
          </a:custGeom>
          <a:ln w="12699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venirNext LT Pro Regular" panose="020B0504020202020204" pitchFamily="34" charset="77"/>
              <a:ea typeface="+mn-ea"/>
              <a:cs typeface="+mn-cs"/>
            </a:endParaRPr>
          </a:p>
        </p:txBody>
      </p:sp>
      <p:sp>
        <p:nvSpPr>
          <p:cNvPr id="14" name="object 11">
            <a:extLst>
              <a:ext uri="{FF2B5EF4-FFF2-40B4-BE49-F238E27FC236}">
                <a16:creationId xmlns:a16="http://schemas.microsoft.com/office/drawing/2014/main" id="{FF03D9AF-6CFF-BC95-BAFB-1AD76A161A57}"/>
              </a:ext>
            </a:extLst>
          </p:cNvPr>
          <p:cNvSpPr/>
          <p:nvPr userDrawn="1"/>
        </p:nvSpPr>
        <p:spPr>
          <a:xfrm>
            <a:off x="11131790" y="5642891"/>
            <a:ext cx="1060450" cy="1215390"/>
          </a:xfrm>
          <a:custGeom>
            <a:avLst/>
            <a:gdLst/>
            <a:ahLst/>
            <a:cxnLst/>
            <a:rect l="l" t="t" r="r" b="b"/>
            <a:pathLst>
              <a:path w="1060450" h="1215390">
                <a:moveTo>
                  <a:pt x="0" y="1215108"/>
                </a:moveTo>
                <a:lnTo>
                  <a:pt x="90074" y="1130138"/>
                </a:lnTo>
                <a:lnTo>
                  <a:pt x="192874" y="1029348"/>
                </a:lnTo>
                <a:lnTo>
                  <a:pt x="294608" y="925697"/>
                </a:lnTo>
                <a:lnTo>
                  <a:pt x="395254" y="819156"/>
                </a:lnTo>
                <a:lnTo>
                  <a:pt x="494790" y="709696"/>
                </a:lnTo>
                <a:lnTo>
                  <a:pt x="593193" y="597289"/>
                </a:lnTo>
                <a:lnTo>
                  <a:pt x="690441" y="481905"/>
                </a:lnTo>
                <a:lnTo>
                  <a:pt x="786511" y="363515"/>
                </a:lnTo>
                <a:lnTo>
                  <a:pt x="881382" y="242092"/>
                </a:lnTo>
                <a:lnTo>
                  <a:pt x="975030" y="117605"/>
                </a:lnTo>
                <a:lnTo>
                  <a:pt x="1060209" y="0"/>
                </a:lnTo>
              </a:path>
            </a:pathLst>
          </a:custGeom>
          <a:ln w="1270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venirNext LT Pro Regular" panose="020B0504020202020204" pitchFamily="34" charset="77"/>
              <a:ea typeface="+mn-ea"/>
              <a:cs typeface="+mn-cs"/>
            </a:endParaRPr>
          </a:p>
        </p:txBody>
      </p:sp>
      <p:sp>
        <p:nvSpPr>
          <p:cNvPr id="15" name="object 12">
            <a:extLst>
              <a:ext uri="{FF2B5EF4-FFF2-40B4-BE49-F238E27FC236}">
                <a16:creationId xmlns:a16="http://schemas.microsoft.com/office/drawing/2014/main" id="{17FACF13-7A95-D3DC-8F78-67CD312C75D1}"/>
              </a:ext>
            </a:extLst>
          </p:cNvPr>
          <p:cNvSpPr/>
          <p:nvPr userDrawn="1"/>
        </p:nvSpPr>
        <p:spPr>
          <a:xfrm>
            <a:off x="10931344" y="5394326"/>
            <a:ext cx="1261110" cy="1463675"/>
          </a:xfrm>
          <a:custGeom>
            <a:avLst/>
            <a:gdLst/>
            <a:ahLst/>
            <a:cxnLst/>
            <a:rect l="l" t="t" r="r" b="b"/>
            <a:pathLst>
              <a:path w="1261109" h="1463675">
                <a:moveTo>
                  <a:pt x="0" y="1463673"/>
                </a:moveTo>
                <a:lnTo>
                  <a:pt x="125059" y="1348400"/>
                </a:lnTo>
                <a:lnTo>
                  <a:pt x="227526" y="1249582"/>
                </a:lnTo>
                <a:lnTo>
                  <a:pt x="328963" y="1147927"/>
                </a:lnTo>
                <a:lnTo>
                  <a:pt x="429347" y="1043405"/>
                </a:lnTo>
                <a:lnTo>
                  <a:pt x="528658" y="935988"/>
                </a:lnTo>
                <a:lnTo>
                  <a:pt x="626873" y="825648"/>
                </a:lnTo>
                <a:lnTo>
                  <a:pt x="723970" y="712354"/>
                </a:lnTo>
                <a:lnTo>
                  <a:pt x="819927" y="596080"/>
                </a:lnTo>
                <a:lnTo>
                  <a:pt x="914723" y="476796"/>
                </a:lnTo>
                <a:lnTo>
                  <a:pt x="1008334" y="354473"/>
                </a:lnTo>
                <a:lnTo>
                  <a:pt x="1100740" y="229082"/>
                </a:lnTo>
                <a:lnTo>
                  <a:pt x="1191918" y="100596"/>
                </a:lnTo>
                <a:lnTo>
                  <a:pt x="1260655" y="0"/>
                </a:lnTo>
              </a:path>
            </a:pathLst>
          </a:custGeom>
          <a:ln w="1270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venirNext LT Pro Regular" panose="020B0504020202020204" pitchFamily="34" charset="77"/>
              <a:ea typeface="+mn-ea"/>
              <a:cs typeface="+mn-cs"/>
            </a:endParaRPr>
          </a:p>
        </p:txBody>
      </p:sp>
      <p:sp>
        <p:nvSpPr>
          <p:cNvPr id="16" name="object 14">
            <a:extLst>
              <a:ext uri="{FF2B5EF4-FFF2-40B4-BE49-F238E27FC236}">
                <a16:creationId xmlns:a16="http://schemas.microsoft.com/office/drawing/2014/main" id="{FD0769FF-93A2-7901-6822-769D56A9D39B}"/>
              </a:ext>
            </a:extLst>
          </p:cNvPr>
          <p:cNvSpPr/>
          <p:nvPr userDrawn="1"/>
        </p:nvSpPr>
        <p:spPr>
          <a:xfrm>
            <a:off x="10525593" y="4871439"/>
            <a:ext cx="1666875" cy="1986914"/>
          </a:xfrm>
          <a:custGeom>
            <a:avLst/>
            <a:gdLst/>
            <a:ahLst/>
            <a:cxnLst/>
            <a:rect l="l" t="t" r="r" b="b"/>
            <a:pathLst>
              <a:path w="1666875" h="1986915">
                <a:moveTo>
                  <a:pt x="0" y="1986560"/>
                </a:moveTo>
                <a:lnTo>
                  <a:pt x="97151" y="1902792"/>
                </a:lnTo>
                <a:lnTo>
                  <a:pt x="199892" y="1810680"/>
                </a:lnTo>
                <a:lnTo>
                  <a:pt x="301693" y="1715807"/>
                </a:lnTo>
                <a:lnTo>
                  <a:pt x="402536" y="1618142"/>
                </a:lnTo>
                <a:lnTo>
                  <a:pt x="502398" y="1517658"/>
                </a:lnTo>
                <a:lnTo>
                  <a:pt x="601259" y="1414327"/>
                </a:lnTo>
                <a:lnTo>
                  <a:pt x="699097" y="1308120"/>
                </a:lnTo>
                <a:lnTo>
                  <a:pt x="795892" y="1199008"/>
                </a:lnTo>
                <a:lnTo>
                  <a:pt x="891623" y="1086964"/>
                </a:lnTo>
                <a:lnTo>
                  <a:pt x="986269" y="971958"/>
                </a:lnTo>
                <a:lnTo>
                  <a:pt x="1079808" y="853962"/>
                </a:lnTo>
                <a:lnTo>
                  <a:pt x="1172220" y="732948"/>
                </a:lnTo>
                <a:lnTo>
                  <a:pt x="1263484" y="608888"/>
                </a:lnTo>
                <a:lnTo>
                  <a:pt x="1353578" y="481752"/>
                </a:lnTo>
                <a:lnTo>
                  <a:pt x="1442482" y="351513"/>
                </a:lnTo>
                <a:lnTo>
                  <a:pt x="1530175" y="218143"/>
                </a:lnTo>
                <a:lnTo>
                  <a:pt x="1616636" y="81612"/>
                </a:lnTo>
                <a:lnTo>
                  <a:pt x="1666406" y="0"/>
                </a:lnTo>
              </a:path>
            </a:pathLst>
          </a:custGeom>
          <a:ln w="12699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venirNext LT Pro Regular" panose="020B0504020202020204" pitchFamily="34" charset="77"/>
              <a:ea typeface="+mn-ea"/>
              <a:cs typeface="+mn-cs"/>
            </a:endParaRPr>
          </a:p>
        </p:txBody>
      </p:sp>
      <p:pic>
        <p:nvPicPr>
          <p:cNvPr id="17" name="Immagine 16">
            <a:extLst>
              <a:ext uri="{FF2B5EF4-FFF2-40B4-BE49-F238E27FC236}">
                <a16:creationId xmlns:a16="http://schemas.microsoft.com/office/drawing/2014/main" id="{E7BCC65C-05A8-F55C-FA51-6ACF2F063C2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9" name="Segnaposto testo 14">
            <a:extLst>
              <a:ext uri="{FF2B5EF4-FFF2-40B4-BE49-F238E27FC236}">
                <a16:creationId xmlns:a16="http://schemas.microsoft.com/office/drawing/2014/main" id="{63EB2499-F4AC-B5D4-E8C0-0019FB315D7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58813" y="1030324"/>
            <a:ext cx="11161712" cy="253202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4800" b="0" i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5100" b="0" i="0">
                <a:solidFill>
                  <a:schemeClr val="bg1"/>
                </a:solidFill>
                <a:latin typeface="Avenir Next LT Pro" panose="020B0504020202020204" pitchFamily="34" charset="77"/>
              </a:defRPr>
            </a:lvl2pPr>
            <a:lvl3pPr marL="914400" indent="0">
              <a:buNone/>
              <a:defRPr sz="5100" b="0" i="0">
                <a:solidFill>
                  <a:schemeClr val="bg1"/>
                </a:solidFill>
                <a:latin typeface="Avenir Next LT Pro" panose="020B0504020202020204" pitchFamily="34" charset="77"/>
              </a:defRPr>
            </a:lvl3pPr>
            <a:lvl4pPr marL="1371600" indent="0">
              <a:buNone/>
              <a:defRPr sz="5100" b="0" i="0">
                <a:solidFill>
                  <a:schemeClr val="bg1"/>
                </a:solidFill>
                <a:latin typeface="Avenir Next LT Pro" panose="020B0504020202020204" pitchFamily="34" charset="77"/>
              </a:defRPr>
            </a:lvl4pPr>
            <a:lvl5pPr marL="1828800" indent="0">
              <a:buNone/>
              <a:defRPr sz="5100" b="0" i="0">
                <a:solidFill>
                  <a:schemeClr val="bg1"/>
                </a:solidFill>
                <a:latin typeface="Avenir Next LT Pro" panose="020B0504020202020204" pitchFamily="34" charset="77"/>
              </a:defRPr>
            </a:lvl5pPr>
          </a:lstStyle>
          <a:p>
            <a:pPr lvl="0"/>
            <a:r>
              <a:rPr lang="it-IT" dirty="0"/>
              <a:t>FARE CLIC PER MODIFICARE IL TITOLO</a:t>
            </a:r>
          </a:p>
        </p:txBody>
      </p:sp>
      <p:sp>
        <p:nvSpPr>
          <p:cNvPr id="20" name="Segnaposto testo 2">
            <a:extLst>
              <a:ext uri="{FF2B5EF4-FFF2-40B4-BE49-F238E27FC236}">
                <a16:creationId xmlns:a16="http://schemas.microsoft.com/office/drawing/2014/main" id="{1554A595-37A5-191D-FF72-4B5DF3F3EC6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58813" y="4705921"/>
            <a:ext cx="11161712" cy="139858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lang="it-IT" sz="40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it-IT" dirty="0"/>
          </a:p>
        </p:txBody>
      </p:sp>
      <p:sp>
        <p:nvSpPr>
          <p:cNvPr id="21" name="object 28">
            <a:extLst>
              <a:ext uri="{FF2B5EF4-FFF2-40B4-BE49-F238E27FC236}">
                <a16:creationId xmlns:a16="http://schemas.microsoft.com/office/drawing/2014/main" id="{F16AF2F4-8ECC-EF9C-A637-4A26B532F224}"/>
              </a:ext>
            </a:extLst>
          </p:cNvPr>
          <p:cNvSpPr/>
          <p:nvPr userDrawn="1"/>
        </p:nvSpPr>
        <p:spPr>
          <a:xfrm>
            <a:off x="9270644" y="0"/>
            <a:ext cx="2324735" cy="464820"/>
          </a:xfrm>
          <a:custGeom>
            <a:avLst/>
            <a:gdLst/>
            <a:ahLst/>
            <a:cxnLst/>
            <a:rect l="l" t="t" r="r" b="b"/>
            <a:pathLst>
              <a:path w="2324734" h="464820">
                <a:moveTo>
                  <a:pt x="0" y="464743"/>
                </a:moveTo>
                <a:lnTo>
                  <a:pt x="2324519" y="464743"/>
                </a:lnTo>
                <a:lnTo>
                  <a:pt x="2324519" y="0"/>
                </a:lnTo>
                <a:lnTo>
                  <a:pt x="0" y="0"/>
                </a:lnTo>
                <a:lnTo>
                  <a:pt x="0" y="464743"/>
                </a:lnTo>
                <a:close/>
              </a:path>
            </a:pathLst>
          </a:custGeom>
          <a:solidFill>
            <a:srgbClr val="F7DA00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venir Next LT Pro" pitchFamily="2" charset="0"/>
              <a:ea typeface="+mn-ea"/>
              <a:cs typeface="+mn-cs"/>
            </a:endParaRPr>
          </a:p>
        </p:txBody>
      </p:sp>
      <p:sp>
        <p:nvSpPr>
          <p:cNvPr id="22" name="object 29">
            <a:extLst>
              <a:ext uri="{FF2B5EF4-FFF2-40B4-BE49-F238E27FC236}">
                <a16:creationId xmlns:a16="http://schemas.microsoft.com/office/drawing/2014/main" id="{AD16DB62-EDFA-FD34-4C89-5BFFB59E80BA}"/>
              </a:ext>
            </a:extLst>
          </p:cNvPr>
          <p:cNvSpPr/>
          <p:nvPr userDrawn="1"/>
        </p:nvSpPr>
        <p:spPr>
          <a:xfrm>
            <a:off x="9609109" y="121182"/>
            <a:ext cx="1671320" cy="220979"/>
          </a:xfrm>
          <a:custGeom>
            <a:avLst/>
            <a:gdLst/>
            <a:ahLst/>
            <a:cxnLst/>
            <a:rect l="l" t="t" r="r" b="b"/>
            <a:pathLst>
              <a:path w="1671320" h="220979">
                <a:moveTo>
                  <a:pt x="1604911" y="61328"/>
                </a:moveTo>
                <a:lnTo>
                  <a:pt x="1573965" y="67762"/>
                </a:lnTo>
                <a:lnTo>
                  <a:pt x="1552244" y="85215"/>
                </a:lnTo>
                <a:lnTo>
                  <a:pt x="1539439" y="110914"/>
                </a:lnTo>
                <a:lnTo>
                  <a:pt x="1535239" y="142087"/>
                </a:lnTo>
                <a:lnTo>
                  <a:pt x="1538978" y="173008"/>
                </a:lnTo>
                <a:lnTo>
                  <a:pt x="1550817" y="197869"/>
                </a:lnTo>
                <a:lnTo>
                  <a:pt x="1571688" y="214428"/>
                </a:lnTo>
                <a:lnTo>
                  <a:pt x="1602524" y="220446"/>
                </a:lnTo>
                <a:lnTo>
                  <a:pt x="1627461" y="217251"/>
                </a:lnTo>
                <a:lnTo>
                  <a:pt x="1647651" y="207665"/>
                </a:lnTo>
                <a:lnTo>
                  <a:pt x="1654658" y="199834"/>
                </a:lnTo>
                <a:lnTo>
                  <a:pt x="1602841" y="199834"/>
                </a:lnTo>
                <a:lnTo>
                  <a:pt x="1584419" y="195165"/>
                </a:lnTo>
                <a:lnTo>
                  <a:pt x="1572329" y="182919"/>
                </a:lnTo>
                <a:lnTo>
                  <a:pt x="1566069" y="165742"/>
                </a:lnTo>
                <a:lnTo>
                  <a:pt x="1565135" y="146278"/>
                </a:lnTo>
                <a:lnTo>
                  <a:pt x="1671002" y="146278"/>
                </a:lnTo>
                <a:lnTo>
                  <a:pt x="1671002" y="132245"/>
                </a:lnTo>
                <a:lnTo>
                  <a:pt x="1670198" y="126542"/>
                </a:lnTo>
                <a:lnTo>
                  <a:pt x="1565135" y="126542"/>
                </a:lnTo>
                <a:lnTo>
                  <a:pt x="1567697" y="109219"/>
                </a:lnTo>
                <a:lnTo>
                  <a:pt x="1575111" y="95056"/>
                </a:lnTo>
                <a:lnTo>
                  <a:pt x="1586963" y="85498"/>
                </a:lnTo>
                <a:lnTo>
                  <a:pt x="1602841" y="81991"/>
                </a:lnTo>
                <a:lnTo>
                  <a:pt x="1655030" y="81991"/>
                </a:lnTo>
                <a:lnTo>
                  <a:pt x="1654778" y="81532"/>
                </a:lnTo>
                <a:lnTo>
                  <a:pt x="1634162" y="66949"/>
                </a:lnTo>
                <a:lnTo>
                  <a:pt x="1604911" y="61328"/>
                </a:lnTo>
                <a:close/>
              </a:path>
              <a:path w="1671320" h="220979">
                <a:moveTo>
                  <a:pt x="1669186" y="169329"/>
                </a:moveTo>
                <a:lnTo>
                  <a:pt x="1639303" y="169329"/>
                </a:lnTo>
                <a:lnTo>
                  <a:pt x="1635317" y="183294"/>
                </a:lnTo>
                <a:lnTo>
                  <a:pt x="1628120" y="192759"/>
                </a:lnTo>
                <a:lnTo>
                  <a:pt x="1617400" y="198134"/>
                </a:lnTo>
                <a:lnTo>
                  <a:pt x="1602841" y="199834"/>
                </a:lnTo>
                <a:lnTo>
                  <a:pt x="1654658" y="199834"/>
                </a:lnTo>
                <a:lnTo>
                  <a:pt x="1661944" y="191691"/>
                </a:lnTo>
                <a:lnTo>
                  <a:pt x="1669186" y="169329"/>
                </a:lnTo>
                <a:close/>
              </a:path>
              <a:path w="1671320" h="220979">
                <a:moveTo>
                  <a:pt x="1655030" y="81991"/>
                </a:moveTo>
                <a:lnTo>
                  <a:pt x="1602841" y="81991"/>
                </a:lnTo>
                <a:lnTo>
                  <a:pt x="1620507" y="85419"/>
                </a:lnTo>
                <a:lnTo>
                  <a:pt x="1632510" y="94846"/>
                </a:lnTo>
                <a:lnTo>
                  <a:pt x="1639247" y="108983"/>
                </a:lnTo>
                <a:lnTo>
                  <a:pt x="1641119" y="126542"/>
                </a:lnTo>
                <a:lnTo>
                  <a:pt x="1670198" y="126542"/>
                </a:lnTo>
                <a:lnTo>
                  <a:pt x="1666983" y="103742"/>
                </a:lnTo>
                <a:lnTo>
                  <a:pt x="1655030" y="81991"/>
                </a:lnTo>
                <a:close/>
              </a:path>
              <a:path w="1671320" h="220979">
                <a:moveTo>
                  <a:pt x="1415910" y="65836"/>
                </a:moveTo>
                <a:lnTo>
                  <a:pt x="1388097" y="65836"/>
                </a:lnTo>
                <a:lnTo>
                  <a:pt x="1388097" y="215988"/>
                </a:lnTo>
                <a:lnTo>
                  <a:pt x="1416469" y="215988"/>
                </a:lnTo>
                <a:lnTo>
                  <a:pt x="1416469" y="134315"/>
                </a:lnTo>
                <a:lnTo>
                  <a:pt x="1417749" y="116268"/>
                </a:lnTo>
                <a:lnTo>
                  <a:pt x="1420880" y="104843"/>
                </a:lnTo>
                <a:lnTo>
                  <a:pt x="1424800" y="98130"/>
                </a:lnTo>
                <a:lnTo>
                  <a:pt x="1428445" y="94221"/>
                </a:lnTo>
                <a:lnTo>
                  <a:pt x="1437109" y="87947"/>
                </a:lnTo>
                <a:lnTo>
                  <a:pt x="1415910" y="87947"/>
                </a:lnTo>
                <a:lnTo>
                  <a:pt x="1415910" y="65836"/>
                </a:lnTo>
                <a:close/>
              </a:path>
              <a:path w="1671320" h="220979">
                <a:moveTo>
                  <a:pt x="1510544" y="83185"/>
                </a:moveTo>
                <a:lnTo>
                  <a:pt x="1455991" y="83185"/>
                </a:lnTo>
                <a:lnTo>
                  <a:pt x="1471435" y="85676"/>
                </a:lnTo>
                <a:lnTo>
                  <a:pt x="1482120" y="93017"/>
                </a:lnTo>
                <a:lnTo>
                  <a:pt x="1488325" y="105012"/>
                </a:lnTo>
                <a:lnTo>
                  <a:pt x="1490332" y="121462"/>
                </a:lnTo>
                <a:lnTo>
                  <a:pt x="1490332" y="215988"/>
                </a:lnTo>
                <a:lnTo>
                  <a:pt x="1518780" y="215988"/>
                </a:lnTo>
                <a:lnTo>
                  <a:pt x="1518780" y="112191"/>
                </a:lnTo>
                <a:lnTo>
                  <a:pt x="1511371" y="83922"/>
                </a:lnTo>
                <a:lnTo>
                  <a:pt x="1510544" y="83185"/>
                </a:lnTo>
                <a:close/>
              </a:path>
              <a:path w="1671320" h="220979">
                <a:moveTo>
                  <a:pt x="1461947" y="61328"/>
                </a:moveTo>
                <a:lnTo>
                  <a:pt x="1449878" y="62844"/>
                </a:lnTo>
                <a:lnTo>
                  <a:pt x="1437193" y="67589"/>
                </a:lnTo>
                <a:lnTo>
                  <a:pt x="1425516" y="75858"/>
                </a:lnTo>
                <a:lnTo>
                  <a:pt x="1416469" y="87947"/>
                </a:lnTo>
                <a:lnTo>
                  <a:pt x="1437109" y="87947"/>
                </a:lnTo>
                <a:lnTo>
                  <a:pt x="1437796" y="87449"/>
                </a:lnTo>
                <a:lnTo>
                  <a:pt x="1446704" y="84216"/>
                </a:lnTo>
                <a:lnTo>
                  <a:pt x="1453369" y="83227"/>
                </a:lnTo>
                <a:lnTo>
                  <a:pt x="1455991" y="83185"/>
                </a:lnTo>
                <a:lnTo>
                  <a:pt x="1510544" y="83185"/>
                </a:lnTo>
                <a:lnTo>
                  <a:pt x="1494288" y="68695"/>
                </a:lnTo>
                <a:lnTo>
                  <a:pt x="1475242" y="62501"/>
                </a:lnTo>
                <a:lnTo>
                  <a:pt x="1461947" y="61328"/>
                </a:lnTo>
                <a:close/>
              </a:path>
              <a:path w="1671320" h="220979">
                <a:moveTo>
                  <a:pt x="1352240" y="81991"/>
                </a:moveTo>
                <a:lnTo>
                  <a:pt x="1301635" y="81991"/>
                </a:lnTo>
                <a:lnTo>
                  <a:pt x="1319331" y="84777"/>
                </a:lnTo>
                <a:lnTo>
                  <a:pt x="1328816" y="92862"/>
                </a:lnTo>
                <a:lnTo>
                  <a:pt x="1332641" y="105879"/>
                </a:lnTo>
                <a:lnTo>
                  <a:pt x="1333347" y="123278"/>
                </a:lnTo>
                <a:lnTo>
                  <a:pt x="1307604" y="123278"/>
                </a:lnTo>
                <a:lnTo>
                  <a:pt x="1281182" y="125848"/>
                </a:lnTo>
                <a:lnTo>
                  <a:pt x="1257761" y="134662"/>
                </a:lnTo>
                <a:lnTo>
                  <a:pt x="1241016" y="151380"/>
                </a:lnTo>
                <a:lnTo>
                  <a:pt x="1234617" y="177660"/>
                </a:lnTo>
                <a:lnTo>
                  <a:pt x="1239143" y="196711"/>
                </a:lnTo>
                <a:lnTo>
                  <a:pt x="1251050" y="210045"/>
                </a:lnTo>
                <a:lnTo>
                  <a:pt x="1267830" y="217883"/>
                </a:lnTo>
                <a:lnTo>
                  <a:pt x="1286979" y="220446"/>
                </a:lnTo>
                <a:lnTo>
                  <a:pt x="1301669" y="218889"/>
                </a:lnTo>
                <a:lnTo>
                  <a:pt x="1314573" y="214050"/>
                </a:lnTo>
                <a:lnTo>
                  <a:pt x="1325348" y="205675"/>
                </a:lnTo>
                <a:lnTo>
                  <a:pt x="1329335" y="199834"/>
                </a:lnTo>
                <a:lnTo>
                  <a:pt x="1294193" y="199834"/>
                </a:lnTo>
                <a:lnTo>
                  <a:pt x="1282480" y="198096"/>
                </a:lnTo>
                <a:lnTo>
                  <a:pt x="1273082" y="192881"/>
                </a:lnTo>
                <a:lnTo>
                  <a:pt x="1266832" y="184189"/>
                </a:lnTo>
                <a:lnTo>
                  <a:pt x="1264564" y="172021"/>
                </a:lnTo>
                <a:lnTo>
                  <a:pt x="1268435" y="158391"/>
                </a:lnTo>
                <a:lnTo>
                  <a:pt x="1278253" y="149650"/>
                </a:lnTo>
                <a:lnTo>
                  <a:pt x="1291326" y="144843"/>
                </a:lnTo>
                <a:lnTo>
                  <a:pt x="1304963" y="143014"/>
                </a:lnTo>
                <a:lnTo>
                  <a:pt x="1361782" y="143014"/>
                </a:lnTo>
                <a:lnTo>
                  <a:pt x="1361782" y="112509"/>
                </a:lnTo>
                <a:lnTo>
                  <a:pt x="1356533" y="86831"/>
                </a:lnTo>
                <a:lnTo>
                  <a:pt x="1352240" y="81991"/>
                </a:lnTo>
                <a:close/>
              </a:path>
              <a:path w="1671320" h="220979">
                <a:moveTo>
                  <a:pt x="1361919" y="193509"/>
                </a:moveTo>
                <a:lnTo>
                  <a:pt x="1334223" y="193509"/>
                </a:lnTo>
                <a:lnTo>
                  <a:pt x="1334528" y="200406"/>
                </a:lnTo>
                <a:lnTo>
                  <a:pt x="1335163" y="206971"/>
                </a:lnTo>
                <a:lnTo>
                  <a:pt x="1336027" y="217449"/>
                </a:lnTo>
                <a:lnTo>
                  <a:pt x="1341107" y="215988"/>
                </a:lnTo>
                <a:lnTo>
                  <a:pt x="1362976" y="215988"/>
                </a:lnTo>
                <a:lnTo>
                  <a:pt x="1362414" y="206971"/>
                </a:lnTo>
                <a:lnTo>
                  <a:pt x="1362027" y="197866"/>
                </a:lnTo>
                <a:lnTo>
                  <a:pt x="1361919" y="193509"/>
                </a:lnTo>
                <a:close/>
              </a:path>
              <a:path w="1671320" h="220979">
                <a:moveTo>
                  <a:pt x="1361782" y="143014"/>
                </a:moveTo>
                <a:lnTo>
                  <a:pt x="1333347" y="143014"/>
                </a:lnTo>
                <a:lnTo>
                  <a:pt x="1332169" y="163626"/>
                </a:lnTo>
                <a:lnTo>
                  <a:pt x="1326524" y="181854"/>
                </a:lnTo>
                <a:lnTo>
                  <a:pt x="1314502" y="194867"/>
                </a:lnTo>
                <a:lnTo>
                  <a:pt x="1294193" y="199834"/>
                </a:lnTo>
                <a:lnTo>
                  <a:pt x="1329335" y="199834"/>
                </a:lnTo>
                <a:lnTo>
                  <a:pt x="1333652" y="193509"/>
                </a:lnTo>
                <a:lnTo>
                  <a:pt x="1361919" y="193509"/>
                </a:lnTo>
                <a:lnTo>
                  <a:pt x="1361837" y="190210"/>
                </a:lnTo>
                <a:lnTo>
                  <a:pt x="1361782" y="143014"/>
                </a:lnTo>
                <a:close/>
              </a:path>
              <a:path w="1671320" h="220979">
                <a:moveTo>
                  <a:pt x="1300454" y="61328"/>
                </a:moveTo>
                <a:lnTo>
                  <a:pt x="1279280" y="63663"/>
                </a:lnTo>
                <a:lnTo>
                  <a:pt x="1261476" y="71269"/>
                </a:lnTo>
                <a:lnTo>
                  <a:pt x="1248957" y="85041"/>
                </a:lnTo>
                <a:lnTo>
                  <a:pt x="1243634" y="105879"/>
                </a:lnTo>
                <a:lnTo>
                  <a:pt x="1273517" y="105879"/>
                </a:lnTo>
                <a:lnTo>
                  <a:pt x="1276028" y="95589"/>
                </a:lnTo>
                <a:lnTo>
                  <a:pt x="1282319" y="88106"/>
                </a:lnTo>
                <a:lnTo>
                  <a:pt x="1291237" y="83537"/>
                </a:lnTo>
                <a:lnTo>
                  <a:pt x="1301635" y="81991"/>
                </a:lnTo>
                <a:lnTo>
                  <a:pt x="1352240" y="81991"/>
                </a:lnTo>
                <a:lnTo>
                  <a:pt x="1342672" y="71202"/>
                </a:lnTo>
                <a:lnTo>
                  <a:pt x="1323035" y="63431"/>
                </a:lnTo>
                <a:lnTo>
                  <a:pt x="1300454" y="61328"/>
                </a:lnTo>
                <a:close/>
              </a:path>
              <a:path w="1671320" h="220979">
                <a:moveTo>
                  <a:pt x="1218196" y="0"/>
                </a:moveTo>
                <a:lnTo>
                  <a:pt x="1184427" y="0"/>
                </a:lnTo>
                <a:lnTo>
                  <a:pt x="1184427" y="30822"/>
                </a:lnTo>
                <a:lnTo>
                  <a:pt x="1218196" y="30822"/>
                </a:lnTo>
                <a:lnTo>
                  <a:pt x="1218196" y="0"/>
                </a:lnTo>
                <a:close/>
              </a:path>
              <a:path w="1671320" h="220979">
                <a:moveTo>
                  <a:pt x="1215504" y="65836"/>
                </a:moveTo>
                <a:lnTo>
                  <a:pt x="1187069" y="65836"/>
                </a:lnTo>
                <a:lnTo>
                  <a:pt x="1187069" y="216001"/>
                </a:lnTo>
                <a:lnTo>
                  <a:pt x="1215504" y="216001"/>
                </a:lnTo>
                <a:lnTo>
                  <a:pt x="1215504" y="65836"/>
                </a:lnTo>
                <a:close/>
              </a:path>
              <a:path w="1671320" h="220979">
                <a:moveTo>
                  <a:pt x="1164844" y="0"/>
                </a:moveTo>
                <a:lnTo>
                  <a:pt x="1136408" y="0"/>
                </a:lnTo>
                <a:lnTo>
                  <a:pt x="1136408" y="215938"/>
                </a:lnTo>
                <a:lnTo>
                  <a:pt x="1164844" y="215938"/>
                </a:lnTo>
                <a:lnTo>
                  <a:pt x="1164844" y="0"/>
                </a:lnTo>
                <a:close/>
              </a:path>
              <a:path w="1671320" h="220979">
                <a:moveTo>
                  <a:pt x="1096363" y="81991"/>
                </a:moveTo>
                <a:lnTo>
                  <a:pt x="1045819" y="81991"/>
                </a:lnTo>
                <a:lnTo>
                  <a:pt x="1063513" y="84777"/>
                </a:lnTo>
                <a:lnTo>
                  <a:pt x="1072994" y="92862"/>
                </a:lnTo>
                <a:lnTo>
                  <a:pt x="1076814" y="105879"/>
                </a:lnTo>
                <a:lnTo>
                  <a:pt x="1077518" y="123278"/>
                </a:lnTo>
                <a:lnTo>
                  <a:pt x="1051775" y="123278"/>
                </a:lnTo>
                <a:lnTo>
                  <a:pt x="1025361" y="125848"/>
                </a:lnTo>
                <a:lnTo>
                  <a:pt x="1001944" y="134662"/>
                </a:lnTo>
                <a:lnTo>
                  <a:pt x="985199" y="151380"/>
                </a:lnTo>
                <a:lnTo>
                  <a:pt x="978801" y="177660"/>
                </a:lnTo>
                <a:lnTo>
                  <a:pt x="983317" y="196711"/>
                </a:lnTo>
                <a:lnTo>
                  <a:pt x="995203" y="210045"/>
                </a:lnTo>
                <a:lnTo>
                  <a:pt x="1011966" y="217883"/>
                </a:lnTo>
                <a:lnTo>
                  <a:pt x="1031113" y="220446"/>
                </a:lnTo>
                <a:lnTo>
                  <a:pt x="1045818" y="218889"/>
                </a:lnTo>
                <a:lnTo>
                  <a:pt x="1058719" y="214050"/>
                </a:lnTo>
                <a:lnTo>
                  <a:pt x="1069482" y="205675"/>
                </a:lnTo>
                <a:lnTo>
                  <a:pt x="1073462" y="199834"/>
                </a:lnTo>
                <a:lnTo>
                  <a:pt x="1038313" y="199834"/>
                </a:lnTo>
                <a:lnTo>
                  <a:pt x="1026630" y="198096"/>
                </a:lnTo>
                <a:lnTo>
                  <a:pt x="1017247" y="192881"/>
                </a:lnTo>
                <a:lnTo>
                  <a:pt x="1011003" y="184189"/>
                </a:lnTo>
                <a:lnTo>
                  <a:pt x="1008735" y="172021"/>
                </a:lnTo>
                <a:lnTo>
                  <a:pt x="1012600" y="158391"/>
                </a:lnTo>
                <a:lnTo>
                  <a:pt x="1022403" y="149650"/>
                </a:lnTo>
                <a:lnTo>
                  <a:pt x="1035460" y="144843"/>
                </a:lnTo>
                <a:lnTo>
                  <a:pt x="1049083" y="143014"/>
                </a:lnTo>
                <a:lnTo>
                  <a:pt x="1105903" y="143014"/>
                </a:lnTo>
                <a:lnTo>
                  <a:pt x="1105903" y="112509"/>
                </a:lnTo>
                <a:lnTo>
                  <a:pt x="1100655" y="86831"/>
                </a:lnTo>
                <a:lnTo>
                  <a:pt x="1096363" y="81991"/>
                </a:lnTo>
                <a:close/>
              </a:path>
              <a:path w="1671320" h="220979">
                <a:moveTo>
                  <a:pt x="1106051" y="193509"/>
                </a:moveTo>
                <a:lnTo>
                  <a:pt x="1078395" y="193509"/>
                </a:lnTo>
                <a:lnTo>
                  <a:pt x="1078712" y="200406"/>
                </a:lnTo>
                <a:lnTo>
                  <a:pt x="1080211" y="217449"/>
                </a:lnTo>
                <a:lnTo>
                  <a:pt x="1085291" y="215988"/>
                </a:lnTo>
                <a:lnTo>
                  <a:pt x="1107097" y="215988"/>
                </a:lnTo>
                <a:lnTo>
                  <a:pt x="1106535" y="206645"/>
                </a:lnTo>
                <a:lnTo>
                  <a:pt x="1106166" y="197866"/>
                </a:lnTo>
                <a:lnTo>
                  <a:pt x="1106051" y="193509"/>
                </a:lnTo>
                <a:close/>
              </a:path>
              <a:path w="1671320" h="220979">
                <a:moveTo>
                  <a:pt x="1105903" y="143014"/>
                </a:moveTo>
                <a:lnTo>
                  <a:pt x="1077518" y="143014"/>
                </a:lnTo>
                <a:lnTo>
                  <a:pt x="1076345" y="163626"/>
                </a:lnTo>
                <a:lnTo>
                  <a:pt x="1070694" y="181854"/>
                </a:lnTo>
                <a:lnTo>
                  <a:pt x="1058653" y="194867"/>
                </a:lnTo>
                <a:lnTo>
                  <a:pt x="1038313" y="199834"/>
                </a:lnTo>
                <a:lnTo>
                  <a:pt x="1073462" y="199834"/>
                </a:lnTo>
                <a:lnTo>
                  <a:pt x="1077772" y="193509"/>
                </a:lnTo>
                <a:lnTo>
                  <a:pt x="1106051" y="193509"/>
                </a:lnTo>
                <a:lnTo>
                  <a:pt x="1105964" y="190210"/>
                </a:lnTo>
                <a:lnTo>
                  <a:pt x="1105903" y="143014"/>
                </a:lnTo>
                <a:close/>
              </a:path>
              <a:path w="1671320" h="220979">
                <a:moveTo>
                  <a:pt x="1044575" y="61328"/>
                </a:moveTo>
                <a:lnTo>
                  <a:pt x="1023434" y="63663"/>
                </a:lnTo>
                <a:lnTo>
                  <a:pt x="1005639" y="71269"/>
                </a:lnTo>
                <a:lnTo>
                  <a:pt x="993107" y="85041"/>
                </a:lnTo>
                <a:lnTo>
                  <a:pt x="987755" y="105879"/>
                </a:lnTo>
                <a:lnTo>
                  <a:pt x="1017701" y="105879"/>
                </a:lnTo>
                <a:lnTo>
                  <a:pt x="1020198" y="95589"/>
                </a:lnTo>
                <a:lnTo>
                  <a:pt x="1026474" y="88106"/>
                </a:lnTo>
                <a:lnTo>
                  <a:pt x="1035393" y="83537"/>
                </a:lnTo>
                <a:lnTo>
                  <a:pt x="1045819" y="81991"/>
                </a:lnTo>
                <a:lnTo>
                  <a:pt x="1096363" y="81991"/>
                </a:lnTo>
                <a:lnTo>
                  <a:pt x="1086797" y="71202"/>
                </a:lnTo>
                <a:lnTo>
                  <a:pt x="1067160" y="63431"/>
                </a:lnTo>
                <a:lnTo>
                  <a:pt x="1044575" y="61328"/>
                </a:lnTo>
                <a:close/>
              </a:path>
              <a:path w="1671320" h="220979">
                <a:moveTo>
                  <a:pt x="936218" y="85877"/>
                </a:moveTo>
                <a:lnTo>
                  <a:pt x="907783" y="85877"/>
                </a:lnTo>
                <a:lnTo>
                  <a:pt x="907783" y="181292"/>
                </a:lnTo>
                <a:lnTo>
                  <a:pt x="926642" y="218071"/>
                </a:lnTo>
                <a:lnTo>
                  <a:pt x="943368" y="220446"/>
                </a:lnTo>
                <a:lnTo>
                  <a:pt x="956843" y="220446"/>
                </a:lnTo>
                <a:lnTo>
                  <a:pt x="963155" y="218948"/>
                </a:lnTo>
                <a:lnTo>
                  <a:pt x="969683" y="218630"/>
                </a:lnTo>
                <a:lnTo>
                  <a:pt x="969683" y="198640"/>
                </a:lnTo>
                <a:lnTo>
                  <a:pt x="944562" y="198640"/>
                </a:lnTo>
                <a:lnTo>
                  <a:pt x="936218" y="193509"/>
                </a:lnTo>
                <a:lnTo>
                  <a:pt x="936218" y="85877"/>
                </a:lnTo>
                <a:close/>
              </a:path>
              <a:path w="1671320" h="220979">
                <a:moveTo>
                  <a:pt x="969683" y="196824"/>
                </a:moveTo>
                <a:lnTo>
                  <a:pt x="965225" y="198018"/>
                </a:lnTo>
                <a:lnTo>
                  <a:pt x="959218" y="198640"/>
                </a:lnTo>
                <a:lnTo>
                  <a:pt x="969683" y="198640"/>
                </a:lnTo>
                <a:lnTo>
                  <a:pt x="969683" y="196824"/>
                </a:lnTo>
                <a:close/>
              </a:path>
              <a:path w="1671320" h="220979">
                <a:moveTo>
                  <a:pt x="882091" y="64960"/>
                </a:moveTo>
                <a:lnTo>
                  <a:pt x="882091" y="86144"/>
                </a:lnTo>
                <a:lnTo>
                  <a:pt x="907783" y="85877"/>
                </a:lnTo>
                <a:lnTo>
                  <a:pt x="970915" y="85877"/>
                </a:lnTo>
                <a:lnTo>
                  <a:pt x="970915" y="65836"/>
                </a:lnTo>
                <a:lnTo>
                  <a:pt x="907783" y="65836"/>
                </a:lnTo>
                <a:lnTo>
                  <a:pt x="882091" y="64960"/>
                </a:lnTo>
                <a:close/>
              </a:path>
              <a:path w="1671320" h="220979">
                <a:moveTo>
                  <a:pt x="970915" y="85877"/>
                </a:moveTo>
                <a:lnTo>
                  <a:pt x="936218" y="85877"/>
                </a:lnTo>
                <a:lnTo>
                  <a:pt x="970915" y="86144"/>
                </a:lnTo>
                <a:lnTo>
                  <a:pt x="970915" y="85877"/>
                </a:lnTo>
                <a:close/>
              </a:path>
              <a:path w="1671320" h="220979">
                <a:moveTo>
                  <a:pt x="936218" y="24866"/>
                </a:moveTo>
                <a:lnTo>
                  <a:pt x="907783" y="33832"/>
                </a:lnTo>
                <a:lnTo>
                  <a:pt x="907783" y="65836"/>
                </a:lnTo>
                <a:lnTo>
                  <a:pt x="936218" y="65836"/>
                </a:lnTo>
                <a:lnTo>
                  <a:pt x="936218" y="24866"/>
                </a:lnTo>
                <a:close/>
              </a:path>
              <a:path w="1671320" h="220979">
                <a:moveTo>
                  <a:pt x="970915" y="64960"/>
                </a:moveTo>
                <a:lnTo>
                  <a:pt x="936218" y="65836"/>
                </a:lnTo>
                <a:lnTo>
                  <a:pt x="970915" y="65836"/>
                </a:lnTo>
                <a:lnTo>
                  <a:pt x="970915" y="64960"/>
                </a:lnTo>
                <a:close/>
              </a:path>
              <a:path w="1671320" h="220979">
                <a:moveTo>
                  <a:pt x="870902" y="0"/>
                </a:moveTo>
                <a:lnTo>
                  <a:pt x="837082" y="0"/>
                </a:lnTo>
                <a:lnTo>
                  <a:pt x="837082" y="30822"/>
                </a:lnTo>
                <a:lnTo>
                  <a:pt x="870902" y="30822"/>
                </a:lnTo>
                <a:lnTo>
                  <a:pt x="870902" y="0"/>
                </a:lnTo>
                <a:close/>
              </a:path>
              <a:path w="1671320" h="220979">
                <a:moveTo>
                  <a:pt x="868159" y="65836"/>
                </a:moveTo>
                <a:lnTo>
                  <a:pt x="839724" y="65836"/>
                </a:lnTo>
                <a:lnTo>
                  <a:pt x="839724" y="216001"/>
                </a:lnTo>
                <a:lnTo>
                  <a:pt x="868159" y="216001"/>
                </a:lnTo>
                <a:lnTo>
                  <a:pt x="868159" y="65836"/>
                </a:lnTo>
                <a:close/>
              </a:path>
              <a:path w="1671320" h="220979">
                <a:moveTo>
                  <a:pt x="732243" y="61328"/>
                </a:moveTo>
                <a:lnTo>
                  <a:pt x="700574" y="66280"/>
                </a:lnTo>
                <a:lnTo>
                  <a:pt x="674935" y="80740"/>
                </a:lnTo>
                <a:lnTo>
                  <a:pt x="657763" y="104115"/>
                </a:lnTo>
                <a:lnTo>
                  <a:pt x="651497" y="135813"/>
                </a:lnTo>
                <a:lnTo>
                  <a:pt x="656174" y="173903"/>
                </a:lnTo>
                <a:lnTo>
                  <a:pt x="670971" y="200232"/>
                </a:lnTo>
                <a:lnTo>
                  <a:pt x="697033" y="215511"/>
                </a:lnTo>
                <a:lnTo>
                  <a:pt x="735507" y="220446"/>
                </a:lnTo>
                <a:lnTo>
                  <a:pt x="748539" y="219805"/>
                </a:lnTo>
                <a:lnTo>
                  <a:pt x="793321" y="201449"/>
                </a:lnTo>
                <a:lnTo>
                  <a:pt x="803952" y="188442"/>
                </a:lnTo>
                <a:lnTo>
                  <a:pt x="731050" y="188442"/>
                </a:lnTo>
                <a:lnTo>
                  <a:pt x="717984" y="185523"/>
                </a:lnTo>
                <a:lnTo>
                  <a:pt x="709963" y="177646"/>
                </a:lnTo>
                <a:lnTo>
                  <a:pt x="705973" y="166127"/>
                </a:lnTo>
                <a:lnTo>
                  <a:pt x="705002" y="152285"/>
                </a:lnTo>
                <a:lnTo>
                  <a:pt x="812685" y="152285"/>
                </a:lnTo>
                <a:lnTo>
                  <a:pt x="809468" y="121780"/>
                </a:lnTo>
                <a:lnTo>
                  <a:pt x="706196" y="121780"/>
                </a:lnTo>
                <a:lnTo>
                  <a:pt x="708123" y="109710"/>
                </a:lnTo>
                <a:lnTo>
                  <a:pt x="712381" y="99709"/>
                </a:lnTo>
                <a:lnTo>
                  <a:pt x="720058" y="92739"/>
                </a:lnTo>
                <a:lnTo>
                  <a:pt x="732243" y="89763"/>
                </a:lnTo>
                <a:lnTo>
                  <a:pt x="740892" y="89141"/>
                </a:lnTo>
                <a:lnTo>
                  <a:pt x="796892" y="89141"/>
                </a:lnTo>
                <a:lnTo>
                  <a:pt x="795348" y="85828"/>
                </a:lnTo>
                <a:lnTo>
                  <a:pt x="770557" y="67673"/>
                </a:lnTo>
                <a:lnTo>
                  <a:pt x="732243" y="61328"/>
                </a:lnTo>
                <a:close/>
              </a:path>
              <a:path w="1671320" h="220979">
                <a:moveTo>
                  <a:pt x="811491" y="166941"/>
                </a:moveTo>
                <a:lnTo>
                  <a:pt x="758863" y="166941"/>
                </a:lnTo>
                <a:lnTo>
                  <a:pt x="755851" y="176226"/>
                </a:lnTo>
                <a:lnTo>
                  <a:pt x="750104" y="182959"/>
                </a:lnTo>
                <a:lnTo>
                  <a:pt x="741784" y="187058"/>
                </a:lnTo>
                <a:lnTo>
                  <a:pt x="731050" y="188442"/>
                </a:lnTo>
                <a:lnTo>
                  <a:pt x="803952" y="188442"/>
                </a:lnTo>
                <a:lnTo>
                  <a:pt x="808313" y="180493"/>
                </a:lnTo>
                <a:lnTo>
                  <a:pt x="811491" y="166941"/>
                </a:lnTo>
                <a:close/>
              </a:path>
              <a:path w="1671320" h="220979">
                <a:moveTo>
                  <a:pt x="796892" y="89141"/>
                </a:moveTo>
                <a:lnTo>
                  <a:pt x="740892" y="89141"/>
                </a:lnTo>
                <a:lnTo>
                  <a:pt x="747471" y="93027"/>
                </a:lnTo>
                <a:lnTo>
                  <a:pt x="756437" y="105613"/>
                </a:lnTo>
                <a:lnTo>
                  <a:pt x="758863" y="113690"/>
                </a:lnTo>
                <a:lnTo>
                  <a:pt x="758863" y="121780"/>
                </a:lnTo>
                <a:lnTo>
                  <a:pt x="809468" y="121780"/>
                </a:lnTo>
                <a:lnTo>
                  <a:pt x="808698" y="114472"/>
                </a:lnTo>
                <a:lnTo>
                  <a:pt x="796892" y="89141"/>
                </a:lnTo>
                <a:close/>
              </a:path>
              <a:path w="1671320" h="220979">
                <a:moveTo>
                  <a:pt x="606018" y="101727"/>
                </a:moveTo>
                <a:lnTo>
                  <a:pt x="549198" y="101727"/>
                </a:lnTo>
                <a:lnTo>
                  <a:pt x="549198" y="169011"/>
                </a:lnTo>
                <a:lnTo>
                  <a:pt x="551712" y="196475"/>
                </a:lnTo>
                <a:lnTo>
                  <a:pt x="563065" y="211997"/>
                </a:lnTo>
                <a:lnTo>
                  <a:pt x="582208" y="218885"/>
                </a:lnTo>
                <a:lnTo>
                  <a:pt x="608088" y="220446"/>
                </a:lnTo>
                <a:lnTo>
                  <a:pt x="614591" y="220319"/>
                </a:lnTo>
                <a:lnTo>
                  <a:pt x="621680" y="219857"/>
                </a:lnTo>
                <a:lnTo>
                  <a:pt x="629612" y="218941"/>
                </a:lnTo>
                <a:lnTo>
                  <a:pt x="638644" y="217449"/>
                </a:lnTo>
                <a:lnTo>
                  <a:pt x="638644" y="184556"/>
                </a:lnTo>
                <a:lnTo>
                  <a:pt x="616788" y="184556"/>
                </a:lnTo>
                <a:lnTo>
                  <a:pt x="609554" y="181461"/>
                </a:lnTo>
                <a:lnTo>
                  <a:pt x="606469" y="174359"/>
                </a:lnTo>
                <a:lnTo>
                  <a:pt x="605851" y="166527"/>
                </a:lnTo>
                <a:lnTo>
                  <a:pt x="606018" y="161239"/>
                </a:lnTo>
                <a:lnTo>
                  <a:pt x="606018" y="101727"/>
                </a:lnTo>
                <a:close/>
              </a:path>
              <a:path w="1671320" h="220979">
                <a:moveTo>
                  <a:pt x="638644" y="183680"/>
                </a:moveTo>
                <a:lnTo>
                  <a:pt x="632066" y="184556"/>
                </a:lnTo>
                <a:lnTo>
                  <a:pt x="638644" y="184556"/>
                </a:lnTo>
                <a:lnTo>
                  <a:pt x="638644" y="183680"/>
                </a:lnTo>
                <a:close/>
              </a:path>
              <a:path w="1671320" h="220979">
                <a:moveTo>
                  <a:pt x="638911" y="65836"/>
                </a:moveTo>
                <a:lnTo>
                  <a:pt x="519874" y="65836"/>
                </a:lnTo>
                <a:lnTo>
                  <a:pt x="519874" y="101727"/>
                </a:lnTo>
                <a:lnTo>
                  <a:pt x="638911" y="101727"/>
                </a:lnTo>
                <a:lnTo>
                  <a:pt x="638911" y="65836"/>
                </a:lnTo>
                <a:close/>
              </a:path>
              <a:path w="1671320" h="220979">
                <a:moveTo>
                  <a:pt x="606018" y="21551"/>
                </a:moveTo>
                <a:lnTo>
                  <a:pt x="549198" y="43103"/>
                </a:lnTo>
                <a:lnTo>
                  <a:pt x="549198" y="65836"/>
                </a:lnTo>
                <a:lnTo>
                  <a:pt x="606018" y="65836"/>
                </a:lnTo>
                <a:lnTo>
                  <a:pt x="606018" y="21551"/>
                </a:lnTo>
                <a:close/>
              </a:path>
              <a:path w="1671320" h="220979">
                <a:moveTo>
                  <a:pt x="422084" y="167208"/>
                </a:moveTo>
                <a:lnTo>
                  <a:pt x="368274" y="167208"/>
                </a:lnTo>
                <a:lnTo>
                  <a:pt x="374275" y="194841"/>
                </a:lnTo>
                <a:lnTo>
                  <a:pt x="390545" y="210996"/>
                </a:lnTo>
                <a:lnTo>
                  <a:pt x="413771" y="218566"/>
                </a:lnTo>
                <a:lnTo>
                  <a:pt x="440639" y="220446"/>
                </a:lnTo>
                <a:lnTo>
                  <a:pt x="466363" y="218239"/>
                </a:lnTo>
                <a:lnTo>
                  <a:pt x="489426" y="210399"/>
                </a:lnTo>
                <a:lnTo>
                  <a:pt x="506040" y="195098"/>
                </a:lnTo>
                <a:lnTo>
                  <a:pt x="507997" y="187553"/>
                </a:lnTo>
                <a:lnTo>
                  <a:pt x="434047" y="187553"/>
                </a:lnTo>
                <a:lnTo>
                  <a:pt x="429234" y="184556"/>
                </a:lnTo>
                <a:lnTo>
                  <a:pt x="422706" y="176784"/>
                </a:lnTo>
                <a:lnTo>
                  <a:pt x="421208" y="171704"/>
                </a:lnTo>
                <a:lnTo>
                  <a:pt x="422084" y="167208"/>
                </a:lnTo>
                <a:close/>
              </a:path>
              <a:path w="1671320" h="220979">
                <a:moveTo>
                  <a:pt x="439127" y="61328"/>
                </a:moveTo>
                <a:lnTo>
                  <a:pt x="415684" y="63503"/>
                </a:lnTo>
                <a:lnTo>
                  <a:pt x="393244" y="71069"/>
                </a:lnTo>
                <a:lnTo>
                  <a:pt x="376407" y="85588"/>
                </a:lnTo>
                <a:lnTo>
                  <a:pt x="369773" y="108623"/>
                </a:lnTo>
                <a:lnTo>
                  <a:pt x="383645" y="138030"/>
                </a:lnTo>
                <a:lnTo>
                  <a:pt x="414166" y="151647"/>
                </a:lnTo>
                <a:lnTo>
                  <a:pt x="444686" y="160040"/>
                </a:lnTo>
                <a:lnTo>
                  <a:pt x="458558" y="173774"/>
                </a:lnTo>
                <a:lnTo>
                  <a:pt x="458558" y="183362"/>
                </a:lnTo>
                <a:lnTo>
                  <a:pt x="450519" y="187553"/>
                </a:lnTo>
                <a:lnTo>
                  <a:pt x="507997" y="187553"/>
                </a:lnTo>
                <a:lnTo>
                  <a:pt x="512419" y="170510"/>
                </a:lnTo>
                <a:lnTo>
                  <a:pt x="510222" y="154506"/>
                </a:lnTo>
                <a:lnTo>
                  <a:pt x="504043" y="142805"/>
                </a:lnTo>
                <a:lnTo>
                  <a:pt x="494503" y="134637"/>
                </a:lnTo>
                <a:lnTo>
                  <a:pt x="482219" y="129235"/>
                </a:lnTo>
                <a:lnTo>
                  <a:pt x="458025" y="122749"/>
                </a:lnTo>
                <a:lnTo>
                  <a:pt x="439543" y="118460"/>
                </a:lnTo>
                <a:lnTo>
                  <a:pt x="427744" y="114174"/>
                </a:lnTo>
                <a:lnTo>
                  <a:pt x="423595" y="107696"/>
                </a:lnTo>
                <a:lnTo>
                  <a:pt x="423595" y="99034"/>
                </a:lnTo>
                <a:lnTo>
                  <a:pt x="428663" y="94221"/>
                </a:lnTo>
                <a:lnTo>
                  <a:pt x="505043" y="94221"/>
                </a:lnTo>
                <a:lnTo>
                  <a:pt x="502955" y="86697"/>
                </a:lnTo>
                <a:lnTo>
                  <a:pt x="487033" y="71162"/>
                </a:lnTo>
                <a:lnTo>
                  <a:pt x="464885" y="63426"/>
                </a:lnTo>
                <a:lnTo>
                  <a:pt x="439127" y="61328"/>
                </a:lnTo>
                <a:close/>
              </a:path>
              <a:path w="1671320" h="220979">
                <a:moveTo>
                  <a:pt x="505043" y="94221"/>
                </a:moveTo>
                <a:lnTo>
                  <a:pt x="444830" y="94221"/>
                </a:lnTo>
                <a:lnTo>
                  <a:pt x="449592" y="96342"/>
                </a:lnTo>
                <a:lnTo>
                  <a:pt x="452589" y="99606"/>
                </a:lnTo>
                <a:lnTo>
                  <a:pt x="455295" y="102616"/>
                </a:lnTo>
                <a:lnTo>
                  <a:pt x="456171" y="107111"/>
                </a:lnTo>
                <a:lnTo>
                  <a:pt x="456171" y="112191"/>
                </a:lnTo>
                <a:lnTo>
                  <a:pt x="510032" y="112191"/>
                </a:lnTo>
                <a:lnTo>
                  <a:pt x="505043" y="94221"/>
                </a:lnTo>
                <a:close/>
              </a:path>
              <a:path w="1671320" h="220979">
                <a:moveTo>
                  <a:pt x="273646" y="61328"/>
                </a:moveTo>
                <a:lnTo>
                  <a:pt x="240176" y="65980"/>
                </a:lnTo>
                <a:lnTo>
                  <a:pt x="212356" y="80365"/>
                </a:lnTo>
                <a:lnTo>
                  <a:pt x="193347" y="105123"/>
                </a:lnTo>
                <a:lnTo>
                  <a:pt x="186309" y="140893"/>
                </a:lnTo>
                <a:lnTo>
                  <a:pt x="193347" y="176657"/>
                </a:lnTo>
                <a:lnTo>
                  <a:pt x="212356" y="201410"/>
                </a:lnTo>
                <a:lnTo>
                  <a:pt x="240176" y="215794"/>
                </a:lnTo>
                <a:lnTo>
                  <a:pt x="273646" y="220446"/>
                </a:lnTo>
                <a:lnTo>
                  <a:pt x="307083" y="215794"/>
                </a:lnTo>
                <a:lnTo>
                  <a:pt x="334902" y="201410"/>
                </a:lnTo>
                <a:lnTo>
                  <a:pt x="345551" y="187553"/>
                </a:lnTo>
                <a:lnTo>
                  <a:pt x="273646" y="187553"/>
                </a:lnTo>
                <a:lnTo>
                  <a:pt x="259005" y="183249"/>
                </a:lnTo>
                <a:lnTo>
                  <a:pt x="250134" y="172186"/>
                </a:lnTo>
                <a:lnTo>
                  <a:pt x="245752" y="157142"/>
                </a:lnTo>
                <a:lnTo>
                  <a:pt x="244576" y="140893"/>
                </a:lnTo>
                <a:lnTo>
                  <a:pt x="245752" y="124642"/>
                </a:lnTo>
                <a:lnTo>
                  <a:pt x="250134" y="109594"/>
                </a:lnTo>
                <a:lnTo>
                  <a:pt x="259005" y="98527"/>
                </a:lnTo>
                <a:lnTo>
                  <a:pt x="273646" y="94221"/>
                </a:lnTo>
                <a:lnTo>
                  <a:pt x="345548" y="94221"/>
                </a:lnTo>
                <a:lnTo>
                  <a:pt x="334902" y="80365"/>
                </a:lnTo>
                <a:lnTo>
                  <a:pt x="307083" y="65980"/>
                </a:lnTo>
                <a:lnTo>
                  <a:pt x="273646" y="61328"/>
                </a:lnTo>
                <a:close/>
              </a:path>
              <a:path w="1671320" h="220979">
                <a:moveTo>
                  <a:pt x="99288" y="0"/>
                </a:moveTo>
                <a:lnTo>
                  <a:pt x="0" y="0"/>
                </a:lnTo>
                <a:lnTo>
                  <a:pt x="0" y="215988"/>
                </a:lnTo>
                <a:lnTo>
                  <a:pt x="59766" y="215988"/>
                </a:lnTo>
                <a:lnTo>
                  <a:pt x="59766" y="138823"/>
                </a:lnTo>
                <a:lnTo>
                  <a:pt x="99288" y="138823"/>
                </a:lnTo>
                <a:lnTo>
                  <a:pt x="135284" y="135342"/>
                </a:lnTo>
                <a:lnTo>
                  <a:pt x="162915" y="123755"/>
                </a:lnTo>
                <a:lnTo>
                  <a:pt x="180630" y="102347"/>
                </a:lnTo>
                <a:lnTo>
                  <a:pt x="181661" y="96913"/>
                </a:lnTo>
                <a:lnTo>
                  <a:pt x="59766" y="96913"/>
                </a:lnTo>
                <a:lnTo>
                  <a:pt x="59766" y="41910"/>
                </a:lnTo>
                <a:lnTo>
                  <a:pt x="181659" y="41910"/>
                </a:lnTo>
                <a:lnTo>
                  <a:pt x="180630" y="36492"/>
                </a:lnTo>
                <a:lnTo>
                  <a:pt x="162915" y="15086"/>
                </a:lnTo>
                <a:lnTo>
                  <a:pt x="135284" y="3488"/>
                </a:lnTo>
                <a:lnTo>
                  <a:pt x="99288" y="0"/>
                </a:lnTo>
                <a:close/>
              </a:path>
              <a:path w="1671320" h="220979">
                <a:moveTo>
                  <a:pt x="345548" y="94221"/>
                </a:moveTo>
                <a:lnTo>
                  <a:pt x="273646" y="94221"/>
                </a:lnTo>
                <a:lnTo>
                  <a:pt x="288265" y="98527"/>
                </a:lnTo>
                <a:lnTo>
                  <a:pt x="297111" y="109594"/>
                </a:lnTo>
                <a:lnTo>
                  <a:pt x="301473" y="124642"/>
                </a:lnTo>
                <a:lnTo>
                  <a:pt x="302641" y="140893"/>
                </a:lnTo>
                <a:lnTo>
                  <a:pt x="301473" y="157142"/>
                </a:lnTo>
                <a:lnTo>
                  <a:pt x="297111" y="172186"/>
                </a:lnTo>
                <a:lnTo>
                  <a:pt x="288265" y="183249"/>
                </a:lnTo>
                <a:lnTo>
                  <a:pt x="273646" y="187553"/>
                </a:lnTo>
                <a:lnTo>
                  <a:pt x="345551" y="187553"/>
                </a:lnTo>
                <a:lnTo>
                  <a:pt x="353924" y="176657"/>
                </a:lnTo>
                <a:lnTo>
                  <a:pt x="360972" y="140893"/>
                </a:lnTo>
                <a:lnTo>
                  <a:pt x="353924" y="105123"/>
                </a:lnTo>
                <a:lnTo>
                  <a:pt x="345548" y="94221"/>
                </a:lnTo>
                <a:close/>
              </a:path>
              <a:path w="1671320" h="220979">
                <a:moveTo>
                  <a:pt x="181659" y="41910"/>
                </a:moveTo>
                <a:lnTo>
                  <a:pt x="90589" y="41910"/>
                </a:lnTo>
                <a:lnTo>
                  <a:pt x="105791" y="44347"/>
                </a:lnTo>
                <a:lnTo>
                  <a:pt x="116205" y="50042"/>
                </a:lnTo>
                <a:lnTo>
                  <a:pt x="122189" y="58546"/>
                </a:lnTo>
                <a:lnTo>
                  <a:pt x="124104" y="69405"/>
                </a:lnTo>
                <a:lnTo>
                  <a:pt x="122189" y="80272"/>
                </a:lnTo>
                <a:lnTo>
                  <a:pt x="116205" y="88779"/>
                </a:lnTo>
                <a:lnTo>
                  <a:pt x="105791" y="94476"/>
                </a:lnTo>
                <a:lnTo>
                  <a:pt x="90589" y="96913"/>
                </a:lnTo>
                <a:lnTo>
                  <a:pt x="181661" y="96913"/>
                </a:lnTo>
                <a:lnTo>
                  <a:pt x="186880" y="69405"/>
                </a:lnTo>
                <a:lnTo>
                  <a:pt x="181659" y="41910"/>
                </a:lnTo>
                <a:close/>
              </a:path>
            </a:pathLst>
          </a:custGeom>
          <a:solidFill>
            <a:srgbClr val="004BBA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venir Next LT Pro" pitchFamily="2" charset="0"/>
              <a:ea typeface="+mn-ea"/>
              <a:cs typeface="+mn-cs"/>
            </a:endParaRPr>
          </a:p>
        </p:txBody>
      </p:sp>
      <p:sp>
        <p:nvSpPr>
          <p:cNvPr id="3" name="Segnaposto testo 2">
            <a:extLst>
              <a:ext uri="{FF2B5EF4-FFF2-40B4-BE49-F238E27FC236}">
                <a16:creationId xmlns:a16="http://schemas.microsoft.com/office/drawing/2014/main" id="{AD28AE83-E2E7-DF4E-8212-A330FDDCE0D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58813" y="3562350"/>
            <a:ext cx="5819775" cy="40481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it-IT" dirty="0"/>
              <a:t>Fare clic per modificare la Data</a:t>
            </a:r>
          </a:p>
        </p:txBody>
      </p:sp>
    </p:spTree>
    <p:extLst>
      <p:ext uri="{BB962C8B-B14F-4D97-AF65-F5344CB8AC3E}">
        <p14:creationId xmlns:p14="http://schemas.microsoft.com/office/powerpoint/2010/main" val="22675319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TABELLA + Tes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egnaposto tabella 3"/>
          <p:cNvSpPr>
            <a:spLocks noGrp="1"/>
          </p:cNvSpPr>
          <p:nvPr>
            <p:ph type="tbl" sz="quarter" idx="20"/>
          </p:nvPr>
        </p:nvSpPr>
        <p:spPr>
          <a:xfrm>
            <a:off x="658813" y="1304925"/>
            <a:ext cx="5437187" cy="48085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r>
              <a:rPr lang="it-IT" dirty="0"/>
              <a:t>Fare clic sull'icona per inserire una tabella</a:t>
            </a:r>
          </a:p>
        </p:txBody>
      </p:sp>
      <p:sp>
        <p:nvSpPr>
          <p:cNvPr id="8" name="Segnaposto testo 10">
            <a:extLst>
              <a:ext uri="{FF2B5EF4-FFF2-40B4-BE49-F238E27FC236}">
                <a16:creationId xmlns:a16="http://schemas.microsoft.com/office/drawing/2014/main" id="{49A91920-C6F6-D4D1-CD06-A47E2F0102A4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096000" y="1304925"/>
            <a:ext cx="5724525" cy="4808538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6" name="Segnaposto testo 18">
            <a:extLst>
              <a:ext uri="{FF2B5EF4-FFF2-40B4-BE49-F238E27FC236}">
                <a16:creationId xmlns:a16="http://schemas.microsoft.com/office/drawing/2014/main" id="{DFAD0936-487E-3F26-5982-B6D2ACA91B6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37200" y="415435"/>
            <a:ext cx="11161712" cy="3794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cap="none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it-IT" sz="2400" b="0" kern="1200" cap="all" baseline="0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TITOLO SLIDE (</a:t>
            </a:r>
            <a:r>
              <a:rPr lang="it-IT" sz="2400" b="0" kern="1200" cap="all" baseline="0" dirty="0" err="1">
                <a:solidFill>
                  <a:schemeClr val="tx2"/>
                </a:solidFill>
                <a:latin typeface="+mj-lt"/>
                <a:ea typeface="+mj-ea"/>
                <a:cs typeface="+mj-cs"/>
              </a:rPr>
              <a:t>Avenir</a:t>
            </a:r>
            <a:r>
              <a:rPr lang="it-IT" sz="2400" b="0" kern="1200" cap="all" baseline="0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 Next LT Pro MAX 24, MAIUSCOLO, BLU, MAX 2 RIGHE)</a:t>
            </a:r>
            <a:endParaRPr lang="it-IT" dirty="0"/>
          </a:p>
        </p:txBody>
      </p:sp>
      <p:sp>
        <p:nvSpPr>
          <p:cNvPr id="7" name="Segnaposto testo 20">
            <a:extLst>
              <a:ext uri="{FF2B5EF4-FFF2-40B4-BE49-F238E27FC236}">
                <a16:creationId xmlns:a16="http://schemas.microsoft.com/office/drawing/2014/main" id="{B1B1AC5E-137D-976C-C0DB-5A8E4FFA290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37200" y="803474"/>
            <a:ext cx="9077325" cy="2880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it-IT" dirty="0"/>
              <a:t>SOTTOTITOLO (CORPO </a:t>
            </a:r>
            <a:r>
              <a:rPr lang="it-IT" dirty="0" err="1"/>
              <a:t>Avenir</a:t>
            </a:r>
            <a:r>
              <a:rPr lang="it-IT" dirty="0"/>
              <a:t> Next LT Pro MAX 16, MAIUSCOLO, BLU, MAX 1 RIGA)</a:t>
            </a:r>
          </a:p>
        </p:txBody>
      </p:sp>
      <p:sp>
        <p:nvSpPr>
          <p:cNvPr id="2" name="TextBox 6">
            <a:extLst>
              <a:ext uri="{FF2B5EF4-FFF2-40B4-BE49-F238E27FC236}">
                <a16:creationId xmlns:a16="http://schemas.microsoft.com/office/drawing/2014/main" id="{BFBA1290-3326-1149-FCEB-E35B74EA9AED}"/>
              </a:ext>
            </a:extLst>
          </p:cNvPr>
          <p:cNvSpPr txBox="1"/>
          <p:nvPr userDrawn="1"/>
        </p:nvSpPr>
        <p:spPr>
          <a:xfrm>
            <a:off x="4854646" y="6587150"/>
            <a:ext cx="6314549" cy="19883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sz="692" i="1" dirty="0"/>
              <a:t>Documento ad uso esclusivamente interno, da intendersi come strettamente riservato; non è autorizzata la trasmissione ad altri e la divulgazione all’esterno.</a:t>
            </a:r>
            <a:endParaRPr lang="en-US" sz="692" i="1" dirty="0"/>
          </a:p>
        </p:txBody>
      </p:sp>
    </p:spTree>
    <p:extLst>
      <p:ext uri="{BB962C8B-B14F-4D97-AF65-F5344CB8AC3E}">
        <p14:creationId xmlns:p14="http://schemas.microsoft.com/office/powerpoint/2010/main" val="32156023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egnaposto testo 18">
            <a:extLst>
              <a:ext uri="{FF2B5EF4-FFF2-40B4-BE49-F238E27FC236}">
                <a16:creationId xmlns:a16="http://schemas.microsoft.com/office/drawing/2014/main" id="{3175946E-D5D7-7628-F4E6-E534F3F0B1E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1475" y="415435"/>
            <a:ext cx="11161712" cy="3794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u="none" cap="none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it-IT" sz="2400" b="0" kern="1200" cap="all" baseline="0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TITOLO SLIDE (</a:t>
            </a:r>
            <a:r>
              <a:rPr lang="it-IT" sz="2400" b="0" kern="1200" cap="all" baseline="0" dirty="0" err="1">
                <a:solidFill>
                  <a:schemeClr val="tx2"/>
                </a:solidFill>
                <a:latin typeface="+mj-lt"/>
                <a:ea typeface="+mj-ea"/>
                <a:cs typeface="+mj-cs"/>
              </a:rPr>
              <a:t>Avenir</a:t>
            </a:r>
            <a:r>
              <a:rPr lang="it-IT" sz="2400" b="0" kern="1200" cap="all" baseline="0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 Next LT Pro MAX 24, MAIUSCOLO, BLU, MAX 2 RIGHE)</a:t>
            </a:r>
            <a:endParaRPr lang="it-IT" dirty="0"/>
          </a:p>
        </p:txBody>
      </p:sp>
      <p:sp>
        <p:nvSpPr>
          <p:cNvPr id="7" name="Segnaposto testo 20">
            <a:extLst>
              <a:ext uri="{FF2B5EF4-FFF2-40B4-BE49-F238E27FC236}">
                <a16:creationId xmlns:a16="http://schemas.microsoft.com/office/drawing/2014/main" id="{272CC02A-1AA5-05A0-5006-20DB9590F62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71475" y="803474"/>
            <a:ext cx="9077325" cy="2880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600" u="none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it-IT" dirty="0"/>
              <a:t>SOTTOTITOLO (CORPO </a:t>
            </a:r>
            <a:r>
              <a:rPr lang="it-IT" dirty="0" err="1"/>
              <a:t>Avenir</a:t>
            </a:r>
            <a:r>
              <a:rPr lang="it-IT" dirty="0"/>
              <a:t> Next LT Pro MAX 16, MAIUSCOLO, BLU, MAX 1 RIGA)</a:t>
            </a:r>
          </a:p>
        </p:txBody>
      </p:sp>
      <p:sp>
        <p:nvSpPr>
          <p:cNvPr id="2" name="TextBox 6">
            <a:extLst>
              <a:ext uri="{FF2B5EF4-FFF2-40B4-BE49-F238E27FC236}">
                <a16:creationId xmlns:a16="http://schemas.microsoft.com/office/drawing/2014/main" id="{38F8B505-50D6-9FC3-5724-3ACC5257E0EF}"/>
              </a:ext>
            </a:extLst>
          </p:cNvPr>
          <p:cNvSpPr txBox="1"/>
          <p:nvPr userDrawn="1"/>
        </p:nvSpPr>
        <p:spPr>
          <a:xfrm>
            <a:off x="4923658" y="6587150"/>
            <a:ext cx="6314549" cy="19883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sz="692" i="1" dirty="0"/>
              <a:t>Documento ad uso esclusivamente interno, da intendersi come strettamente riservato; non è autorizzata la trasmissione ad altri e la divulgazione all’esterno.</a:t>
            </a:r>
            <a:endParaRPr lang="en-US" sz="692" i="1" dirty="0"/>
          </a:p>
        </p:txBody>
      </p:sp>
    </p:spTree>
    <p:extLst>
      <p:ext uri="{BB962C8B-B14F-4D97-AF65-F5344CB8AC3E}">
        <p14:creationId xmlns:p14="http://schemas.microsoft.com/office/powerpoint/2010/main" val="40070575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lide 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6">
            <a:extLst>
              <a:ext uri="{FF2B5EF4-FFF2-40B4-BE49-F238E27FC236}">
                <a16:creationId xmlns:a16="http://schemas.microsoft.com/office/drawing/2014/main" id="{86129CD1-E4E2-2FA6-648C-11BC8777DA86}"/>
              </a:ext>
            </a:extLst>
          </p:cNvPr>
          <p:cNvSpPr txBox="1"/>
          <p:nvPr userDrawn="1"/>
        </p:nvSpPr>
        <p:spPr>
          <a:xfrm>
            <a:off x="4923658" y="6587150"/>
            <a:ext cx="6314549" cy="19883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sz="692" i="1" dirty="0"/>
              <a:t>Documento ad uso esclusivamente interno, da intendersi come strettamente riservato; non è autorizzata la trasmissione ad altri e la divulgazione all’esterno.</a:t>
            </a:r>
            <a:endParaRPr lang="en-US" sz="692" i="1" dirty="0"/>
          </a:p>
        </p:txBody>
      </p:sp>
    </p:spTree>
    <p:extLst>
      <p:ext uri="{BB962C8B-B14F-4D97-AF65-F5344CB8AC3E}">
        <p14:creationId xmlns:p14="http://schemas.microsoft.com/office/powerpoint/2010/main" val="38564763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BIANC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ttangolo 1"/>
          <p:cNvSpPr/>
          <p:nvPr/>
        </p:nvSpPr>
        <p:spPr>
          <a:xfrm>
            <a:off x="0" y="628650"/>
            <a:ext cx="9667875" cy="228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3" name="Segnaposto numero diapositiva 2"/>
          <p:cNvSpPr>
            <a:spLocks noGrp="1"/>
          </p:cNvSpPr>
          <p:nvPr>
            <p:ph type="sldNum" sz="quarter" idx="10"/>
          </p:nvPr>
        </p:nvSpPr>
        <p:spPr>
          <a:xfrm>
            <a:off x="11544555" y="6498208"/>
            <a:ext cx="645858" cy="359791"/>
          </a:xfrm>
          <a:prstGeom prst="rect">
            <a:avLst/>
          </a:prstGeom>
        </p:spPr>
        <p:txBody>
          <a:bodyPr/>
          <a:lstStyle/>
          <a:p>
            <a:fld id="{B87FA73C-A7EE-4241-A631-441DFD16C2EB}" type="slidenum">
              <a:rPr lang="it-IT" smtClean="0"/>
              <a:pPr/>
              <a:t>‹N›</a:t>
            </a:fld>
            <a:endParaRPr lang="it-IT" dirty="0"/>
          </a:p>
        </p:txBody>
      </p:sp>
      <p:sp>
        <p:nvSpPr>
          <p:cNvPr id="4" name="Rettangolo 3"/>
          <p:cNvSpPr/>
          <p:nvPr/>
        </p:nvSpPr>
        <p:spPr>
          <a:xfrm>
            <a:off x="1" y="0"/>
            <a:ext cx="12191999" cy="6858000"/>
          </a:xfrm>
          <a:prstGeom prst="rect">
            <a:avLst/>
          </a:prstGeom>
          <a:solidFill>
            <a:srgbClr val="EEDC14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pic>
        <p:nvPicPr>
          <p:cNvPr id="5" name="Immagine 4" descr="pi_rgb_nobkgd.eps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89400" y="2854716"/>
            <a:ext cx="4013199" cy="810177"/>
          </a:xfrm>
          <a:prstGeom prst="rect">
            <a:avLst/>
          </a:prstGeom>
        </p:spPr>
      </p:pic>
      <p:pic>
        <p:nvPicPr>
          <p:cNvPr id="6" name="Immagine 5" descr="social_poste.eps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57449" y="3858047"/>
            <a:ext cx="2077101" cy="238646"/>
          </a:xfrm>
          <a:prstGeom prst="rect">
            <a:avLst/>
          </a:prstGeom>
        </p:spPr>
      </p:pic>
      <p:sp>
        <p:nvSpPr>
          <p:cNvPr id="8" name="Segnaposto testo 7"/>
          <p:cNvSpPr>
            <a:spLocks noGrp="1"/>
          </p:cNvSpPr>
          <p:nvPr>
            <p:ph type="body" sz="quarter" idx="11" hasCustomPrompt="1"/>
          </p:nvPr>
        </p:nvSpPr>
        <p:spPr>
          <a:xfrm>
            <a:off x="2349500" y="5588000"/>
            <a:ext cx="7493000" cy="52546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800" baseline="0"/>
            </a:lvl1pPr>
          </a:lstStyle>
          <a:p>
            <a:pPr lvl="0"/>
            <a:r>
              <a:rPr lang="it-IT" dirty="0"/>
              <a:t>Rispetta l’ambiente: NON MI STAMPARE </a:t>
            </a:r>
          </a:p>
        </p:txBody>
      </p:sp>
      <p:sp>
        <p:nvSpPr>
          <p:cNvPr id="9" name="Rettangolo 8"/>
          <p:cNvSpPr/>
          <p:nvPr/>
        </p:nvSpPr>
        <p:spPr>
          <a:xfrm>
            <a:off x="0" y="628650"/>
            <a:ext cx="9667875" cy="228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10" name="Rettangolo 9"/>
          <p:cNvSpPr/>
          <p:nvPr/>
        </p:nvSpPr>
        <p:spPr>
          <a:xfrm>
            <a:off x="1" y="0"/>
            <a:ext cx="12191999" cy="6858000"/>
          </a:xfrm>
          <a:prstGeom prst="rect">
            <a:avLst/>
          </a:prstGeom>
          <a:solidFill>
            <a:srgbClr val="EEDC14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pic>
        <p:nvPicPr>
          <p:cNvPr id="11" name="Immagine 10" descr="pi_rgb_nobkgd.eps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89400" y="2854716"/>
            <a:ext cx="4013199" cy="810177"/>
          </a:xfrm>
          <a:prstGeom prst="rect">
            <a:avLst/>
          </a:prstGeom>
        </p:spPr>
      </p:pic>
      <p:pic>
        <p:nvPicPr>
          <p:cNvPr id="12" name="Immagine 11" descr="social_poste.eps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57449" y="3858047"/>
            <a:ext cx="2077101" cy="238646"/>
          </a:xfrm>
          <a:prstGeom prst="rect">
            <a:avLst/>
          </a:prstGeom>
        </p:spPr>
      </p:pic>
      <p:sp>
        <p:nvSpPr>
          <p:cNvPr id="13" name="Rettangolo 12"/>
          <p:cNvSpPr/>
          <p:nvPr/>
        </p:nvSpPr>
        <p:spPr>
          <a:xfrm>
            <a:off x="0" y="628650"/>
            <a:ext cx="9667875" cy="228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14" name="Rettangolo 13"/>
          <p:cNvSpPr/>
          <p:nvPr/>
        </p:nvSpPr>
        <p:spPr>
          <a:xfrm>
            <a:off x="1" y="0"/>
            <a:ext cx="12191999" cy="68580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grpSp>
        <p:nvGrpSpPr>
          <p:cNvPr id="16" name="Gruppo 15">
            <a:extLst>
              <a:ext uri="{FF2B5EF4-FFF2-40B4-BE49-F238E27FC236}">
                <a16:creationId xmlns:a16="http://schemas.microsoft.com/office/drawing/2014/main" id="{C1305FB9-447E-F3E9-8A5F-7DD6738118FA}"/>
              </a:ext>
            </a:extLst>
          </p:cNvPr>
          <p:cNvGrpSpPr/>
          <p:nvPr/>
        </p:nvGrpSpPr>
        <p:grpSpPr>
          <a:xfrm>
            <a:off x="3646297" y="2424812"/>
            <a:ext cx="4899407" cy="2008377"/>
            <a:chOff x="3646296" y="3571711"/>
            <a:chExt cx="4899407" cy="2008377"/>
          </a:xfrm>
        </p:grpSpPr>
        <p:pic>
          <p:nvPicPr>
            <p:cNvPr id="17" name="Immagine 16">
              <a:extLst>
                <a:ext uri="{FF2B5EF4-FFF2-40B4-BE49-F238E27FC236}">
                  <a16:creationId xmlns:a16="http://schemas.microsoft.com/office/drawing/2014/main" id="{946E343A-2E1E-7126-F1A7-71F4CDDD8D45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646296" y="3571711"/>
              <a:ext cx="4899407" cy="987980"/>
            </a:xfrm>
            <a:prstGeom prst="rect">
              <a:avLst/>
            </a:prstGeom>
          </p:spPr>
        </p:pic>
        <p:pic>
          <p:nvPicPr>
            <p:cNvPr id="19" name="Immagine 18">
              <a:extLst>
                <a:ext uri="{FF2B5EF4-FFF2-40B4-BE49-F238E27FC236}">
                  <a16:creationId xmlns:a16="http://schemas.microsoft.com/office/drawing/2014/main" id="{9424CF8B-0145-DF3D-E649-26C91310DCFF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381499" y="5247251"/>
              <a:ext cx="3429000" cy="332837"/>
            </a:xfrm>
            <a:prstGeom prst="rect">
              <a:avLst/>
            </a:prstGeom>
          </p:spPr>
        </p:pic>
      </p:grpSp>
      <p:sp>
        <p:nvSpPr>
          <p:cNvPr id="18" name="Rettangolo 17">
            <a:extLst>
              <a:ext uri="{FF2B5EF4-FFF2-40B4-BE49-F238E27FC236}">
                <a16:creationId xmlns:a16="http://schemas.microsoft.com/office/drawing/2014/main" id="{29D06F9E-D859-2661-474D-C89DB537882A}"/>
              </a:ext>
            </a:extLst>
          </p:cNvPr>
          <p:cNvSpPr/>
          <p:nvPr userDrawn="1"/>
        </p:nvSpPr>
        <p:spPr>
          <a:xfrm>
            <a:off x="0" y="628650"/>
            <a:ext cx="9667875" cy="228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20" name="Rettangolo 19">
            <a:extLst>
              <a:ext uri="{FF2B5EF4-FFF2-40B4-BE49-F238E27FC236}">
                <a16:creationId xmlns:a16="http://schemas.microsoft.com/office/drawing/2014/main" id="{F8146203-34EA-F5C6-4E84-6C1A6665C7F7}"/>
              </a:ext>
            </a:extLst>
          </p:cNvPr>
          <p:cNvSpPr/>
          <p:nvPr userDrawn="1"/>
        </p:nvSpPr>
        <p:spPr>
          <a:xfrm>
            <a:off x="1" y="0"/>
            <a:ext cx="12191999" cy="68580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pic>
        <p:nvPicPr>
          <p:cNvPr id="22" name="Immagine 21">
            <a:extLst>
              <a:ext uri="{FF2B5EF4-FFF2-40B4-BE49-F238E27FC236}">
                <a16:creationId xmlns:a16="http://schemas.microsoft.com/office/drawing/2014/main" id="{700ADFD9-63BA-6CB0-005A-5D814D0EAD8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46297" y="2424812"/>
            <a:ext cx="4899407" cy="9879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38272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Slide STD Tes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 hasCustomPrompt="1"/>
          </p:nvPr>
        </p:nvSpPr>
        <p:spPr>
          <a:xfrm>
            <a:off x="371476" y="35496"/>
            <a:ext cx="11418587" cy="35895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it-IT" dirty="0"/>
              <a:t>Titolo SLIDE (</a:t>
            </a:r>
            <a:r>
              <a:rPr lang="it-IT" dirty="0" err="1"/>
              <a:t>arial</a:t>
            </a:r>
            <a:r>
              <a:rPr lang="it-IT" dirty="0"/>
              <a:t> </a:t>
            </a:r>
            <a:r>
              <a:rPr lang="it-IT" dirty="0" err="1"/>
              <a:t>max</a:t>
            </a:r>
            <a:r>
              <a:rPr lang="it-IT" dirty="0"/>
              <a:t> 24, </a:t>
            </a:r>
            <a:r>
              <a:rPr lang="it-IT" dirty="0" err="1"/>
              <a:t>bold</a:t>
            </a:r>
            <a:r>
              <a:rPr lang="it-IT" dirty="0"/>
              <a:t>, maiuscolo, blu, </a:t>
            </a:r>
            <a:r>
              <a:rPr lang="it-IT" dirty="0" err="1"/>
              <a:t>max</a:t>
            </a:r>
            <a:r>
              <a:rPr lang="it-IT" dirty="0"/>
              <a:t> 2 righe)</a:t>
            </a:r>
          </a:p>
        </p:txBody>
      </p:sp>
      <p:sp>
        <p:nvSpPr>
          <p:cNvPr id="17" name="Segnaposto testo 16"/>
          <p:cNvSpPr>
            <a:spLocks noGrp="1"/>
          </p:cNvSpPr>
          <p:nvPr>
            <p:ph type="body" sz="quarter" idx="14"/>
          </p:nvPr>
        </p:nvSpPr>
        <p:spPr>
          <a:xfrm>
            <a:off x="371476" y="1016003"/>
            <a:ext cx="11449051" cy="5097463"/>
          </a:xfrm>
          <a:prstGeom prst="rect">
            <a:avLst/>
          </a:prstGeom>
          <a:ln w="25400" cap="rnd">
            <a:noFill/>
          </a:ln>
        </p:spPr>
        <p:txBody>
          <a:bodyPr vert="horz" lIns="91440" tIns="45720" rIns="91440" bIns="45720" rtlCol="0">
            <a:normAutofit/>
          </a:bodyPr>
          <a:lstStyle>
            <a:lvl1pPr>
              <a:buClr>
                <a:srgbClr val="707173"/>
              </a:buClr>
              <a:defRPr lang="it-IT" sz="2000" dirty="0" smtClean="0"/>
            </a:lvl1pPr>
            <a:lvl2pPr>
              <a:buClr>
                <a:srgbClr val="707173"/>
              </a:buClr>
              <a:defRPr lang="it-IT" sz="1800" dirty="0" smtClean="0"/>
            </a:lvl2pPr>
            <a:lvl3pPr marL="1076325" indent="-161925">
              <a:buClr>
                <a:srgbClr val="707173"/>
              </a:buClr>
              <a:defRPr lang="it-IT" sz="1600" dirty="0" smtClean="0"/>
            </a:lvl3pPr>
            <a:lvl4pPr marL="1524000" indent="-152400">
              <a:buClr>
                <a:srgbClr val="707173"/>
              </a:buClr>
              <a:defRPr lang="it-IT" sz="1400" dirty="0" smtClean="0"/>
            </a:lvl4pPr>
            <a:lvl5pPr marL="1971675" indent="-142875">
              <a:buClr>
                <a:srgbClr val="707173"/>
              </a:buClr>
              <a:defRPr lang="it-IT" sz="1400" dirty="0"/>
            </a:lvl5pPr>
          </a:lstStyle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it-IT" dirty="0"/>
          </a:p>
        </p:txBody>
      </p:sp>
      <p:sp>
        <p:nvSpPr>
          <p:cNvPr id="25" name="Segnaposto testo 24"/>
          <p:cNvSpPr>
            <a:spLocks noGrp="1"/>
          </p:cNvSpPr>
          <p:nvPr>
            <p:ph type="body" sz="quarter" idx="15" hasCustomPrompt="1"/>
          </p:nvPr>
        </p:nvSpPr>
        <p:spPr>
          <a:xfrm>
            <a:off x="371476" y="360575"/>
            <a:ext cx="11418587" cy="38576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None/>
              <a:defRPr sz="1800" cap="all" baseline="0">
                <a:solidFill>
                  <a:schemeClr val="tx2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it-IT" dirty="0"/>
              <a:t>SOTTOTITOLO (corpo </a:t>
            </a:r>
            <a:r>
              <a:rPr lang="it-IT" dirty="0" err="1"/>
              <a:t>arial</a:t>
            </a:r>
            <a:r>
              <a:rPr lang="it-IT" dirty="0"/>
              <a:t> </a:t>
            </a:r>
            <a:r>
              <a:rPr lang="it-IT" dirty="0" err="1"/>
              <a:t>max</a:t>
            </a:r>
            <a:r>
              <a:rPr lang="it-IT" dirty="0"/>
              <a:t> 18, maiuscolo, blu, </a:t>
            </a:r>
            <a:r>
              <a:rPr lang="it-IT" dirty="0" err="1"/>
              <a:t>max</a:t>
            </a:r>
            <a:r>
              <a:rPr lang="it-IT" dirty="0"/>
              <a:t> 1 riga)</a:t>
            </a:r>
          </a:p>
        </p:txBody>
      </p:sp>
      <p:sp>
        <p:nvSpPr>
          <p:cNvPr id="3" name="Segnaposto numero diapositiva 2"/>
          <p:cNvSpPr>
            <a:spLocks noGrp="1"/>
          </p:cNvSpPr>
          <p:nvPr>
            <p:ph type="sldNum" sz="quarter" idx="16"/>
          </p:nvPr>
        </p:nvSpPr>
        <p:spPr>
          <a:xfrm>
            <a:off x="11546141" y="6500817"/>
            <a:ext cx="645859" cy="357187"/>
          </a:xfrm>
          <a:prstGeom prst="rect">
            <a:avLst/>
          </a:prstGeom>
        </p:spPr>
        <p:txBody>
          <a:bodyPr/>
          <a:lstStyle/>
          <a:p>
            <a:fld id="{B87FA73C-A7EE-4241-A631-441DFD16C2EB}" type="slidenum">
              <a:rPr lang="it-IT" smtClean="0"/>
              <a:pPr/>
              <a:t>‹N›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39112890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Apertur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Segnaposto testo 14">
            <a:extLst>
              <a:ext uri="{FF2B5EF4-FFF2-40B4-BE49-F238E27FC236}">
                <a16:creationId xmlns:a16="http://schemas.microsoft.com/office/drawing/2014/main" id="{1A49A137-563C-3A48-91AC-994AC066736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66350" y="728190"/>
            <a:ext cx="10925175" cy="24352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5100" b="0" i="0">
                <a:solidFill>
                  <a:schemeClr val="bg1"/>
                </a:solidFill>
                <a:latin typeface="Avenir Next LT Pro" panose="020B0504020202020204" pitchFamily="34" charset="77"/>
              </a:defRPr>
            </a:lvl1pPr>
            <a:lvl2pPr marL="457200" indent="0">
              <a:buNone/>
              <a:defRPr sz="5100" b="0" i="0">
                <a:solidFill>
                  <a:schemeClr val="bg1"/>
                </a:solidFill>
                <a:latin typeface="Avenir Next LT Pro" panose="020B0504020202020204" pitchFamily="34" charset="77"/>
              </a:defRPr>
            </a:lvl2pPr>
            <a:lvl3pPr marL="914400" indent="0">
              <a:buNone/>
              <a:defRPr sz="5100" b="0" i="0">
                <a:solidFill>
                  <a:schemeClr val="bg1"/>
                </a:solidFill>
                <a:latin typeface="Avenir Next LT Pro" panose="020B0504020202020204" pitchFamily="34" charset="77"/>
              </a:defRPr>
            </a:lvl3pPr>
            <a:lvl4pPr marL="1371600" indent="0">
              <a:buNone/>
              <a:defRPr sz="5100" b="0" i="0">
                <a:solidFill>
                  <a:schemeClr val="bg1"/>
                </a:solidFill>
                <a:latin typeface="Avenir Next LT Pro" panose="020B0504020202020204" pitchFamily="34" charset="77"/>
              </a:defRPr>
            </a:lvl4pPr>
            <a:lvl5pPr marL="1828800" indent="0">
              <a:buNone/>
              <a:defRPr sz="5100" b="0" i="0">
                <a:solidFill>
                  <a:schemeClr val="bg1"/>
                </a:solidFill>
                <a:latin typeface="Avenir Next LT Pro" panose="020B0504020202020204" pitchFamily="34" charset="77"/>
              </a:defRPr>
            </a:lvl5pPr>
          </a:lstStyle>
          <a:p>
            <a:pPr lvl="0"/>
            <a:r>
              <a:rPr lang="it-IT" dirty="0"/>
              <a:t>FARE CLIC PER MODIFICARE IL TITOLO</a:t>
            </a:r>
          </a:p>
        </p:txBody>
      </p:sp>
      <p:sp>
        <p:nvSpPr>
          <p:cNvPr id="21" name="Segnaposto testo 19">
            <a:extLst>
              <a:ext uri="{FF2B5EF4-FFF2-40B4-BE49-F238E27FC236}">
                <a16:creationId xmlns:a16="http://schemas.microsoft.com/office/drawing/2014/main" id="{86C839B6-177A-C64A-929E-A501E69F9EF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86040" y="5108207"/>
            <a:ext cx="10975975" cy="13985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4000" b="0" i="0">
                <a:solidFill>
                  <a:srgbClr val="EDDC00"/>
                </a:solidFill>
                <a:latin typeface="Avenir Next LT Pro" panose="020B0504020202020204" pitchFamily="34" charset="77"/>
              </a:defRPr>
            </a:lvl1pPr>
            <a:lvl2pPr marL="457200" indent="0">
              <a:buNone/>
              <a:defRPr sz="4000" b="0" i="0">
                <a:solidFill>
                  <a:srgbClr val="EDDC00"/>
                </a:solidFill>
                <a:latin typeface="Avenir Next LT Pro" panose="020B0504020202020204" pitchFamily="34" charset="77"/>
              </a:defRPr>
            </a:lvl2pPr>
            <a:lvl3pPr marL="914400" indent="0">
              <a:buNone/>
              <a:defRPr sz="4000" b="0" i="0">
                <a:solidFill>
                  <a:srgbClr val="EDDC00"/>
                </a:solidFill>
                <a:latin typeface="Avenir Next LT Pro" panose="020B0504020202020204" pitchFamily="34" charset="77"/>
              </a:defRPr>
            </a:lvl3pPr>
            <a:lvl4pPr marL="1371600" indent="0">
              <a:buNone/>
              <a:defRPr sz="4000" b="0" i="0">
                <a:solidFill>
                  <a:srgbClr val="EDDC00"/>
                </a:solidFill>
                <a:latin typeface="Avenir Next LT Pro" panose="020B0504020202020204" pitchFamily="34" charset="77"/>
              </a:defRPr>
            </a:lvl4pPr>
            <a:lvl5pPr marL="1828800" indent="0">
              <a:buNone/>
              <a:defRPr sz="4000" b="0" i="0">
                <a:solidFill>
                  <a:srgbClr val="EDDC00"/>
                </a:solidFill>
                <a:latin typeface="Avenir Next LT Pro" panose="020B0504020202020204" pitchFamily="34" charset="77"/>
              </a:defRPr>
            </a:lvl5pPr>
          </a:lstStyle>
          <a:p>
            <a:pPr lvl="0"/>
            <a:r>
              <a:rPr lang="it-IT" dirty="0"/>
              <a:t>Fare clic per modificare il sotto titolo</a:t>
            </a:r>
          </a:p>
        </p:txBody>
      </p:sp>
      <p:sp>
        <p:nvSpPr>
          <p:cNvPr id="14" name="object 6">
            <a:extLst>
              <a:ext uri="{FF2B5EF4-FFF2-40B4-BE49-F238E27FC236}">
                <a16:creationId xmlns:a16="http://schemas.microsoft.com/office/drawing/2014/main" id="{14517F36-49C2-654C-A758-8A4201C0786B}"/>
              </a:ext>
            </a:extLst>
          </p:cNvPr>
          <p:cNvSpPr/>
          <p:nvPr/>
        </p:nvSpPr>
        <p:spPr>
          <a:xfrm>
            <a:off x="12111981" y="6771644"/>
            <a:ext cx="80645" cy="86360"/>
          </a:xfrm>
          <a:custGeom>
            <a:avLst/>
            <a:gdLst/>
            <a:ahLst/>
            <a:cxnLst/>
            <a:rect l="l" t="t" r="r" b="b"/>
            <a:pathLst>
              <a:path w="80645" h="86359">
                <a:moveTo>
                  <a:pt x="0" y="86355"/>
                </a:moveTo>
                <a:lnTo>
                  <a:pt x="41642" y="42245"/>
                </a:lnTo>
                <a:lnTo>
                  <a:pt x="80018" y="0"/>
                </a:lnTo>
              </a:path>
            </a:pathLst>
          </a:custGeom>
          <a:ln w="1270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venirNext LT Pro Regular" panose="020B0504020202020204" pitchFamily="34" charset="77"/>
              <a:ea typeface="+mn-ea"/>
              <a:cs typeface="+mn-cs"/>
            </a:endParaRPr>
          </a:p>
        </p:txBody>
      </p:sp>
      <p:sp>
        <p:nvSpPr>
          <p:cNvPr id="15" name="object 7">
            <a:extLst>
              <a:ext uri="{FF2B5EF4-FFF2-40B4-BE49-F238E27FC236}">
                <a16:creationId xmlns:a16="http://schemas.microsoft.com/office/drawing/2014/main" id="{521CE344-F985-0748-9E28-9BE4713622B6}"/>
              </a:ext>
            </a:extLst>
          </p:cNvPr>
          <p:cNvSpPr/>
          <p:nvPr/>
        </p:nvSpPr>
        <p:spPr>
          <a:xfrm>
            <a:off x="11918422" y="6559810"/>
            <a:ext cx="273685" cy="298450"/>
          </a:xfrm>
          <a:custGeom>
            <a:avLst/>
            <a:gdLst/>
            <a:ahLst/>
            <a:cxnLst/>
            <a:rect l="l" t="t" r="r" b="b"/>
            <a:pathLst>
              <a:path w="273684" h="298450">
                <a:moveTo>
                  <a:pt x="0" y="298189"/>
                </a:moveTo>
                <a:lnTo>
                  <a:pt x="69408" y="225749"/>
                </a:lnTo>
                <a:lnTo>
                  <a:pt x="172330" y="114116"/>
                </a:lnTo>
                <a:lnTo>
                  <a:pt x="273577" y="0"/>
                </a:lnTo>
              </a:path>
            </a:pathLst>
          </a:custGeom>
          <a:ln w="1270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venirNext LT Pro Regular" panose="020B0504020202020204" pitchFamily="34" charset="77"/>
              <a:ea typeface="+mn-ea"/>
              <a:cs typeface="+mn-cs"/>
            </a:endParaRPr>
          </a:p>
        </p:txBody>
      </p:sp>
      <p:sp>
        <p:nvSpPr>
          <p:cNvPr id="17" name="object 8">
            <a:extLst>
              <a:ext uri="{FF2B5EF4-FFF2-40B4-BE49-F238E27FC236}">
                <a16:creationId xmlns:a16="http://schemas.microsoft.com/office/drawing/2014/main" id="{F8CEB3FC-2EFE-CC43-BD8C-CE5398A8BE13}"/>
              </a:ext>
            </a:extLst>
          </p:cNvPr>
          <p:cNvSpPr/>
          <p:nvPr/>
        </p:nvSpPr>
        <p:spPr>
          <a:xfrm>
            <a:off x="11724016" y="6340674"/>
            <a:ext cx="467995" cy="517525"/>
          </a:xfrm>
          <a:custGeom>
            <a:avLst/>
            <a:gdLst/>
            <a:ahLst/>
            <a:cxnLst/>
            <a:rect l="l" t="t" r="r" b="b"/>
            <a:pathLst>
              <a:path w="467995" h="517525">
                <a:moveTo>
                  <a:pt x="0" y="517325"/>
                </a:moveTo>
                <a:lnTo>
                  <a:pt x="98020" y="416558"/>
                </a:lnTo>
                <a:lnTo>
                  <a:pt x="200645" y="306920"/>
                </a:lnTo>
                <a:lnTo>
                  <a:pt x="302075" y="194322"/>
                </a:lnTo>
                <a:lnTo>
                  <a:pt x="402286" y="78734"/>
                </a:lnTo>
                <a:lnTo>
                  <a:pt x="467983" y="0"/>
                </a:lnTo>
              </a:path>
            </a:pathLst>
          </a:custGeom>
          <a:ln w="1270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venirNext LT Pro Regular" panose="020B0504020202020204" pitchFamily="34" charset="77"/>
              <a:ea typeface="+mn-ea"/>
              <a:cs typeface="+mn-cs"/>
            </a:endParaRPr>
          </a:p>
        </p:txBody>
      </p:sp>
      <p:sp>
        <p:nvSpPr>
          <p:cNvPr id="18" name="object 9">
            <a:extLst>
              <a:ext uri="{FF2B5EF4-FFF2-40B4-BE49-F238E27FC236}">
                <a16:creationId xmlns:a16="http://schemas.microsoft.com/office/drawing/2014/main" id="{3D64CEDF-5266-2040-A10B-3875636DEA59}"/>
              </a:ext>
            </a:extLst>
          </p:cNvPr>
          <p:cNvSpPr/>
          <p:nvPr/>
        </p:nvSpPr>
        <p:spPr>
          <a:xfrm>
            <a:off x="11527764" y="6115261"/>
            <a:ext cx="664845" cy="742950"/>
          </a:xfrm>
          <a:custGeom>
            <a:avLst/>
            <a:gdLst/>
            <a:ahLst/>
            <a:cxnLst/>
            <a:rect l="l" t="t" r="r" b="b"/>
            <a:pathLst>
              <a:path w="664845" h="742950">
                <a:moveTo>
                  <a:pt x="0" y="742738"/>
                </a:moveTo>
                <a:lnTo>
                  <a:pt x="128484" y="613635"/>
                </a:lnTo>
                <a:lnTo>
                  <a:pt x="230812" y="505993"/>
                </a:lnTo>
                <a:lnTo>
                  <a:pt x="331981" y="395414"/>
                </a:lnTo>
                <a:lnTo>
                  <a:pt x="431967" y="281868"/>
                </a:lnTo>
                <a:lnTo>
                  <a:pt x="530747" y="165327"/>
                </a:lnTo>
                <a:lnTo>
                  <a:pt x="628297" y="45761"/>
                </a:lnTo>
                <a:lnTo>
                  <a:pt x="664235" y="0"/>
                </a:lnTo>
              </a:path>
            </a:pathLst>
          </a:custGeom>
          <a:ln w="1270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venirNext LT Pro Regular" panose="020B0504020202020204" pitchFamily="34" charset="77"/>
              <a:ea typeface="+mn-ea"/>
              <a:cs typeface="+mn-cs"/>
            </a:endParaRPr>
          </a:p>
        </p:txBody>
      </p:sp>
      <p:sp>
        <p:nvSpPr>
          <p:cNvPr id="19" name="object 10">
            <a:extLst>
              <a:ext uri="{FF2B5EF4-FFF2-40B4-BE49-F238E27FC236}">
                <a16:creationId xmlns:a16="http://schemas.microsoft.com/office/drawing/2014/main" id="{6C5CCA80-CF3E-434B-A123-B03AF861907E}"/>
              </a:ext>
            </a:extLst>
          </p:cNvPr>
          <p:cNvSpPr/>
          <p:nvPr/>
        </p:nvSpPr>
        <p:spPr>
          <a:xfrm>
            <a:off x="11330296" y="5882986"/>
            <a:ext cx="862330" cy="975360"/>
          </a:xfrm>
          <a:custGeom>
            <a:avLst/>
            <a:gdLst/>
            <a:ahLst/>
            <a:cxnLst/>
            <a:rect l="l" t="t" r="r" b="b"/>
            <a:pathLst>
              <a:path w="862329" h="975359">
                <a:moveTo>
                  <a:pt x="0" y="975013"/>
                </a:moveTo>
                <a:lnTo>
                  <a:pt x="57026" y="920341"/>
                </a:lnTo>
                <a:lnTo>
                  <a:pt x="160158" y="817580"/>
                </a:lnTo>
                <a:lnTo>
                  <a:pt x="262189" y="711933"/>
                </a:lnTo>
                <a:lnTo>
                  <a:pt x="363096" y="603373"/>
                </a:lnTo>
                <a:lnTo>
                  <a:pt x="462857" y="491870"/>
                </a:lnTo>
                <a:lnTo>
                  <a:pt x="561448" y="377396"/>
                </a:lnTo>
                <a:lnTo>
                  <a:pt x="658847" y="259921"/>
                </a:lnTo>
                <a:lnTo>
                  <a:pt x="755031" y="139417"/>
                </a:lnTo>
                <a:lnTo>
                  <a:pt x="849976" y="15854"/>
                </a:lnTo>
                <a:lnTo>
                  <a:pt x="861704" y="0"/>
                </a:lnTo>
              </a:path>
            </a:pathLst>
          </a:custGeom>
          <a:ln w="12699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venirNext LT Pro Regular" panose="020B0504020202020204" pitchFamily="34" charset="77"/>
              <a:ea typeface="+mn-ea"/>
              <a:cs typeface="+mn-cs"/>
            </a:endParaRPr>
          </a:p>
        </p:txBody>
      </p:sp>
      <p:sp>
        <p:nvSpPr>
          <p:cNvPr id="20" name="object 11">
            <a:extLst>
              <a:ext uri="{FF2B5EF4-FFF2-40B4-BE49-F238E27FC236}">
                <a16:creationId xmlns:a16="http://schemas.microsoft.com/office/drawing/2014/main" id="{FD77856D-B46C-774F-9A65-92C757381AC5}"/>
              </a:ext>
            </a:extLst>
          </p:cNvPr>
          <p:cNvSpPr/>
          <p:nvPr/>
        </p:nvSpPr>
        <p:spPr>
          <a:xfrm>
            <a:off x="11131790" y="5642891"/>
            <a:ext cx="1060450" cy="1215390"/>
          </a:xfrm>
          <a:custGeom>
            <a:avLst/>
            <a:gdLst/>
            <a:ahLst/>
            <a:cxnLst/>
            <a:rect l="l" t="t" r="r" b="b"/>
            <a:pathLst>
              <a:path w="1060450" h="1215390">
                <a:moveTo>
                  <a:pt x="0" y="1215108"/>
                </a:moveTo>
                <a:lnTo>
                  <a:pt x="90074" y="1130138"/>
                </a:lnTo>
                <a:lnTo>
                  <a:pt x="192874" y="1029348"/>
                </a:lnTo>
                <a:lnTo>
                  <a:pt x="294608" y="925697"/>
                </a:lnTo>
                <a:lnTo>
                  <a:pt x="395254" y="819156"/>
                </a:lnTo>
                <a:lnTo>
                  <a:pt x="494790" y="709696"/>
                </a:lnTo>
                <a:lnTo>
                  <a:pt x="593193" y="597289"/>
                </a:lnTo>
                <a:lnTo>
                  <a:pt x="690441" y="481905"/>
                </a:lnTo>
                <a:lnTo>
                  <a:pt x="786511" y="363515"/>
                </a:lnTo>
                <a:lnTo>
                  <a:pt x="881382" y="242092"/>
                </a:lnTo>
                <a:lnTo>
                  <a:pt x="975030" y="117605"/>
                </a:lnTo>
                <a:lnTo>
                  <a:pt x="1060209" y="0"/>
                </a:lnTo>
              </a:path>
            </a:pathLst>
          </a:custGeom>
          <a:ln w="1270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venirNext LT Pro Regular" panose="020B0504020202020204" pitchFamily="34" charset="77"/>
              <a:ea typeface="+mn-ea"/>
              <a:cs typeface="+mn-cs"/>
            </a:endParaRPr>
          </a:p>
        </p:txBody>
      </p:sp>
      <p:sp>
        <p:nvSpPr>
          <p:cNvPr id="22" name="object 12">
            <a:extLst>
              <a:ext uri="{FF2B5EF4-FFF2-40B4-BE49-F238E27FC236}">
                <a16:creationId xmlns:a16="http://schemas.microsoft.com/office/drawing/2014/main" id="{3109D4B0-6EBD-7A40-93F3-D1928FA91909}"/>
              </a:ext>
            </a:extLst>
          </p:cNvPr>
          <p:cNvSpPr/>
          <p:nvPr/>
        </p:nvSpPr>
        <p:spPr>
          <a:xfrm>
            <a:off x="10931344" y="5394326"/>
            <a:ext cx="1261110" cy="1463675"/>
          </a:xfrm>
          <a:custGeom>
            <a:avLst/>
            <a:gdLst/>
            <a:ahLst/>
            <a:cxnLst/>
            <a:rect l="l" t="t" r="r" b="b"/>
            <a:pathLst>
              <a:path w="1261109" h="1463675">
                <a:moveTo>
                  <a:pt x="0" y="1463673"/>
                </a:moveTo>
                <a:lnTo>
                  <a:pt x="125059" y="1348400"/>
                </a:lnTo>
                <a:lnTo>
                  <a:pt x="227526" y="1249582"/>
                </a:lnTo>
                <a:lnTo>
                  <a:pt x="328963" y="1147927"/>
                </a:lnTo>
                <a:lnTo>
                  <a:pt x="429347" y="1043405"/>
                </a:lnTo>
                <a:lnTo>
                  <a:pt x="528658" y="935988"/>
                </a:lnTo>
                <a:lnTo>
                  <a:pt x="626873" y="825648"/>
                </a:lnTo>
                <a:lnTo>
                  <a:pt x="723970" y="712354"/>
                </a:lnTo>
                <a:lnTo>
                  <a:pt x="819927" y="596080"/>
                </a:lnTo>
                <a:lnTo>
                  <a:pt x="914723" y="476796"/>
                </a:lnTo>
                <a:lnTo>
                  <a:pt x="1008334" y="354473"/>
                </a:lnTo>
                <a:lnTo>
                  <a:pt x="1100740" y="229082"/>
                </a:lnTo>
                <a:lnTo>
                  <a:pt x="1191918" y="100596"/>
                </a:lnTo>
                <a:lnTo>
                  <a:pt x="1260655" y="0"/>
                </a:lnTo>
              </a:path>
            </a:pathLst>
          </a:custGeom>
          <a:ln w="1270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venirNext LT Pro Regular" panose="020B0504020202020204" pitchFamily="34" charset="77"/>
              <a:ea typeface="+mn-ea"/>
              <a:cs typeface="+mn-cs"/>
            </a:endParaRPr>
          </a:p>
        </p:txBody>
      </p:sp>
      <p:sp>
        <p:nvSpPr>
          <p:cNvPr id="23" name="object 14">
            <a:extLst>
              <a:ext uri="{FF2B5EF4-FFF2-40B4-BE49-F238E27FC236}">
                <a16:creationId xmlns:a16="http://schemas.microsoft.com/office/drawing/2014/main" id="{5F627B33-06BA-454C-9682-4D6BEFCDBEFE}"/>
              </a:ext>
            </a:extLst>
          </p:cNvPr>
          <p:cNvSpPr/>
          <p:nvPr/>
        </p:nvSpPr>
        <p:spPr>
          <a:xfrm>
            <a:off x="10525593" y="4871439"/>
            <a:ext cx="1666875" cy="1986914"/>
          </a:xfrm>
          <a:custGeom>
            <a:avLst/>
            <a:gdLst/>
            <a:ahLst/>
            <a:cxnLst/>
            <a:rect l="l" t="t" r="r" b="b"/>
            <a:pathLst>
              <a:path w="1666875" h="1986915">
                <a:moveTo>
                  <a:pt x="0" y="1986560"/>
                </a:moveTo>
                <a:lnTo>
                  <a:pt x="97151" y="1902792"/>
                </a:lnTo>
                <a:lnTo>
                  <a:pt x="199892" y="1810680"/>
                </a:lnTo>
                <a:lnTo>
                  <a:pt x="301693" y="1715807"/>
                </a:lnTo>
                <a:lnTo>
                  <a:pt x="402536" y="1618142"/>
                </a:lnTo>
                <a:lnTo>
                  <a:pt x="502398" y="1517658"/>
                </a:lnTo>
                <a:lnTo>
                  <a:pt x="601259" y="1414327"/>
                </a:lnTo>
                <a:lnTo>
                  <a:pt x="699097" y="1308120"/>
                </a:lnTo>
                <a:lnTo>
                  <a:pt x="795892" y="1199008"/>
                </a:lnTo>
                <a:lnTo>
                  <a:pt x="891623" y="1086964"/>
                </a:lnTo>
                <a:lnTo>
                  <a:pt x="986269" y="971958"/>
                </a:lnTo>
                <a:lnTo>
                  <a:pt x="1079808" y="853962"/>
                </a:lnTo>
                <a:lnTo>
                  <a:pt x="1172220" y="732948"/>
                </a:lnTo>
                <a:lnTo>
                  <a:pt x="1263484" y="608888"/>
                </a:lnTo>
                <a:lnTo>
                  <a:pt x="1353578" y="481752"/>
                </a:lnTo>
                <a:lnTo>
                  <a:pt x="1442482" y="351513"/>
                </a:lnTo>
                <a:lnTo>
                  <a:pt x="1530175" y="218143"/>
                </a:lnTo>
                <a:lnTo>
                  <a:pt x="1616636" y="81612"/>
                </a:lnTo>
                <a:lnTo>
                  <a:pt x="1666406" y="0"/>
                </a:lnTo>
              </a:path>
            </a:pathLst>
          </a:custGeom>
          <a:ln w="12699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venirNext LT Pro Regular" panose="020B0504020202020204" pitchFamily="34" charset="77"/>
              <a:ea typeface="+mn-ea"/>
              <a:cs typeface="+mn-cs"/>
            </a:endParaRPr>
          </a:p>
        </p:txBody>
      </p:sp>
      <p:pic>
        <p:nvPicPr>
          <p:cNvPr id="24" name="Immagine 23">
            <a:extLst>
              <a:ext uri="{FF2B5EF4-FFF2-40B4-BE49-F238E27FC236}">
                <a16:creationId xmlns:a16="http://schemas.microsoft.com/office/drawing/2014/main" id="{758AAA08-A2DC-DB4A-9068-114956115A7B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25" name="Elemento grafico 24">
            <a:extLst>
              <a:ext uri="{FF2B5EF4-FFF2-40B4-BE49-F238E27FC236}">
                <a16:creationId xmlns:a16="http://schemas.microsoft.com/office/drawing/2014/main" id="{D212FFD8-6288-F649-8525-E566B0BED6DC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270645" y="5322"/>
            <a:ext cx="2340412" cy="4648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2164969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Pagina Agend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object 46">
            <a:extLst>
              <a:ext uri="{FF2B5EF4-FFF2-40B4-BE49-F238E27FC236}">
                <a16:creationId xmlns:a16="http://schemas.microsoft.com/office/drawing/2014/main" id="{99828EB8-DC33-4D2E-AB16-2B234973DAE2}"/>
              </a:ext>
            </a:extLst>
          </p:cNvPr>
          <p:cNvSpPr>
            <a:spLocks noChangeAspect="1"/>
          </p:cNvSpPr>
          <p:nvPr/>
        </p:nvSpPr>
        <p:spPr>
          <a:xfrm>
            <a:off x="633940" y="1509967"/>
            <a:ext cx="756000" cy="756000"/>
          </a:xfrm>
          <a:custGeom>
            <a:avLst/>
            <a:gdLst/>
            <a:ahLst/>
            <a:cxnLst/>
            <a:rect l="l" t="t" r="r" b="b"/>
            <a:pathLst>
              <a:path w="1009650" h="1009650">
                <a:moveTo>
                  <a:pt x="1009637" y="504825"/>
                </a:moveTo>
                <a:lnTo>
                  <a:pt x="1007326" y="553440"/>
                </a:lnTo>
                <a:lnTo>
                  <a:pt x="1000534" y="600748"/>
                </a:lnTo>
                <a:lnTo>
                  <a:pt x="989474" y="646537"/>
                </a:lnTo>
                <a:lnTo>
                  <a:pt x="974355" y="690596"/>
                </a:lnTo>
                <a:lnTo>
                  <a:pt x="955391" y="732714"/>
                </a:lnTo>
                <a:lnTo>
                  <a:pt x="932791" y="772678"/>
                </a:lnTo>
                <a:lnTo>
                  <a:pt x="906769" y="810276"/>
                </a:lnTo>
                <a:lnTo>
                  <a:pt x="877535" y="845298"/>
                </a:lnTo>
                <a:lnTo>
                  <a:pt x="845302" y="877532"/>
                </a:lnTo>
                <a:lnTo>
                  <a:pt x="810279" y="906766"/>
                </a:lnTo>
                <a:lnTo>
                  <a:pt x="772680" y="932789"/>
                </a:lnTo>
                <a:lnTo>
                  <a:pt x="732715" y="955389"/>
                </a:lnTo>
                <a:lnTo>
                  <a:pt x="690596" y="974354"/>
                </a:lnTo>
                <a:lnTo>
                  <a:pt x="646535" y="989473"/>
                </a:lnTo>
                <a:lnTo>
                  <a:pt x="600743" y="1000534"/>
                </a:lnTo>
                <a:lnTo>
                  <a:pt x="553431" y="1007326"/>
                </a:lnTo>
                <a:lnTo>
                  <a:pt x="504812" y="1009637"/>
                </a:lnTo>
                <a:lnTo>
                  <a:pt x="456197" y="1007326"/>
                </a:lnTo>
                <a:lnTo>
                  <a:pt x="408888" y="1000534"/>
                </a:lnTo>
                <a:lnTo>
                  <a:pt x="363099" y="989473"/>
                </a:lnTo>
                <a:lnTo>
                  <a:pt x="319040" y="974354"/>
                </a:lnTo>
                <a:lnTo>
                  <a:pt x="276923" y="955389"/>
                </a:lnTo>
                <a:lnTo>
                  <a:pt x="236959" y="932789"/>
                </a:lnTo>
                <a:lnTo>
                  <a:pt x="199360" y="906766"/>
                </a:lnTo>
                <a:lnTo>
                  <a:pt x="164338" y="877532"/>
                </a:lnTo>
                <a:lnTo>
                  <a:pt x="132104" y="845298"/>
                </a:lnTo>
                <a:lnTo>
                  <a:pt x="102870" y="810276"/>
                </a:lnTo>
                <a:lnTo>
                  <a:pt x="76847" y="772678"/>
                </a:lnTo>
                <a:lnTo>
                  <a:pt x="54248" y="732714"/>
                </a:lnTo>
                <a:lnTo>
                  <a:pt x="35283" y="690596"/>
                </a:lnTo>
                <a:lnTo>
                  <a:pt x="20164" y="646537"/>
                </a:lnTo>
                <a:lnTo>
                  <a:pt x="9102" y="600748"/>
                </a:lnTo>
                <a:lnTo>
                  <a:pt x="2310" y="553440"/>
                </a:lnTo>
                <a:lnTo>
                  <a:pt x="0" y="504825"/>
                </a:lnTo>
                <a:lnTo>
                  <a:pt x="2310" y="456207"/>
                </a:lnTo>
                <a:lnTo>
                  <a:pt x="9102" y="408897"/>
                </a:lnTo>
                <a:lnTo>
                  <a:pt x="20164" y="363106"/>
                </a:lnTo>
                <a:lnTo>
                  <a:pt x="35283" y="319045"/>
                </a:lnTo>
                <a:lnTo>
                  <a:pt x="54248" y="276927"/>
                </a:lnTo>
                <a:lnTo>
                  <a:pt x="76847" y="236962"/>
                </a:lnTo>
                <a:lnTo>
                  <a:pt x="102870" y="199363"/>
                </a:lnTo>
                <a:lnTo>
                  <a:pt x="132104" y="164340"/>
                </a:lnTo>
                <a:lnTo>
                  <a:pt x="164338" y="132105"/>
                </a:lnTo>
                <a:lnTo>
                  <a:pt x="199360" y="102871"/>
                </a:lnTo>
                <a:lnTo>
                  <a:pt x="236959" y="76848"/>
                </a:lnTo>
                <a:lnTo>
                  <a:pt x="276923" y="54248"/>
                </a:lnTo>
                <a:lnTo>
                  <a:pt x="319040" y="35283"/>
                </a:lnTo>
                <a:lnTo>
                  <a:pt x="363099" y="20164"/>
                </a:lnTo>
                <a:lnTo>
                  <a:pt x="408888" y="9102"/>
                </a:lnTo>
                <a:lnTo>
                  <a:pt x="456197" y="2310"/>
                </a:lnTo>
                <a:lnTo>
                  <a:pt x="504812" y="0"/>
                </a:lnTo>
                <a:lnTo>
                  <a:pt x="553431" y="2310"/>
                </a:lnTo>
                <a:lnTo>
                  <a:pt x="600743" y="9102"/>
                </a:lnTo>
                <a:lnTo>
                  <a:pt x="646535" y="20164"/>
                </a:lnTo>
                <a:lnTo>
                  <a:pt x="690596" y="35283"/>
                </a:lnTo>
                <a:lnTo>
                  <a:pt x="732715" y="54248"/>
                </a:lnTo>
                <a:lnTo>
                  <a:pt x="772680" y="76848"/>
                </a:lnTo>
                <a:lnTo>
                  <a:pt x="810279" y="102871"/>
                </a:lnTo>
                <a:lnTo>
                  <a:pt x="845302" y="132105"/>
                </a:lnTo>
                <a:lnTo>
                  <a:pt x="877535" y="164340"/>
                </a:lnTo>
                <a:lnTo>
                  <a:pt x="906769" y="199363"/>
                </a:lnTo>
                <a:lnTo>
                  <a:pt x="932791" y="236962"/>
                </a:lnTo>
                <a:lnTo>
                  <a:pt x="955391" y="276927"/>
                </a:lnTo>
                <a:lnTo>
                  <a:pt x="974355" y="319045"/>
                </a:lnTo>
                <a:lnTo>
                  <a:pt x="989474" y="363106"/>
                </a:lnTo>
                <a:lnTo>
                  <a:pt x="1000534" y="408897"/>
                </a:lnTo>
                <a:lnTo>
                  <a:pt x="1007326" y="456207"/>
                </a:lnTo>
                <a:lnTo>
                  <a:pt x="1009637" y="504825"/>
                </a:lnTo>
                <a:close/>
              </a:path>
            </a:pathLst>
          </a:custGeom>
          <a:solidFill>
            <a:schemeClr val="bg1"/>
          </a:solidFill>
          <a:ln w="12700">
            <a:solidFill>
              <a:srgbClr val="0046BA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3B3B3A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7" name="bg object 16">
            <a:extLst>
              <a:ext uri="{FF2B5EF4-FFF2-40B4-BE49-F238E27FC236}">
                <a16:creationId xmlns:a16="http://schemas.microsoft.com/office/drawing/2014/main" id="{BCFAEBF8-790C-A54A-9E47-3E3639BCC461}"/>
              </a:ext>
            </a:extLst>
          </p:cNvPr>
          <p:cNvSpPr/>
          <p:nvPr/>
        </p:nvSpPr>
        <p:spPr>
          <a:xfrm>
            <a:off x="11330381" y="6448615"/>
            <a:ext cx="311785" cy="410845"/>
          </a:xfrm>
          <a:custGeom>
            <a:avLst/>
            <a:gdLst/>
            <a:ahLst/>
            <a:cxnLst/>
            <a:rect l="l" t="t" r="r" b="b"/>
            <a:pathLst>
              <a:path w="311784" h="410845">
                <a:moveTo>
                  <a:pt x="311645" y="0"/>
                </a:moveTo>
                <a:lnTo>
                  <a:pt x="0" y="0"/>
                </a:lnTo>
                <a:lnTo>
                  <a:pt x="0" y="410438"/>
                </a:lnTo>
                <a:lnTo>
                  <a:pt x="311645" y="410438"/>
                </a:lnTo>
                <a:lnTo>
                  <a:pt x="311645" y="0"/>
                </a:lnTo>
                <a:close/>
              </a:path>
            </a:pathLst>
          </a:custGeom>
          <a:solidFill>
            <a:srgbClr val="0047B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" name="Holder 7">
            <a:extLst>
              <a:ext uri="{FF2B5EF4-FFF2-40B4-BE49-F238E27FC236}">
                <a16:creationId xmlns:a16="http://schemas.microsoft.com/office/drawing/2014/main" id="{EADEFA5D-780C-4841-8968-F8DA8FB77458}"/>
              </a:ext>
            </a:extLst>
          </p:cNvPr>
          <p:cNvSpPr txBox="1">
            <a:spLocks/>
          </p:cNvSpPr>
          <p:nvPr/>
        </p:nvSpPr>
        <p:spPr>
          <a:xfrm>
            <a:off x="11342726" y="6520516"/>
            <a:ext cx="256044" cy="16158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it-IT"/>
            </a:defPPr>
            <a:lvl1pPr marL="0" algn="l" defTabSz="914400" rtl="0" eaLnBrk="1" latinLnBrk="0" hangingPunct="1">
              <a:defRPr sz="850" b="1" i="0" kern="1200">
                <a:solidFill>
                  <a:schemeClr val="bg1"/>
                </a:solidFill>
                <a:latin typeface="Verdana"/>
                <a:ea typeface="+mn-ea"/>
                <a:cs typeface="Verdana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8100" algn="ctr">
              <a:spcBef>
                <a:spcPts val="105"/>
              </a:spcBef>
            </a:pPr>
            <a:fld id="{81D60167-4931-47E6-BA6A-407CBD079E47}" type="slidenum">
              <a:rPr lang="it-IT" sz="1050" b="0" i="0" spc="5" smtClean="0">
                <a:latin typeface="Avenir Next LT Pro" pitchFamily="2" charset="0"/>
              </a:rPr>
              <a:pPr marL="38100" algn="ctr">
                <a:spcBef>
                  <a:spcPts val="105"/>
                </a:spcBef>
              </a:pPr>
              <a:t>‹N›</a:t>
            </a:fld>
            <a:endParaRPr lang="it-IT" sz="1050" b="0" i="0" spc="5" dirty="0">
              <a:latin typeface="Avenir Next LT Pro" pitchFamily="2" charset="0"/>
            </a:endParaRPr>
          </a:p>
        </p:txBody>
      </p:sp>
      <p:sp>
        <p:nvSpPr>
          <p:cNvPr id="6" name="Triangolo isoscele 16">
            <a:extLst>
              <a:ext uri="{FF2B5EF4-FFF2-40B4-BE49-F238E27FC236}">
                <a16:creationId xmlns:a16="http://schemas.microsoft.com/office/drawing/2014/main" id="{8A368720-335F-0F45-860A-0606EE42684C}"/>
              </a:ext>
            </a:extLst>
          </p:cNvPr>
          <p:cNvSpPr/>
          <p:nvPr/>
        </p:nvSpPr>
        <p:spPr>
          <a:xfrm rot="10800000">
            <a:off x="303127" y="-324737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7" name="Triangolo isoscele 17">
            <a:extLst>
              <a:ext uri="{FF2B5EF4-FFF2-40B4-BE49-F238E27FC236}">
                <a16:creationId xmlns:a16="http://schemas.microsoft.com/office/drawing/2014/main" id="{E2772AA6-60C9-0B42-835F-13797EE9ED3C}"/>
              </a:ext>
            </a:extLst>
          </p:cNvPr>
          <p:cNvSpPr/>
          <p:nvPr/>
        </p:nvSpPr>
        <p:spPr>
          <a:xfrm rot="10800000">
            <a:off x="11756536" y="-324737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8" name="Triangolo isoscele 18">
            <a:extLst>
              <a:ext uri="{FF2B5EF4-FFF2-40B4-BE49-F238E27FC236}">
                <a16:creationId xmlns:a16="http://schemas.microsoft.com/office/drawing/2014/main" id="{C7BF371F-A6F2-FD41-82B8-D9B554CACAF1}"/>
              </a:ext>
            </a:extLst>
          </p:cNvPr>
          <p:cNvSpPr/>
          <p:nvPr/>
        </p:nvSpPr>
        <p:spPr>
          <a:xfrm>
            <a:off x="303127" y="6950754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9" name="Triangolo isoscele 19">
            <a:extLst>
              <a:ext uri="{FF2B5EF4-FFF2-40B4-BE49-F238E27FC236}">
                <a16:creationId xmlns:a16="http://schemas.microsoft.com/office/drawing/2014/main" id="{FCEF8EFB-88B6-D747-9382-15136CFCC56E}"/>
              </a:ext>
            </a:extLst>
          </p:cNvPr>
          <p:cNvSpPr/>
          <p:nvPr/>
        </p:nvSpPr>
        <p:spPr>
          <a:xfrm>
            <a:off x="11756536" y="6950754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10" name="Triangolo isoscele 20">
            <a:extLst>
              <a:ext uri="{FF2B5EF4-FFF2-40B4-BE49-F238E27FC236}">
                <a16:creationId xmlns:a16="http://schemas.microsoft.com/office/drawing/2014/main" id="{47007676-0BFD-5F42-846B-AA823A1BFA60}"/>
              </a:ext>
            </a:extLst>
          </p:cNvPr>
          <p:cNvSpPr/>
          <p:nvPr/>
        </p:nvSpPr>
        <p:spPr>
          <a:xfrm rot="5400000">
            <a:off x="-276040" y="885372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11" name="Triangolo isoscele 21">
            <a:extLst>
              <a:ext uri="{FF2B5EF4-FFF2-40B4-BE49-F238E27FC236}">
                <a16:creationId xmlns:a16="http://schemas.microsoft.com/office/drawing/2014/main" id="{9F8B8967-D8B7-EF40-A160-9FD75894783B}"/>
              </a:ext>
            </a:extLst>
          </p:cNvPr>
          <p:cNvSpPr/>
          <p:nvPr/>
        </p:nvSpPr>
        <p:spPr>
          <a:xfrm rot="5400000">
            <a:off x="-276039" y="5982836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12" name="Triangolo isoscele 22">
            <a:extLst>
              <a:ext uri="{FF2B5EF4-FFF2-40B4-BE49-F238E27FC236}">
                <a16:creationId xmlns:a16="http://schemas.microsoft.com/office/drawing/2014/main" id="{58B46DE6-6338-7140-8CA8-25EC1DE4AEB7}"/>
              </a:ext>
            </a:extLst>
          </p:cNvPr>
          <p:cNvSpPr/>
          <p:nvPr/>
        </p:nvSpPr>
        <p:spPr>
          <a:xfrm rot="16200000">
            <a:off x="12331119" y="885372"/>
            <a:ext cx="132336" cy="261257"/>
          </a:xfrm>
          <a:prstGeom prst="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13" name="Triangolo isoscele 23">
            <a:extLst>
              <a:ext uri="{FF2B5EF4-FFF2-40B4-BE49-F238E27FC236}">
                <a16:creationId xmlns:a16="http://schemas.microsoft.com/office/drawing/2014/main" id="{BA951F18-3E6B-F245-B833-D4E6A22CAE34}"/>
              </a:ext>
            </a:extLst>
          </p:cNvPr>
          <p:cNvSpPr/>
          <p:nvPr/>
        </p:nvSpPr>
        <p:spPr>
          <a:xfrm rot="16200000">
            <a:off x="12331120" y="5982836"/>
            <a:ext cx="132336" cy="261257"/>
          </a:xfrm>
          <a:prstGeom prst="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14" name="Triangolo isoscele 31">
            <a:extLst>
              <a:ext uri="{FF2B5EF4-FFF2-40B4-BE49-F238E27FC236}">
                <a16:creationId xmlns:a16="http://schemas.microsoft.com/office/drawing/2014/main" id="{07246241-C678-DB48-84D0-2C7143C6A157}"/>
              </a:ext>
            </a:extLst>
          </p:cNvPr>
          <p:cNvSpPr/>
          <p:nvPr/>
        </p:nvSpPr>
        <p:spPr>
          <a:xfrm rot="10800000">
            <a:off x="303127" y="-324737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15" name="Triangolo isoscele 32">
            <a:extLst>
              <a:ext uri="{FF2B5EF4-FFF2-40B4-BE49-F238E27FC236}">
                <a16:creationId xmlns:a16="http://schemas.microsoft.com/office/drawing/2014/main" id="{A3BC8E3A-7E5D-BE49-8DBD-35856251134F}"/>
              </a:ext>
            </a:extLst>
          </p:cNvPr>
          <p:cNvSpPr/>
          <p:nvPr/>
        </p:nvSpPr>
        <p:spPr>
          <a:xfrm rot="10800000">
            <a:off x="11756536" y="-324737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16" name="Triangolo isoscele 33">
            <a:extLst>
              <a:ext uri="{FF2B5EF4-FFF2-40B4-BE49-F238E27FC236}">
                <a16:creationId xmlns:a16="http://schemas.microsoft.com/office/drawing/2014/main" id="{E9B5EA53-1DC4-1940-8594-3256ADD5AE0C}"/>
              </a:ext>
            </a:extLst>
          </p:cNvPr>
          <p:cNvSpPr/>
          <p:nvPr/>
        </p:nvSpPr>
        <p:spPr>
          <a:xfrm>
            <a:off x="303127" y="6950754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21" name="Triangolo isoscele 34">
            <a:extLst>
              <a:ext uri="{FF2B5EF4-FFF2-40B4-BE49-F238E27FC236}">
                <a16:creationId xmlns:a16="http://schemas.microsoft.com/office/drawing/2014/main" id="{749E0E17-FFD8-164C-B560-1DFF3FBB41DF}"/>
              </a:ext>
            </a:extLst>
          </p:cNvPr>
          <p:cNvSpPr/>
          <p:nvPr/>
        </p:nvSpPr>
        <p:spPr>
          <a:xfrm>
            <a:off x="11756536" y="6950754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22" name="Triangolo isoscele 35">
            <a:extLst>
              <a:ext uri="{FF2B5EF4-FFF2-40B4-BE49-F238E27FC236}">
                <a16:creationId xmlns:a16="http://schemas.microsoft.com/office/drawing/2014/main" id="{2449D32D-31E9-1E41-8135-CF757AF1ADCB}"/>
              </a:ext>
            </a:extLst>
          </p:cNvPr>
          <p:cNvSpPr/>
          <p:nvPr/>
        </p:nvSpPr>
        <p:spPr>
          <a:xfrm rot="5400000">
            <a:off x="-276040" y="885372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23" name="Triangolo isoscele 36">
            <a:extLst>
              <a:ext uri="{FF2B5EF4-FFF2-40B4-BE49-F238E27FC236}">
                <a16:creationId xmlns:a16="http://schemas.microsoft.com/office/drawing/2014/main" id="{92505FB0-1068-1143-AB9B-F5A849D826DE}"/>
              </a:ext>
            </a:extLst>
          </p:cNvPr>
          <p:cNvSpPr/>
          <p:nvPr/>
        </p:nvSpPr>
        <p:spPr>
          <a:xfrm rot="5400000">
            <a:off x="-276039" y="5982836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24" name="Triangolo isoscele 37">
            <a:extLst>
              <a:ext uri="{FF2B5EF4-FFF2-40B4-BE49-F238E27FC236}">
                <a16:creationId xmlns:a16="http://schemas.microsoft.com/office/drawing/2014/main" id="{D60FCBF0-3D48-CF40-ABA6-F53B703D88CA}"/>
              </a:ext>
            </a:extLst>
          </p:cNvPr>
          <p:cNvSpPr/>
          <p:nvPr/>
        </p:nvSpPr>
        <p:spPr>
          <a:xfrm rot="16200000">
            <a:off x="12331119" y="885372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25" name="Triangolo isoscele 38">
            <a:extLst>
              <a:ext uri="{FF2B5EF4-FFF2-40B4-BE49-F238E27FC236}">
                <a16:creationId xmlns:a16="http://schemas.microsoft.com/office/drawing/2014/main" id="{95E14022-E59F-9F4C-998B-8575096AA6A0}"/>
              </a:ext>
            </a:extLst>
          </p:cNvPr>
          <p:cNvSpPr/>
          <p:nvPr/>
        </p:nvSpPr>
        <p:spPr>
          <a:xfrm rot="16200000">
            <a:off x="12331120" y="5982836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pic>
        <p:nvPicPr>
          <p:cNvPr id="36" name="Elemento grafico 35">
            <a:extLst>
              <a:ext uri="{FF2B5EF4-FFF2-40B4-BE49-F238E27FC236}">
                <a16:creationId xmlns:a16="http://schemas.microsoft.com/office/drawing/2014/main" id="{9531B5A1-7BA2-E141-B54D-FEC62D4B762E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081892" y="-5080"/>
            <a:ext cx="1560273" cy="309880"/>
          </a:xfrm>
          <a:prstGeom prst="rect">
            <a:avLst/>
          </a:prstGeom>
        </p:spPr>
      </p:pic>
      <p:sp>
        <p:nvSpPr>
          <p:cNvPr id="37" name="object 267">
            <a:extLst>
              <a:ext uri="{FF2B5EF4-FFF2-40B4-BE49-F238E27FC236}">
                <a16:creationId xmlns:a16="http://schemas.microsoft.com/office/drawing/2014/main" id="{1A701277-6B82-924C-9434-545B7977906E}"/>
              </a:ext>
            </a:extLst>
          </p:cNvPr>
          <p:cNvSpPr/>
          <p:nvPr/>
        </p:nvSpPr>
        <p:spPr>
          <a:xfrm>
            <a:off x="0" y="1251482"/>
            <a:ext cx="675518" cy="45719"/>
          </a:xfrm>
          <a:custGeom>
            <a:avLst/>
            <a:gdLst/>
            <a:ahLst/>
            <a:cxnLst/>
            <a:rect l="l" t="t" r="r" b="b"/>
            <a:pathLst>
              <a:path w="657225">
                <a:moveTo>
                  <a:pt x="0" y="0"/>
                </a:moveTo>
                <a:lnTo>
                  <a:pt x="656678" y="0"/>
                </a:lnTo>
              </a:path>
            </a:pathLst>
          </a:custGeom>
          <a:ln w="76200">
            <a:solidFill>
              <a:srgbClr val="EEDC00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JhengHei UI Light" panose="020B0304030504040204" pitchFamily="34" charset="-120"/>
              <a:ea typeface="Microsoft JhengHei UI Light" panose="020B0304030504040204" pitchFamily="34" charset="-120"/>
              <a:cs typeface="+mn-cs"/>
            </a:endParaRPr>
          </a:p>
        </p:txBody>
      </p:sp>
      <p:sp>
        <p:nvSpPr>
          <p:cNvPr id="40" name="Segnaposto testo 4">
            <a:extLst>
              <a:ext uri="{FF2B5EF4-FFF2-40B4-BE49-F238E27FC236}">
                <a16:creationId xmlns:a16="http://schemas.microsoft.com/office/drawing/2014/main" id="{597E06C8-CAFB-E24B-A154-8EA093E0C54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49834" y="5917932"/>
            <a:ext cx="9402763" cy="573088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900" b="0" i="0">
                <a:latin typeface="Avenir Next LT Pro" panose="020B0504020202020204" pitchFamily="34" charset="77"/>
              </a:defRPr>
            </a:lvl1pPr>
            <a:lvl2pPr marL="457200" indent="0">
              <a:buNone/>
              <a:defRPr sz="900" b="0" i="0">
                <a:latin typeface="Avenir Next LT Pro" panose="020B0504020202020204" pitchFamily="34" charset="77"/>
              </a:defRPr>
            </a:lvl2pPr>
            <a:lvl3pPr marL="914400" indent="0">
              <a:buNone/>
              <a:defRPr sz="900" b="0" i="0">
                <a:latin typeface="Avenir Next LT Pro" panose="020B0504020202020204" pitchFamily="34" charset="77"/>
              </a:defRPr>
            </a:lvl3pPr>
            <a:lvl4pPr marL="1371600" indent="0">
              <a:buNone/>
              <a:defRPr sz="900" b="0" i="0">
                <a:latin typeface="Avenir Next LT Pro" panose="020B0504020202020204" pitchFamily="34" charset="77"/>
              </a:defRPr>
            </a:lvl4pPr>
            <a:lvl5pPr marL="1828800" indent="0">
              <a:buNone/>
              <a:defRPr sz="900" b="0" i="0">
                <a:latin typeface="Avenir Next LT Pro" panose="020B0504020202020204" pitchFamily="34" charset="77"/>
              </a:defRPr>
            </a:lvl5pPr>
          </a:lstStyle>
          <a:p>
            <a:pPr lvl="0"/>
            <a:r>
              <a:rPr lang="it-IT" dirty="0"/>
              <a:t>1. Fare clic per modificare le note 2. Fare clic per modificare le note 3. Fare clic per modificare le note </a:t>
            </a:r>
          </a:p>
        </p:txBody>
      </p:sp>
      <p:sp>
        <p:nvSpPr>
          <p:cNvPr id="46" name="object 47">
            <a:extLst>
              <a:ext uri="{FF2B5EF4-FFF2-40B4-BE49-F238E27FC236}">
                <a16:creationId xmlns:a16="http://schemas.microsoft.com/office/drawing/2014/main" id="{C3CCE1DA-2BD5-CD45-8599-38CE991939DC}"/>
              </a:ext>
            </a:extLst>
          </p:cNvPr>
          <p:cNvSpPr/>
          <p:nvPr/>
        </p:nvSpPr>
        <p:spPr>
          <a:xfrm>
            <a:off x="687940" y="1563967"/>
            <a:ext cx="648000" cy="648000"/>
          </a:xfrm>
          <a:custGeom>
            <a:avLst/>
            <a:gdLst/>
            <a:ahLst/>
            <a:cxnLst/>
            <a:rect l="l" t="t" r="r" b="b"/>
            <a:pathLst>
              <a:path w="836294" h="836294">
                <a:moveTo>
                  <a:pt x="417944" y="0"/>
                </a:moveTo>
                <a:lnTo>
                  <a:pt x="369203" y="2811"/>
                </a:lnTo>
                <a:lnTo>
                  <a:pt x="322114" y="11038"/>
                </a:lnTo>
                <a:lnTo>
                  <a:pt x="276989" y="24365"/>
                </a:lnTo>
                <a:lnTo>
                  <a:pt x="234143" y="42480"/>
                </a:lnTo>
                <a:lnTo>
                  <a:pt x="193890" y="65069"/>
                </a:lnTo>
                <a:lnTo>
                  <a:pt x="156542" y="91818"/>
                </a:lnTo>
                <a:lnTo>
                  <a:pt x="122413" y="122413"/>
                </a:lnTo>
                <a:lnTo>
                  <a:pt x="91818" y="156542"/>
                </a:lnTo>
                <a:lnTo>
                  <a:pt x="65069" y="193890"/>
                </a:lnTo>
                <a:lnTo>
                  <a:pt x="42480" y="234143"/>
                </a:lnTo>
                <a:lnTo>
                  <a:pt x="24365" y="276989"/>
                </a:lnTo>
                <a:lnTo>
                  <a:pt x="11038" y="322114"/>
                </a:lnTo>
                <a:lnTo>
                  <a:pt x="2811" y="369203"/>
                </a:lnTo>
                <a:lnTo>
                  <a:pt x="0" y="417944"/>
                </a:lnTo>
                <a:lnTo>
                  <a:pt x="2811" y="466685"/>
                </a:lnTo>
                <a:lnTo>
                  <a:pt x="11038" y="513774"/>
                </a:lnTo>
                <a:lnTo>
                  <a:pt x="24365" y="558898"/>
                </a:lnTo>
                <a:lnTo>
                  <a:pt x="42480" y="601744"/>
                </a:lnTo>
                <a:lnTo>
                  <a:pt x="65069" y="641998"/>
                </a:lnTo>
                <a:lnTo>
                  <a:pt x="91818" y="679346"/>
                </a:lnTo>
                <a:lnTo>
                  <a:pt x="122413" y="713474"/>
                </a:lnTo>
                <a:lnTo>
                  <a:pt x="156542" y="744070"/>
                </a:lnTo>
                <a:lnTo>
                  <a:pt x="193890" y="770819"/>
                </a:lnTo>
                <a:lnTo>
                  <a:pt x="234143" y="793407"/>
                </a:lnTo>
                <a:lnTo>
                  <a:pt x="276989" y="811522"/>
                </a:lnTo>
                <a:lnTo>
                  <a:pt x="322114" y="824850"/>
                </a:lnTo>
                <a:lnTo>
                  <a:pt x="369203" y="833076"/>
                </a:lnTo>
                <a:lnTo>
                  <a:pt x="417944" y="835888"/>
                </a:lnTo>
                <a:lnTo>
                  <a:pt x="466685" y="833076"/>
                </a:lnTo>
                <a:lnTo>
                  <a:pt x="513774" y="824850"/>
                </a:lnTo>
                <a:lnTo>
                  <a:pt x="558898" y="811522"/>
                </a:lnTo>
                <a:lnTo>
                  <a:pt x="601744" y="793407"/>
                </a:lnTo>
                <a:lnTo>
                  <a:pt x="641998" y="770819"/>
                </a:lnTo>
                <a:lnTo>
                  <a:pt x="679346" y="744070"/>
                </a:lnTo>
                <a:lnTo>
                  <a:pt x="713474" y="713474"/>
                </a:lnTo>
                <a:lnTo>
                  <a:pt x="744070" y="679346"/>
                </a:lnTo>
                <a:lnTo>
                  <a:pt x="770819" y="641998"/>
                </a:lnTo>
                <a:lnTo>
                  <a:pt x="793407" y="601744"/>
                </a:lnTo>
                <a:lnTo>
                  <a:pt x="811522" y="558898"/>
                </a:lnTo>
                <a:lnTo>
                  <a:pt x="824850" y="513774"/>
                </a:lnTo>
                <a:lnTo>
                  <a:pt x="833076" y="466685"/>
                </a:lnTo>
                <a:lnTo>
                  <a:pt x="835888" y="417944"/>
                </a:lnTo>
                <a:lnTo>
                  <a:pt x="833076" y="369203"/>
                </a:lnTo>
                <a:lnTo>
                  <a:pt x="824850" y="322114"/>
                </a:lnTo>
                <a:lnTo>
                  <a:pt x="811522" y="276989"/>
                </a:lnTo>
                <a:lnTo>
                  <a:pt x="793407" y="234143"/>
                </a:lnTo>
                <a:lnTo>
                  <a:pt x="770819" y="193890"/>
                </a:lnTo>
                <a:lnTo>
                  <a:pt x="744070" y="156542"/>
                </a:lnTo>
                <a:lnTo>
                  <a:pt x="713474" y="122413"/>
                </a:lnTo>
                <a:lnTo>
                  <a:pt x="679346" y="91818"/>
                </a:lnTo>
                <a:lnTo>
                  <a:pt x="641998" y="65069"/>
                </a:lnTo>
                <a:lnTo>
                  <a:pt x="601744" y="42480"/>
                </a:lnTo>
                <a:lnTo>
                  <a:pt x="558898" y="24365"/>
                </a:lnTo>
                <a:lnTo>
                  <a:pt x="513774" y="11038"/>
                </a:lnTo>
                <a:lnTo>
                  <a:pt x="466685" y="2811"/>
                </a:lnTo>
                <a:lnTo>
                  <a:pt x="417944" y="0"/>
                </a:lnTo>
                <a:close/>
              </a:path>
            </a:pathLst>
          </a:custGeom>
          <a:solidFill>
            <a:srgbClr val="EEDC00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 dirty="0">
              <a:ln>
                <a:noFill/>
              </a:ln>
              <a:solidFill>
                <a:srgbClr val="3B3B3A"/>
              </a:solidFill>
              <a:effectLst/>
              <a:uLnTx/>
              <a:uFillTx/>
              <a:latin typeface="Avenir Next LT Pro" panose="020B0504020202020204" pitchFamily="34" charset="77"/>
              <a:ea typeface="+mn-ea"/>
              <a:cs typeface="+mn-cs"/>
            </a:endParaRPr>
          </a:p>
        </p:txBody>
      </p:sp>
      <p:sp>
        <p:nvSpPr>
          <p:cNvPr id="31" name="object 46">
            <a:extLst>
              <a:ext uri="{FF2B5EF4-FFF2-40B4-BE49-F238E27FC236}">
                <a16:creationId xmlns:a16="http://schemas.microsoft.com/office/drawing/2014/main" id="{5D13B668-912F-4A46-A031-65A671E9D20C}"/>
              </a:ext>
            </a:extLst>
          </p:cNvPr>
          <p:cNvSpPr>
            <a:spLocks noChangeAspect="1"/>
          </p:cNvSpPr>
          <p:nvPr/>
        </p:nvSpPr>
        <p:spPr>
          <a:xfrm>
            <a:off x="633940" y="1509967"/>
            <a:ext cx="756000" cy="756000"/>
          </a:xfrm>
          <a:custGeom>
            <a:avLst/>
            <a:gdLst/>
            <a:ahLst/>
            <a:cxnLst/>
            <a:rect l="l" t="t" r="r" b="b"/>
            <a:pathLst>
              <a:path w="1009650" h="1009650">
                <a:moveTo>
                  <a:pt x="1009637" y="504825"/>
                </a:moveTo>
                <a:lnTo>
                  <a:pt x="1007326" y="553440"/>
                </a:lnTo>
                <a:lnTo>
                  <a:pt x="1000534" y="600748"/>
                </a:lnTo>
                <a:lnTo>
                  <a:pt x="989474" y="646537"/>
                </a:lnTo>
                <a:lnTo>
                  <a:pt x="974355" y="690596"/>
                </a:lnTo>
                <a:lnTo>
                  <a:pt x="955391" y="732714"/>
                </a:lnTo>
                <a:lnTo>
                  <a:pt x="932791" y="772678"/>
                </a:lnTo>
                <a:lnTo>
                  <a:pt x="906769" y="810276"/>
                </a:lnTo>
                <a:lnTo>
                  <a:pt x="877535" y="845298"/>
                </a:lnTo>
                <a:lnTo>
                  <a:pt x="845302" y="877532"/>
                </a:lnTo>
                <a:lnTo>
                  <a:pt x="810279" y="906766"/>
                </a:lnTo>
                <a:lnTo>
                  <a:pt x="772680" y="932789"/>
                </a:lnTo>
                <a:lnTo>
                  <a:pt x="732715" y="955389"/>
                </a:lnTo>
                <a:lnTo>
                  <a:pt x="690596" y="974354"/>
                </a:lnTo>
                <a:lnTo>
                  <a:pt x="646535" y="989473"/>
                </a:lnTo>
                <a:lnTo>
                  <a:pt x="600743" y="1000534"/>
                </a:lnTo>
                <a:lnTo>
                  <a:pt x="553431" y="1007326"/>
                </a:lnTo>
                <a:lnTo>
                  <a:pt x="504812" y="1009637"/>
                </a:lnTo>
                <a:lnTo>
                  <a:pt x="456197" y="1007326"/>
                </a:lnTo>
                <a:lnTo>
                  <a:pt x="408888" y="1000534"/>
                </a:lnTo>
                <a:lnTo>
                  <a:pt x="363099" y="989473"/>
                </a:lnTo>
                <a:lnTo>
                  <a:pt x="319040" y="974354"/>
                </a:lnTo>
                <a:lnTo>
                  <a:pt x="276923" y="955389"/>
                </a:lnTo>
                <a:lnTo>
                  <a:pt x="236959" y="932789"/>
                </a:lnTo>
                <a:lnTo>
                  <a:pt x="199360" y="906766"/>
                </a:lnTo>
                <a:lnTo>
                  <a:pt x="164338" y="877532"/>
                </a:lnTo>
                <a:lnTo>
                  <a:pt x="132104" y="845298"/>
                </a:lnTo>
                <a:lnTo>
                  <a:pt x="102870" y="810276"/>
                </a:lnTo>
                <a:lnTo>
                  <a:pt x="76847" y="772678"/>
                </a:lnTo>
                <a:lnTo>
                  <a:pt x="54248" y="732714"/>
                </a:lnTo>
                <a:lnTo>
                  <a:pt x="35283" y="690596"/>
                </a:lnTo>
                <a:lnTo>
                  <a:pt x="20164" y="646537"/>
                </a:lnTo>
                <a:lnTo>
                  <a:pt x="9102" y="600748"/>
                </a:lnTo>
                <a:lnTo>
                  <a:pt x="2310" y="553440"/>
                </a:lnTo>
                <a:lnTo>
                  <a:pt x="0" y="504825"/>
                </a:lnTo>
                <a:lnTo>
                  <a:pt x="2310" y="456207"/>
                </a:lnTo>
                <a:lnTo>
                  <a:pt x="9102" y="408897"/>
                </a:lnTo>
                <a:lnTo>
                  <a:pt x="20164" y="363106"/>
                </a:lnTo>
                <a:lnTo>
                  <a:pt x="35283" y="319045"/>
                </a:lnTo>
                <a:lnTo>
                  <a:pt x="54248" y="276927"/>
                </a:lnTo>
                <a:lnTo>
                  <a:pt x="76847" y="236962"/>
                </a:lnTo>
                <a:lnTo>
                  <a:pt x="102870" y="199363"/>
                </a:lnTo>
                <a:lnTo>
                  <a:pt x="132104" y="164340"/>
                </a:lnTo>
                <a:lnTo>
                  <a:pt x="164338" y="132105"/>
                </a:lnTo>
                <a:lnTo>
                  <a:pt x="199360" y="102871"/>
                </a:lnTo>
                <a:lnTo>
                  <a:pt x="236959" y="76848"/>
                </a:lnTo>
                <a:lnTo>
                  <a:pt x="276923" y="54248"/>
                </a:lnTo>
                <a:lnTo>
                  <a:pt x="319040" y="35283"/>
                </a:lnTo>
                <a:lnTo>
                  <a:pt x="363099" y="20164"/>
                </a:lnTo>
                <a:lnTo>
                  <a:pt x="408888" y="9102"/>
                </a:lnTo>
                <a:lnTo>
                  <a:pt x="456197" y="2310"/>
                </a:lnTo>
                <a:lnTo>
                  <a:pt x="504812" y="0"/>
                </a:lnTo>
                <a:lnTo>
                  <a:pt x="553431" y="2310"/>
                </a:lnTo>
                <a:lnTo>
                  <a:pt x="600743" y="9102"/>
                </a:lnTo>
                <a:lnTo>
                  <a:pt x="646535" y="20164"/>
                </a:lnTo>
                <a:lnTo>
                  <a:pt x="690596" y="35283"/>
                </a:lnTo>
                <a:lnTo>
                  <a:pt x="732715" y="54248"/>
                </a:lnTo>
                <a:lnTo>
                  <a:pt x="772680" y="76848"/>
                </a:lnTo>
                <a:lnTo>
                  <a:pt x="810279" y="102871"/>
                </a:lnTo>
                <a:lnTo>
                  <a:pt x="845302" y="132105"/>
                </a:lnTo>
                <a:lnTo>
                  <a:pt x="877535" y="164340"/>
                </a:lnTo>
                <a:lnTo>
                  <a:pt x="906769" y="199363"/>
                </a:lnTo>
                <a:lnTo>
                  <a:pt x="932791" y="236962"/>
                </a:lnTo>
                <a:lnTo>
                  <a:pt x="955391" y="276927"/>
                </a:lnTo>
                <a:lnTo>
                  <a:pt x="974355" y="319045"/>
                </a:lnTo>
                <a:lnTo>
                  <a:pt x="989474" y="363106"/>
                </a:lnTo>
                <a:lnTo>
                  <a:pt x="1000534" y="408897"/>
                </a:lnTo>
                <a:lnTo>
                  <a:pt x="1007326" y="456207"/>
                </a:lnTo>
                <a:lnTo>
                  <a:pt x="1009637" y="504825"/>
                </a:lnTo>
                <a:close/>
              </a:path>
            </a:pathLst>
          </a:custGeom>
          <a:solidFill>
            <a:schemeClr val="bg1"/>
          </a:solidFill>
          <a:ln w="12700">
            <a:solidFill>
              <a:srgbClr val="0046BA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3B3B3A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2" name="bg object 16">
            <a:extLst>
              <a:ext uri="{FF2B5EF4-FFF2-40B4-BE49-F238E27FC236}">
                <a16:creationId xmlns:a16="http://schemas.microsoft.com/office/drawing/2014/main" id="{7B75A25D-A157-804F-9EB1-E5B1BA717368}"/>
              </a:ext>
            </a:extLst>
          </p:cNvPr>
          <p:cNvSpPr/>
          <p:nvPr/>
        </p:nvSpPr>
        <p:spPr>
          <a:xfrm>
            <a:off x="11330381" y="6448615"/>
            <a:ext cx="311785" cy="410845"/>
          </a:xfrm>
          <a:custGeom>
            <a:avLst/>
            <a:gdLst/>
            <a:ahLst/>
            <a:cxnLst/>
            <a:rect l="l" t="t" r="r" b="b"/>
            <a:pathLst>
              <a:path w="311784" h="410845">
                <a:moveTo>
                  <a:pt x="311645" y="0"/>
                </a:moveTo>
                <a:lnTo>
                  <a:pt x="0" y="0"/>
                </a:lnTo>
                <a:lnTo>
                  <a:pt x="0" y="410438"/>
                </a:lnTo>
                <a:lnTo>
                  <a:pt x="311645" y="410438"/>
                </a:lnTo>
                <a:lnTo>
                  <a:pt x="311645" y="0"/>
                </a:lnTo>
                <a:close/>
              </a:path>
            </a:pathLst>
          </a:custGeom>
          <a:solidFill>
            <a:srgbClr val="0047B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3" name="Holder 7">
            <a:extLst>
              <a:ext uri="{FF2B5EF4-FFF2-40B4-BE49-F238E27FC236}">
                <a16:creationId xmlns:a16="http://schemas.microsoft.com/office/drawing/2014/main" id="{65CDA657-C303-3146-B143-EAAA8DFF416C}"/>
              </a:ext>
            </a:extLst>
          </p:cNvPr>
          <p:cNvSpPr txBox="1">
            <a:spLocks/>
          </p:cNvSpPr>
          <p:nvPr/>
        </p:nvSpPr>
        <p:spPr>
          <a:xfrm>
            <a:off x="11342726" y="6520516"/>
            <a:ext cx="256044" cy="16158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it-IT"/>
            </a:defPPr>
            <a:lvl1pPr marL="0" algn="l" defTabSz="914400" rtl="0" eaLnBrk="1" latinLnBrk="0" hangingPunct="1">
              <a:defRPr sz="850" b="1" i="0" kern="1200">
                <a:solidFill>
                  <a:schemeClr val="bg1"/>
                </a:solidFill>
                <a:latin typeface="Verdana"/>
                <a:ea typeface="+mn-ea"/>
                <a:cs typeface="Verdana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8100" algn="ctr">
              <a:spcBef>
                <a:spcPts val="105"/>
              </a:spcBef>
            </a:pPr>
            <a:fld id="{81D60167-4931-47E6-BA6A-407CBD079E47}" type="slidenum">
              <a:rPr lang="it-IT" sz="1050" b="0" i="0" spc="5" smtClean="0">
                <a:latin typeface="Avenir Next LT Pro" pitchFamily="2" charset="0"/>
              </a:rPr>
              <a:pPr marL="38100" algn="ctr">
                <a:spcBef>
                  <a:spcPts val="105"/>
                </a:spcBef>
              </a:pPr>
              <a:t>‹N›</a:t>
            </a:fld>
            <a:endParaRPr lang="it-IT" sz="1050" b="0" i="0" spc="5" dirty="0">
              <a:latin typeface="Avenir Next LT Pro" pitchFamily="2" charset="0"/>
            </a:endParaRPr>
          </a:p>
        </p:txBody>
      </p:sp>
      <p:sp>
        <p:nvSpPr>
          <p:cNvPr id="38" name="Triangolo isoscele 16">
            <a:extLst>
              <a:ext uri="{FF2B5EF4-FFF2-40B4-BE49-F238E27FC236}">
                <a16:creationId xmlns:a16="http://schemas.microsoft.com/office/drawing/2014/main" id="{09E8455E-E08B-C94C-8326-DDAC9A57E74A}"/>
              </a:ext>
            </a:extLst>
          </p:cNvPr>
          <p:cNvSpPr/>
          <p:nvPr/>
        </p:nvSpPr>
        <p:spPr>
          <a:xfrm rot="10800000">
            <a:off x="303127" y="-324737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39" name="Triangolo isoscele 17">
            <a:extLst>
              <a:ext uri="{FF2B5EF4-FFF2-40B4-BE49-F238E27FC236}">
                <a16:creationId xmlns:a16="http://schemas.microsoft.com/office/drawing/2014/main" id="{B708E2E1-1A1A-C24B-9E52-8C0E2CB574BD}"/>
              </a:ext>
            </a:extLst>
          </p:cNvPr>
          <p:cNvSpPr/>
          <p:nvPr/>
        </p:nvSpPr>
        <p:spPr>
          <a:xfrm rot="10800000">
            <a:off x="11756536" y="-324737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41" name="Triangolo isoscele 18">
            <a:extLst>
              <a:ext uri="{FF2B5EF4-FFF2-40B4-BE49-F238E27FC236}">
                <a16:creationId xmlns:a16="http://schemas.microsoft.com/office/drawing/2014/main" id="{47F89D31-8FF0-C545-B8E7-34186263F031}"/>
              </a:ext>
            </a:extLst>
          </p:cNvPr>
          <p:cNvSpPr/>
          <p:nvPr/>
        </p:nvSpPr>
        <p:spPr>
          <a:xfrm>
            <a:off x="303127" y="6950754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42" name="Triangolo isoscele 19">
            <a:extLst>
              <a:ext uri="{FF2B5EF4-FFF2-40B4-BE49-F238E27FC236}">
                <a16:creationId xmlns:a16="http://schemas.microsoft.com/office/drawing/2014/main" id="{01E3FF88-2B5B-E541-832E-60783B3F3049}"/>
              </a:ext>
            </a:extLst>
          </p:cNvPr>
          <p:cNvSpPr/>
          <p:nvPr/>
        </p:nvSpPr>
        <p:spPr>
          <a:xfrm>
            <a:off x="11756536" y="6950754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43" name="Triangolo isoscele 20">
            <a:extLst>
              <a:ext uri="{FF2B5EF4-FFF2-40B4-BE49-F238E27FC236}">
                <a16:creationId xmlns:a16="http://schemas.microsoft.com/office/drawing/2014/main" id="{83819D8D-3F74-2F46-8FEB-69F42E36F1FF}"/>
              </a:ext>
            </a:extLst>
          </p:cNvPr>
          <p:cNvSpPr/>
          <p:nvPr/>
        </p:nvSpPr>
        <p:spPr>
          <a:xfrm rot="5400000">
            <a:off x="-276040" y="885372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44" name="Triangolo isoscele 21">
            <a:extLst>
              <a:ext uri="{FF2B5EF4-FFF2-40B4-BE49-F238E27FC236}">
                <a16:creationId xmlns:a16="http://schemas.microsoft.com/office/drawing/2014/main" id="{D054F160-7F14-A241-9A10-59E376545546}"/>
              </a:ext>
            </a:extLst>
          </p:cNvPr>
          <p:cNvSpPr/>
          <p:nvPr/>
        </p:nvSpPr>
        <p:spPr>
          <a:xfrm rot="5400000">
            <a:off x="-276039" y="5982836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45" name="Triangolo isoscele 22">
            <a:extLst>
              <a:ext uri="{FF2B5EF4-FFF2-40B4-BE49-F238E27FC236}">
                <a16:creationId xmlns:a16="http://schemas.microsoft.com/office/drawing/2014/main" id="{D79E158E-648C-9A4D-B364-F9A803C8FBA1}"/>
              </a:ext>
            </a:extLst>
          </p:cNvPr>
          <p:cNvSpPr/>
          <p:nvPr/>
        </p:nvSpPr>
        <p:spPr>
          <a:xfrm rot="16200000">
            <a:off x="12331119" y="885372"/>
            <a:ext cx="132336" cy="261257"/>
          </a:xfrm>
          <a:prstGeom prst="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49" name="Triangolo isoscele 23">
            <a:extLst>
              <a:ext uri="{FF2B5EF4-FFF2-40B4-BE49-F238E27FC236}">
                <a16:creationId xmlns:a16="http://schemas.microsoft.com/office/drawing/2014/main" id="{5175DAB9-FF7E-E147-90F5-2AA86215EC64}"/>
              </a:ext>
            </a:extLst>
          </p:cNvPr>
          <p:cNvSpPr/>
          <p:nvPr/>
        </p:nvSpPr>
        <p:spPr>
          <a:xfrm rot="16200000">
            <a:off x="12331120" y="5982836"/>
            <a:ext cx="132336" cy="261257"/>
          </a:xfrm>
          <a:prstGeom prst="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50" name="Triangolo isoscele 31">
            <a:extLst>
              <a:ext uri="{FF2B5EF4-FFF2-40B4-BE49-F238E27FC236}">
                <a16:creationId xmlns:a16="http://schemas.microsoft.com/office/drawing/2014/main" id="{23E60D04-3216-EA4F-B2C4-51C5E7B20AEE}"/>
              </a:ext>
            </a:extLst>
          </p:cNvPr>
          <p:cNvSpPr/>
          <p:nvPr/>
        </p:nvSpPr>
        <p:spPr>
          <a:xfrm rot="10800000">
            <a:off x="303127" y="-324737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51" name="Triangolo isoscele 32">
            <a:extLst>
              <a:ext uri="{FF2B5EF4-FFF2-40B4-BE49-F238E27FC236}">
                <a16:creationId xmlns:a16="http://schemas.microsoft.com/office/drawing/2014/main" id="{A3F97FB7-701F-1545-ACC9-C7228CD823EA}"/>
              </a:ext>
            </a:extLst>
          </p:cNvPr>
          <p:cNvSpPr/>
          <p:nvPr/>
        </p:nvSpPr>
        <p:spPr>
          <a:xfrm rot="10800000">
            <a:off x="11756536" y="-324737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52" name="Triangolo isoscele 33">
            <a:extLst>
              <a:ext uri="{FF2B5EF4-FFF2-40B4-BE49-F238E27FC236}">
                <a16:creationId xmlns:a16="http://schemas.microsoft.com/office/drawing/2014/main" id="{DB1FB688-AC42-E24E-8A57-90E7C4C92ADC}"/>
              </a:ext>
            </a:extLst>
          </p:cNvPr>
          <p:cNvSpPr/>
          <p:nvPr/>
        </p:nvSpPr>
        <p:spPr>
          <a:xfrm>
            <a:off x="303127" y="6950754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53" name="Triangolo isoscele 34">
            <a:extLst>
              <a:ext uri="{FF2B5EF4-FFF2-40B4-BE49-F238E27FC236}">
                <a16:creationId xmlns:a16="http://schemas.microsoft.com/office/drawing/2014/main" id="{1F3F50F8-6F2D-6D43-A1B5-B9D3F8006B49}"/>
              </a:ext>
            </a:extLst>
          </p:cNvPr>
          <p:cNvSpPr/>
          <p:nvPr/>
        </p:nvSpPr>
        <p:spPr>
          <a:xfrm>
            <a:off x="11756536" y="6950754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54" name="Triangolo isoscele 35">
            <a:extLst>
              <a:ext uri="{FF2B5EF4-FFF2-40B4-BE49-F238E27FC236}">
                <a16:creationId xmlns:a16="http://schemas.microsoft.com/office/drawing/2014/main" id="{1F5DC3B4-2684-AB47-9A52-20F709B2BEC9}"/>
              </a:ext>
            </a:extLst>
          </p:cNvPr>
          <p:cNvSpPr/>
          <p:nvPr/>
        </p:nvSpPr>
        <p:spPr>
          <a:xfrm rot="5400000">
            <a:off x="-276040" y="885372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55" name="Triangolo isoscele 36">
            <a:extLst>
              <a:ext uri="{FF2B5EF4-FFF2-40B4-BE49-F238E27FC236}">
                <a16:creationId xmlns:a16="http://schemas.microsoft.com/office/drawing/2014/main" id="{9775CC0E-2446-3C4E-88FF-0B1A121FAAE0}"/>
              </a:ext>
            </a:extLst>
          </p:cNvPr>
          <p:cNvSpPr/>
          <p:nvPr/>
        </p:nvSpPr>
        <p:spPr>
          <a:xfrm rot="5400000">
            <a:off x="-276039" y="5982836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56" name="Triangolo isoscele 37">
            <a:extLst>
              <a:ext uri="{FF2B5EF4-FFF2-40B4-BE49-F238E27FC236}">
                <a16:creationId xmlns:a16="http://schemas.microsoft.com/office/drawing/2014/main" id="{78F6ECED-F9B1-884B-A9CF-20F25B619BB9}"/>
              </a:ext>
            </a:extLst>
          </p:cNvPr>
          <p:cNvSpPr/>
          <p:nvPr/>
        </p:nvSpPr>
        <p:spPr>
          <a:xfrm rot="16200000">
            <a:off x="12331119" y="885372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57" name="Triangolo isoscele 38">
            <a:extLst>
              <a:ext uri="{FF2B5EF4-FFF2-40B4-BE49-F238E27FC236}">
                <a16:creationId xmlns:a16="http://schemas.microsoft.com/office/drawing/2014/main" id="{174AE928-C517-5D48-ABCB-7317566988CF}"/>
              </a:ext>
            </a:extLst>
          </p:cNvPr>
          <p:cNvSpPr/>
          <p:nvPr/>
        </p:nvSpPr>
        <p:spPr>
          <a:xfrm rot="16200000">
            <a:off x="12331120" y="5982836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pic>
        <p:nvPicPr>
          <p:cNvPr id="58" name="Elemento grafico 57">
            <a:extLst>
              <a:ext uri="{FF2B5EF4-FFF2-40B4-BE49-F238E27FC236}">
                <a16:creationId xmlns:a16="http://schemas.microsoft.com/office/drawing/2014/main" id="{9CF271F8-58BD-C440-8BC0-6EE0E16487AE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081892" y="-5080"/>
            <a:ext cx="1560273" cy="309880"/>
          </a:xfrm>
          <a:prstGeom prst="rect">
            <a:avLst/>
          </a:prstGeom>
        </p:spPr>
      </p:pic>
      <p:sp>
        <p:nvSpPr>
          <p:cNvPr id="59" name="object 267">
            <a:extLst>
              <a:ext uri="{FF2B5EF4-FFF2-40B4-BE49-F238E27FC236}">
                <a16:creationId xmlns:a16="http://schemas.microsoft.com/office/drawing/2014/main" id="{0663B2D6-616D-474D-95F5-501AEB146A56}"/>
              </a:ext>
            </a:extLst>
          </p:cNvPr>
          <p:cNvSpPr/>
          <p:nvPr/>
        </p:nvSpPr>
        <p:spPr>
          <a:xfrm>
            <a:off x="0" y="1251482"/>
            <a:ext cx="675518" cy="45719"/>
          </a:xfrm>
          <a:custGeom>
            <a:avLst/>
            <a:gdLst/>
            <a:ahLst/>
            <a:cxnLst/>
            <a:rect l="l" t="t" r="r" b="b"/>
            <a:pathLst>
              <a:path w="657225">
                <a:moveTo>
                  <a:pt x="0" y="0"/>
                </a:moveTo>
                <a:lnTo>
                  <a:pt x="656678" y="0"/>
                </a:lnTo>
              </a:path>
            </a:pathLst>
          </a:custGeom>
          <a:ln w="76200">
            <a:solidFill>
              <a:srgbClr val="EEDC00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JhengHei UI Light" panose="020B0304030504040204" pitchFamily="34" charset="-120"/>
              <a:ea typeface="Microsoft JhengHei UI Light" panose="020B0304030504040204" pitchFamily="34" charset="-120"/>
              <a:cs typeface="+mn-cs"/>
            </a:endParaRPr>
          </a:p>
        </p:txBody>
      </p:sp>
      <p:sp>
        <p:nvSpPr>
          <p:cNvPr id="60" name="object 47">
            <a:extLst>
              <a:ext uri="{FF2B5EF4-FFF2-40B4-BE49-F238E27FC236}">
                <a16:creationId xmlns:a16="http://schemas.microsoft.com/office/drawing/2014/main" id="{7887AF11-4FEA-AC4E-9013-F5EB6889D806}"/>
              </a:ext>
            </a:extLst>
          </p:cNvPr>
          <p:cNvSpPr/>
          <p:nvPr/>
        </p:nvSpPr>
        <p:spPr>
          <a:xfrm>
            <a:off x="687940" y="1563967"/>
            <a:ext cx="648000" cy="648000"/>
          </a:xfrm>
          <a:custGeom>
            <a:avLst/>
            <a:gdLst/>
            <a:ahLst/>
            <a:cxnLst/>
            <a:rect l="l" t="t" r="r" b="b"/>
            <a:pathLst>
              <a:path w="836294" h="836294">
                <a:moveTo>
                  <a:pt x="417944" y="0"/>
                </a:moveTo>
                <a:lnTo>
                  <a:pt x="369203" y="2811"/>
                </a:lnTo>
                <a:lnTo>
                  <a:pt x="322114" y="11038"/>
                </a:lnTo>
                <a:lnTo>
                  <a:pt x="276989" y="24365"/>
                </a:lnTo>
                <a:lnTo>
                  <a:pt x="234143" y="42480"/>
                </a:lnTo>
                <a:lnTo>
                  <a:pt x="193890" y="65069"/>
                </a:lnTo>
                <a:lnTo>
                  <a:pt x="156542" y="91818"/>
                </a:lnTo>
                <a:lnTo>
                  <a:pt x="122413" y="122413"/>
                </a:lnTo>
                <a:lnTo>
                  <a:pt x="91818" y="156542"/>
                </a:lnTo>
                <a:lnTo>
                  <a:pt x="65069" y="193890"/>
                </a:lnTo>
                <a:lnTo>
                  <a:pt x="42480" y="234143"/>
                </a:lnTo>
                <a:lnTo>
                  <a:pt x="24365" y="276989"/>
                </a:lnTo>
                <a:lnTo>
                  <a:pt x="11038" y="322114"/>
                </a:lnTo>
                <a:lnTo>
                  <a:pt x="2811" y="369203"/>
                </a:lnTo>
                <a:lnTo>
                  <a:pt x="0" y="417944"/>
                </a:lnTo>
                <a:lnTo>
                  <a:pt x="2811" y="466685"/>
                </a:lnTo>
                <a:lnTo>
                  <a:pt x="11038" y="513774"/>
                </a:lnTo>
                <a:lnTo>
                  <a:pt x="24365" y="558898"/>
                </a:lnTo>
                <a:lnTo>
                  <a:pt x="42480" y="601744"/>
                </a:lnTo>
                <a:lnTo>
                  <a:pt x="65069" y="641998"/>
                </a:lnTo>
                <a:lnTo>
                  <a:pt x="91818" y="679346"/>
                </a:lnTo>
                <a:lnTo>
                  <a:pt x="122413" y="713474"/>
                </a:lnTo>
                <a:lnTo>
                  <a:pt x="156542" y="744070"/>
                </a:lnTo>
                <a:lnTo>
                  <a:pt x="193890" y="770819"/>
                </a:lnTo>
                <a:lnTo>
                  <a:pt x="234143" y="793407"/>
                </a:lnTo>
                <a:lnTo>
                  <a:pt x="276989" y="811522"/>
                </a:lnTo>
                <a:lnTo>
                  <a:pt x="322114" y="824850"/>
                </a:lnTo>
                <a:lnTo>
                  <a:pt x="369203" y="833076"/>
                </a:lnTo>
                <a:lnTo>
                  <a:pt x="417944" y="835888"/>
                </a:lnTo>
                <a:lnTo>
                  <a:pt x="466685" y="833076"/>
                </a:lnTo>
                <a:lnTo>
                  <a:pt x="513774" y="824850"/>
                </a:lnTo>
                <a:lnTo>
                  <a:pt x="558898" y="811522"/>
                </a:lnTo>
                <a:lnTo>
                  <a:pt x="601744" y="793407"/>
                </a:lnTo>
                <a:lnTo>
                  <a:pt x="641998" y="770819"/>
                </a:lnTo>
                <a:lnTo>
                  <a:pt x="679346" y="744070"/>
                </a:lnTo>
                <a:lnTo>
                  <a:pt x="713474" y="713474"/>
                </a:lnTo>
                <a:lnTo>
                  <a:pt x="744070" y="679346"/>
                </a:lnTo>
                <a:lnTo>
                  <a:pt x="770819" y="641998"/>
                </a:lnTo>
                <a:lnTo>
                  <a:pt x="793407" y="601744"/>
                </a:lnTo>
                <a:lnTo>
                  <a:pt x="811522" y="558898"/>
                </a:lnTo>
                <a:lnTo>
                  <a:pt x="824850" y="513774"/>
                </a:lnTo>
                <a:lnTo>
                  <a:pt x="833076" y="466685"/>
                </a:lnTo>
                <a:lnTo>
                  <a:pt x="835888" y="417944"/>
                </a:lnTo>
                <a:lnTo>
                  <a:pt x="833076" y="369203"/>
                </a:lnTo>
                <a:lnTo>
                  <a:pt x="824850" y="322114"/>
                </a:lnTo>
                <a:lnTo>
                  <a:pt x="811522" y="276989"/>
                </a:lnTo>
                <a:lnTo>
                  <a:pt x="793407" y="234143"/>
                </a:lnTo>
                <a:lnTo>
                  <a:pt x="770819" y="193890"/>
                </a:lnTo>
                <a:lnTo>
                  <a:pt x="744070" y="156542"/>
                </a:lnTo>
                <a:lnTo>
                  <a:pt x="713474" y="122413"/>
                </a:lnTo>
                <a:lnTo>
                  <a:pt x="679346" y="91818"/>
                </a:lnTo>
                <a:lnTo>
                  <a:pt x="641998" y="65069"/>
                </a:lnTo>
                <a:lnTo>
                  <a:pt x="601744" y="42480"/>
                </a:lnTo>
                <a:lnTo>
                  <a:pt x="558898" y="24365"/>
                </a:lnTo>
                <a:lnTo>
                  <a:pt x="513774" y="11038"/>
                </a:lnTo>
                <a:lnTo>
                  <a:pt x="466685" y="2811"/>
                </a:lnTo>
                <a:lnTo>
                  <a:pt x="417944" y="0"/>
                </a:lnTo>
                <a:close/>
              </a:path>
            </a:pathLst>
          </a:custGeom>
          <a:solidFill>
            <a:srgbClr val="EEDC00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 dirty="0">
              <a:ln>
                <a:noFill/>
              </a:ln>
              <a:solidFill>
                <a:srgbClr val="3B3B3A"/>
              </a:solidFill>
              <a:effectLst/>
              <a:uLnTx/>
              <a:uFillTx/>
              <a:latin typeface="Avenir Next LT Pro" panose="020B0504020202020204" pitchFamily="34" charset="77"/>
              <a:ea typeface="+mn-ea"/>
              <a:cs typeface="+mn-cs"/>
            </a:endParaRPr>
          </a:p>
        </p:txBody>
      </p:sp>
      <p:sp>
        <p:nvSpPr>
          <p:cNvPr id="61" name="Segnaposto titolo 1">
            <a:extLst>
              <a:ext uri="{FF2B5EF4-FFF2-40B4-BE49-F238E27FC236}">
                <a16:creationId xmlns:a16="http://schemas.microsoft.com/office/drawing/2014/main" id="{B6EA9F3D-BB40-3F46-9FB2-BD2DAFA10B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7394" y="504194"/>
            <a:ext cx="10515600" cy="725421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it-IT"/>
              <a:t>Fare clic per modificare lo stile del titolo dello schema</a:t>
            </a:r>
            <a:endParaRPr lang="it-IT" dirty="0"/>
          </a:p>
        </p:txBody>
      </p:sp>
      <p:sp>
        <p:nvSpPr>
          <p:cNvPr id="2" name="CasellaDiTesto 1">
            <a:extLst>
              <a:ext uri="{FF2B5EF4-FFF2-40B4-BE49-F238E27FC236}">
                <a16:creationId xmlns:a16="http://schemas.microsoft.com/office/drawing/2014/main" id="{F6B7303F-5563-9341-C79C-460226241E4E}"/>
              </a:ext>
            </a:extLst>
          </p:cNvPr>
          <p:cNvSpPr txBox="1"/>
          <p:nvPr userDrawn="1"/>
        </p:nvSpPr>
        <p:spPr>
          <a:xfrm>
            <a:off x="3916392" y="6623540"/>
            <a:ext cx="739499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it-IT" sz="800" i="1" dirty="0"/>
              <a:t>Documento ad uso esclusivamente interno, da intendersi come strettamente riservato; non è autorizzata la trasmissione ad altri e la divulgazione all’esterno.</a:t>
            </a:r>
            <a:endParaRPr lang="en-US" sz="800" i="1" dirty="0"/>
          </a:p>
        </p:txBody>
      </p:sp>
    </p:spTree>
    <p:extLst>
      <p:ext uri="{BB962C8B-B14F-4D97-AF65-F5344CB8AC3E}">
        <p14:creationId xmlns:p14="http://schemas.microsoft.com/office/powerpoint/2010/main" val="3091054525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5" orient="horz" pos="2160">
          <p15:clr>
            <a:srgbClr val="FBAE40"/>
          </p15:clr>
        </p15:guide>
        <p15:guide id="6" pos="3840">
          <p15:clr>
            <a:srgbClr val="FBAE40"/>
          </p15:clr>
        </p15:guide>
        <p15:guide id="7" pos="325">
          <p15:clr>
            <a:srgbClr val="FBAE40"/>
          </p15:clr>
        </p15:guide>
        <p15:guide id="8" pos="7333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Indice di sezion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" name="Segnaposto testo 2">
            <a:extLst>
              <a:ext uri="{FF2B5EF4-FFF2-40B4-BE49-F238E27FC236}">
                <a16:creationId xmlns:a16="http://schemas.microsoft.com/office/drawing/2014/main" id="{AE61EBCE-F91A-364C-8C3C-A53E2CE8D32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320356" y="1938648"/>
            <a:ext cx="8354939" cy="5762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0" i="0">
                <a:solidFill>
                  <a:srgbClr val="0047BB"/>
                </a:solidFill>
                <a:latin typeface="Avenir Next LT Pro" panose="020B0504020202020204" pitchFamily="34" charset="77"/>
              </a:defRPr>
            </a:lvl1pPr>
            <a:lvl2pPr marL="457200" indent="0">
              <a:buNone/>
              <a:defRPr sz="2400" b="0" i="0">
                <a:solidFill>
                  <a:srgbClr val="0047BB"/>
                </a:solidFill>
                <a:latin typeface="Avenir Next LT Pro" panose="020B0504020202020204" pitchFamily="34" charset="77"/>
              </a:defRPr>
            </a:lvl2pPr>
            <a:lvl3pPr marL="914400" indent="0">
              <a:buNone/>
              <a:defRPr sz="2400" b="0" i="0">
                <a:solidFill>
                  <a:srgbClr val="0047BB"/>
                </a:solidFill>
                <a:latin typeface="Avenir Next LT Pro" panose="020B0504020202020204" pitchFamily="34" charset="77"/>
              </a:defRPr>
            </a:lvl3pPr>
            <a:lvl4pPr marL="1371600" indent="0">
              <a:buNone/>
              <a:defRPr sz="2400" b="0" i="0">
                <a:solidFill>
                  <a:srgbClr val="0047BB"/>
                </a:solidFill>
                <a:latin typeface="Avenir Next LT Pro" panose="020B0504020202020204" pitchFamily="34" charset="77"/>
              </a:defRPr>
            </a:lvl4pPr>
            <a:lvl5pPr marL="1828800" indent="0">
              <a:buNone/>
              <a:defRPr sz="2400" b="0" i="0">
                <a:solidFill>
                  <a:srgbClr val="0047BB"/>
                </a:solidFill>
                <a:latin typeface="Avenir Next LT Pro" panose="020B0504020202020204" pitchFamily="34" charset="77"/>
              </a:defRPr>
            </a:lvl5pPr>
          </a:lstStyle>
          <a:p>
            <a:pPr lvl="0"/>
            <a:r>
              <a:rPr lang="it-IT" dirty="0"/>
              <a:t>Fare clic per modificare indice 1</a:t>
            </a:r>
          </a:p>
        </p:txBody>
      </p:sp>
      <p:sp>
        <p:nvSpPr>
          <p:cNvPr id="75" name="Segnaposto testo 2">
            <a:extLst>
              <a:ext uri="{FF2B5EF4-FFF2-40B4-BE49-F238E27FC236}">
                <a16:creationId xmlns:a16="http://schemas.microsoft.com/office/drawing/2014/main" id="{CF45F212-B65B-4A41-9BAD-08C2497B77E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341756" y="2858954"/>
            <a:ext cx="8354939" cy="5762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0" i="0">
                <a:solidFill>
                  <a:srgbClr val="0047BB"/>
                </a:solidFill>
                <a:latin typeface="Avenir Next LT Pro" panose="020B0504020202020204" pitchFamily="34" charset="77"/>
              </a:defRPr>
            </a:lvl1pPr>
            <a:lvl2pPr marL="457200" indent="0">
              <a:buNone/>
              <a:defRPr sz="2400" b="0" i="0">
                <a:solidFill>
                  <a:srgbClr val="0047BB"/>
                </a:solidFill>
                <a:latin typeface="Avenir Next LT Pro" panose="020B0504020202020204" pitchFamily="34" charset="77"/>
              </a:defRPr>
            </a:lvl2pPr>
            <a:lvl3pPr marL="914400" indent="0">
              <a:buNone/>
              <a:defRPr sz="2400" b="0" i="0">
                <a:solidFill>
                  <a:srgbClr val="0047BB"/>
                </a:solidFill>
                <a:latin typeface="Avenir Next LT Pro" panose="020B0504020202020204" pitchFamily="34" charset="77"/>
              </a:defRPr>
            </a:lvl3pPr>
            <a:lvl4pPr marL="1371600" indent="0">
              <a:buNone/>
              <a:defRPr sz="2400" b="0" i="0">
                <a:solidFill>
                  <a:srgbClr val="0047BB"/>
                </a:solidFill>
                <a:latin typeface="Avenir Next LT Pro" panose="020B0504020202020204" pitchFamily="34" charset="77"/>
              </a:defRPr>
            </a:lvl4pPr>
            <a:lvl5pPr marL="1828800" indent="0">
              <a:buNone/>
              <a:defRPr sz="2400" b="0" i="0">
                <a:solidFill>
                  <a:srgbClr val="0047BB"/>
                </a:solidFill>
                <a:latin typeface="Avenir Next LT Pro" panose="020B0504020202020204" pitchFamily="34" charset="77"/>
              </a:defRPr>
            </a:lvl5pPr>
          </a:lstStyle>
          <a:p>
            <a:pPr lvl="0"/>
            <a:r>
              <a:rPr lang="it-IT" dirty="0"/>
              <a:t>Fare clic per modificare indice 1</a:t>
            </a:r>
          </a:p>
        </p:txBody>
      </p:sp>
      <p:sp>
        <p:nvSpPr>
          <p:cNvPr id="76" name="Segnaposto testo 2">
            <a:extLst>
              <a:ext uri="{FF2B5EF4-FFF2-40B4-BE49-F238E27FC236}">
                <a16:creationId xmlns:a16="http://schemas.microsoft.com/office/drawing/2014/main" id="{F82CA0C2-D1FA-6D4F-B882-91540A2085E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328148" y="3771964"/>
            <a:ext cx="8354939" cy="5762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0" i="0">
                <a:solidFill>
                  <a:srgbClr val="0047BB"/>
                </a:solidFill>
                <a:latin typeface="Avenir Next LT Pro" panose="020B0504020202020204" pitchFamily="34" charset="77"/>
              </a:defRPr>
            </a:lvl1pPr>
            <a:lvl2pPr marL="457200" indent="0">
              <a:buNone/>
              <a:defRPr sz="2400" b="0" i="0">
                <a:solidFill>
                  <a:srgbClr val="0047BB"/>
                </a:solidFill>
                <a:latin typeface="Avenir Next LT Pro" panose="020B0504020202020204" pitchFamily="34" charset="77"/>
              </a:defRPr>
            </a:lvl2pPr>
            <a:lvl3pPr marL="914400" indent="0">
              <a:buNone/>
              <a:defRPr sz="2400" b="0" i="0">
                <a:solidFill>
                  <a:srgbClr val="0047BB"/>
                </a:solidFill>
                <a:latin typeface="Avenir Next LT Pro" panose="020B0504020202020204" pitchFamily="34" charset="77"/>
              </a:defRPr>
            </a:lvl3pPr>
            <a:lvl4pPr marL="1371600" indent="0">
              <a:buNone/>
              <a:defRPr sz="2400" b="0" i="0">
                <a:solidFill>
                  <a:srgbClr val="0047BB"/>
                </a:solidFill>
                <a:latin typeface="Avenir Next LT Pro" panose="020B0504020202020204" pitchFamily="34" charset="77"/>
              </a:defRPr>
            </a:lvl4pPr>
            <a:lvl5pPr marL="1828800" indent="0">
              <a:buNone/>
              <a:defRPr sz="2400" b="0" i="0">
                <a:solidFill>
                  <a:srgbClr val="0047BB"/>
                </a:solidFill>
                <a:latin typeface="Avenir Next LT Pro" panose="020B0504020202020204" pitchFamily="34" charset="77"/>
              </a:defRPr>
            </a:lvl5pPr>
          </a:lstStyle>
          <a:p>
            <a:pPr lvl="0"/>
            <a:r>
              <a:rPr lang="it-IT" dirty="0"/>
              <a:t>Fare clic per modificare indice 1</a:t>
            </a:r>
          </a:p>
        </p:txBody>
      </p:sp>
      <p:sp>
        <p:nvSpPr>
          <p:cNvPr id="77" name="Segnaposto testo 2">
            <a:extLst>
              <a:ext uri="{FF2B5EF4-FFF2-40B4-BE49-F238E27FC236}">
                <a16:creationId xmlns:a16="http://schemas.microsoft.com/office/drawing/2014/main" id="{2D12AD48-5820-7345-8F91-96DAEB84544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341755" y="4645510"/>
            <a:ext cx="8354939" cy="5762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0" i="0">
                <a:solidFill>
                  <a:srgbClr val="0047BB"/>
                </a:solidFill>
                <a:latin typeface="Avenir Next LT Pro" panose="020B0504020202020204" pitchFamily="34" charset="77"/>
              </a:defRPr>
            </a:lvl1pPr>
            <a:lvl2pPr marL="457200" indent="0">
              <a:buNone/>
              <a:defRPr sz="2400" b="0" i="0">
                <a:solidFill>
                  <a:srgbClr val="0047BB"/>
                </a:solidFill>
                <a:latin typeface="Avenir Next LT Pro" panose="020B0504020202020204" pitchFamily="34" charset="77"/>
              </a:defRPr>
            </a:lvl2pPr>
            <a:lvl3pPr marL="914400" indent="0">
              <a:buNone/>
              <a:defRPr sz="2400" b="0" i="0">
                <a:solidFill>
                  <a:srgbClr val="0047BB"/>
                </a:solidFill>
                <a:latin typeface="Avenir Next LT Pro" panose="020B0504020202020204" pitchFamily="34" charset="77"/>
              </a:defRPr>
            </a:lvl3pPr>
            <a:lvl4pPr marL="1371600" indent="0">
              <a:buNone/>
              <a:defRPr sz="2400" b="0" i="0">
                <a:solidFill>
                  <a:srgbClr val="0047BB"/>
                </a:solidFill>
                <a:latin typeface="Avenir Next LT Pro" panose="020B0504020202020204" pitchFamily="34" charset="77"/>
              </a:defRPr>
            </a:lvl4pPr>
            <a:lvl5pPr marL="1828800" indent="0">
              <a:buNone/>
              <a:defRPr sz="2400" b="0" i="0">
                <a:solidFill>
                  <a:srgbClr val="0047BB"/>
                </a:solidFill>
                <a:latin typeface="Avenir Next LT Pro" panose="020B0504020202020204" pitchFamily="34" charset="77"/>
              </a:defRPr>
            </a:lvl5pPr>
          </a:lstStyle>
          <a:p>
            <a:pPr lvl="0"/>
            <a:r>
              <a:rPr lang="it-IT" dirty="0"/>
              <a:t>Fare clic per modificare indice 1</a:t>
            </a:r>
          </a:p>
        </p:txBody>
      </p:sp>
      <p:sp>
        <p:nvSpPr>
          <p:cNvPr id="44" name="bg object 16">
            <a:extLst>
              <a:ext uri="{FF2B5EF4-FFF2-40B4-BE49-F238E27FC236}">
                <a16:creationId xmlns:a16="http://schemas.microsoft.com/office/drawing/2014/main" id="{A21AC191-3059-944D-92E8-B4EC13D05DE2}"/>
              </a:ext>
            </a:extLst>
          </p:cNvPr>
          <p:cNvSpPr/>
          <p:nvPr/>
        </p:nvSpPr>
        <p:spPr>
          <a:xfrm>
            <a:off x="11330381" y="6448615"/>
            <a:ext cx="311785" cy="410845"/>
          </a:xfrm>
          <a:custGeom>
            <a:avLst/>
            <a:gdLst/>
            <a:ahLst/>
            <a:cxnLst/>
            <a:rect l="l" t="t" r="r" b="b"/>
            <a:pathLst>
              <a:path w="311784" h="410845">
                <a:moveTo>
                  <a:pt x="311645" y="0"/>
                </a:moveTo>
                <a:lnTo>
                  <a:pt x="0" y="0"/>
                </a:lnTo>
                <a:lnTo>
                  <a:pt x="0" y="410438"/>
                </a:lnTo>
                <a:lnTo>
                  <a:pt x="311645" y="410438"/>
                </a:lnTo>
                <a:lnTo>
                  <a:pt x="311645" y="0"/>
                </a:lnTo>
                <a:close/>
              </a:path>
            </a:pathLst>
          </a:custGeom>
          <a:solidFill>
            <a:srgbClr val="0047B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6" name="Holder 7">
            <a:extLst>
              <a:ext uri="{FF2B5EF4-FFF2-40B4-BE49-F238E27FC236}">
                <a16:creationId xmlns:a16="http://schemas.microsoft.com/office/drawing/2014/main" id="{98C2DA49-F46E-2545-B8D0-7CCBF61A32C5}"/>
              </a:ext>
            </a:extLst>
          </p:cNvPr>
          <p:cNvSpPr txBox="1">
            <a:spLocks/>
          </p:cNvSpPr>
          <p:nvPr/>
        </p:nvSpPr>
        <p:spPr>
          <a:xfrm>
            <a:off x="11342726" y="6520516"/>
            <a:ext cx="256044" cy="16158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it-IT"/>
            </a:defPPr>
            <a:lvl1pPr marL="0" algn="l" defTabSz="914400" rtl="0" eaLnBrk="1" latinLnBrk="0" hangingPunct="1">
              <a:defRPr sz="850" b="1" i="0" kern="1200">
                <a:solidFill>
                  <a:schemeClr val="bg1"/>
                </a:solidFill>
                <a:latin typeface="Verdana"/>
                <a:ea typeface="+mn-ea"/>
                <a:cs typeface="Verdana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8100" algn="ctr">
              <a:spcBef>
                <a:spcPts val="105"/>
              </a:spcBef>
            </a:pPr>
            <a:fld id="{81D60167-4931-47E6-BA6A-407CBD079E47}" type="slidenum">
              <a:rPr lang="it-IT" sz="1050" b="0" i="0" spc="5" smtClean="0">
                <a:latin typeface="Avenir Next LT Pro" pitchFamily="2" charset="0"/>
              </a:rPr>
              <a:pPr marL="38100" algn="ctr">
                <a:spcBef>
                  <a:spcPts val="105"/>
                </a:spcBef>
              </a:pPr>
              <a:t>‹N›</a:t>
            </a:fld>
            <a:endParaRPr lang="it-IT" sz="1050" b="0" i="0" spc="5" dirty="0">
              <a:latin typeface="Avenir Next LT Pro" pitchFamily="2" charset="0"/>
            </a:endParaRPr>
          </a:p>
        </p:txBody>
      </p:sp>
      <p:sp>
        <p:nvSpPr>
          <p:cNvPr id="50" name="Triangolo isoscele 16">
            <a:extLst>
              <a:ext uri="{FF2B5EF4-FFF2-40B4-BE49-F238E27FC236}">
                <a16:creationId xmlns:a16="http://schemas.microsoft.com/office/drawing/2014/main" id="{578582B3-A204-6E46-B2B3-ACCF2B5FC7EA}"/>
              </a:ext>
            </a:extLst>
          </p:cNvPr>
          <p:cNvSpPr/>
          <p:nvPr/>
        </p:nvSpPr>
        <p:spPr>
          <a:xfrm rot="10800000">
            <a:off x="303127" y="-324737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52" name="Triangolo isoscele 17">
            <a:extLst>
              <a:ext uri="{FF2B5EF4-FFF2-40B4-BE49-F238E27FC236}">
                <a16:creationId xmlns:a16="http://schemas.microsoft.com/office/drawing/2014/main" id="{F0C1204B-8E28-8943-87F6-22C66DB22DA6}"/>
              </a:ext>
            </a:extLst>
          </p:cNvPr>
          <p:cNvSpPr/>
          <p:nvPr/>
        </p:nvSpPr>
        <p:spPr>
          <a:xfrm rot="10800000">
            <a:off x="11756536" y="-324737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53" name="Triangolo isoscele 18">
            <a:extLst>
              <a:ext uri="{FF2B5EF4-FFF2-40B4-BE49-F238E27FC236}">
                <a16:creationId xmlns:a16="http://schemas.microsoft.com/office/drawing/2014/main" id="{6F0B725D-05A5-AC4C-9496-FC066C6B37B0}"/>
              </a:ext>
            </a:extLst>
          </p:cNvPr>
          <p:cNvSpPr/>
          <p:nvPr/>
        </p:nvSpPr>
        <p:spPr>
          <a:xfrm>
            <a:off x="303127" y="6950754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55" name="Triangolo isoscele 19">
            <a:extLst>
              <a:ext uri="{FF2B5EF4-FFF2-40B4-BE49-F238E27FC236}">
                <a16:creationId xmlns:a16="http://schemas.microsoft.com/office/drawing/2014/main" id="{09C9464E-7BA2-3C42-97EB-FC7C02A179A0}"/>
              </a:ext>
            </a:extLst>
          </p:cNvPr>
          <p:cNvSpPr/>
          <p:nvPr/>
        </p:nvSpPr>
        <p:spPr>
          <a:xfrm>
            <a:off x="11756536" y="6950754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56" name="Triangolo isoscele 20">
            <a:extLst>
              <a:ext uri="{FF2B5EF4-FFF2-40B4-BE49-F238E27FC236}">
                <a16:creationId xmlns:a16="http://schemas.microsoft.com/office/drawing/2014/main" id="{492AE717-7262-874B-A349-AB0E87FAED4E}"/>
              </a:ext>
            </a:extLst>
          </p:cNvPr>
          <p:cNvSpPr/>
          <p:nvPr/>
        </p:nvSpPr>
        <p:spPr>
          <a:xfrm rot="5400000">
            <a:off x="-276040" y="885372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57" name="Triangolo isoscele 21">
            <a:extLst>
              <a:ext uri="{FF2B5EF4-FFF2-40B4-BE49-F238E27FC236}">
                <a16:creationId xmlns:a16="http://schemas.microsoft.com/office/drawing/2014/main" id="{7359C621-E128-FE4D-AFD6-2394CE5C3B9D}"/>
              </a:ext>
            </a:extLst>
          </p:cNvPr>
          <p:cNvSpPr/>
          <p:nvPr/>
        </p:nvSpPr>
        <p:spPr>
          <a:xfrm rot="5400000">
            <a:off x="-276039" y="5982836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58" name="Triangolo isoscele 22">
            <a:extLst>
              <a:ext uri="{FF2B5EF4-FFF2-40B4-BE49-F238E27FC236}">
                <a16:creationId xmlns:a16="http://schemas.microsoft.com/office/drawing/2014/main" id="{0957E77E-2AFA-9348-A826-AAFB7A540FD4}"/>
              </a:ext>
            </a:extLst>
          </p:cNvPr>
          <p:cNvSpPr/>
          <p:nvPr/>
        </p:nvSpPr>
        <p:spPr>
          <a:xfrm rot="16200000">
            <a:off x="12331119" y="885372"/>
            <a:ext cx="132336" cy="261257"/>
          </a:xfrm>
          <a:prstGeom prst="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60" name="Triangolo isoscele 23">
            <a:extLst>
              <a:ext uri="{FF2B5EF4-FFF2-40B4-BE49-F238E27FC236}">
                <a16:creationId xmlns:a16="http://schemas.microsoft.com/office/drawing/2014/main" id="{1270546B-AB85-7F4B-921D-D161A44C9957}"/>
              </a:ext>
            </a:extLst>
          </p:cNvPr>
          <p:cNvSpPr/>
          <p:nvPr/>
        </p:nvSpPr>
        <p:spPr>
          <a:xfrm rot="16200000">
            <a:off x="12331120" y="5982836"/>
            <a:ext cx="132336" cy="261257"/>
          </a:xfrm>
          <a:prstGeom prst="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62" name="Triangolo isoscele 31">
            <a:extLst>
              <a:ext uri="{FF2B5EF4-FFF2-40B4-BE49-F238E27FC236}">
                <a16:creationId xmlns:a16="http://schemas.microsoft.com/office/drawing/2014/main" id="{B007B432-5433-3F45-A703-0A95B5B98F70}"/>
              </a:ext>
            </a:extLst>
          </p:cNvPr>
          <p:cNvSpPr/>
          <p:nvPr/>
        </p:nvSpPr>
        <p:spPr>
          <a:xfrm rot="10800000">
            <a:off x="303127" y="-324737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64" name="Triangolo isoscele 32">
            <a:extLst>
              <a:ext uri="{FF2B5EF4-FFF2-40B4-BE49-F238E27FC236}">
                <a16:creationId xmlns:a16="http://schemas.microsoft.com/office/drawing/2014/main" id="{C509EE08-9330-354B-A23C-1780291E0CD0}"/>
              </a:ext>
            </a:extLst>
          </p:cNvPr>
          <p:cNvSpPr/>
          <p:nvPr/>
        </p:nvSpPr>
        <p:spPr>
          <a:xfrm rot="10800000">
            <a:off x="11756536" y="-324737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65" name="Triangolo isoscele 33">
            <a:extLst>
              <a:ext uri="{FF2B5EF4-FFF2-40B4-BE49-F238E27FC236}">
                <a16:creationId xmlns:a16="http://schemas.microsoft.com/office/drawing/2014/main" id="{A06061CD-2D33-2949-B25D-42D86A4B8F7E}"/>
              </a:ext>
            </a:extLst>
          </p:cNvPr>
          <p:cNvSpPr/>
          <p:nvPr/>
        </p:nvSpPr>
        <p:spPr>
          <a:xfrm>
            <a:off x="303127" y="6950754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66" name="Triangolo isoscele 34">
            <a:extLst>
              <a:ext uri="{FF2B5EF4-FFF2-40B4-BE49-F238E27FC236}">
                <a16:creationId xmlns:a16="http://schemas.microsoft.com/office/drawing/2014/main" id="{86DAC96B-4BDC-D54D-993A-6FF1FDCBBBF3}"/>
              </a:ext>
            </a:extLst>
          </p:cNvPr>
          <p:cNvSpPr/>
          <p:nvPr/>
        </p:nvSpPr>
        <p:spPr>
          <a:xfrm>
            <a:off x="11756536" y="6950754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67" name="Triangolo isoscele 35">
            <a:extLst>
              <a:ext uri="{FF2B5EF4-FFF2-40B4-BE49-F238E27FC236}">
                <a16:creationId xmlns:a16="http://schemas.microsoft.com/office/drawing/2014/main" id="{96DE6BBA-86BF-3C46-9A14-769E3A9BF351}"/>
              </a:ext>
            </a:extLst>
          </p:cNvPr>
          <p:cNvSpPr/>
          <p:nvPr/>
        </p:nvSpPr>
        <p:spPr>
          <a:xfrm rot="5400000">
            <a:off x="-276040" y="885372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68" name="Triangolo isoscele 36">
            <a:extLst>
              <a:ext uri="{FF2B5EF4-FFF2-40B4-BE49-F238E27FC236}">
                <a16:creationId xmlns:a16="http://schemas.microsoft.com/office/drawing/2014/main" id="{4ECF7C09-48CB-8741-B3CB-459AD6720363}"/>
              </a:ext>
            </a:extLst>
          </p:cNvPr>
          <p:cNvSpPr/>
          <p:nvPr/>
        </p:nvSpPr>
        <p:spPr>
          <a:xfrm rot="5400000">
            <a:off x="-276039" y="5982836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69" name="Triangolo isoscele 37">
            <a:extLst>
              <a:ext uri="{FF2B5EF4-FFF2-40B4-BE49-F238E27FC236}">
                <a16:creationId xmlns:a16="http://schemas.microsoft.com/office/drawing/2014/main" id="{9B281C8A-C1E5-7D4D-AB27-5B3901C28196}"/>
              </a:ext>
            </a:extLst>
          </p:cNvPr>
          <p:cNvSpPr/>
          <p:nvPr/>
        </p:nvSpPr>
        <p:spPr>
          <a:xfrm rot="16200000">
            <a:off x="12331119" y="885372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70" name="Triangolo isoscele 38">
            <a:extLst>
              <a:ext uri="{FF2B5EF4-FFF2-40B4-BE49-F238E27FC236}">
                <a16:creationId xmlns:a16="http://schemas.microsoft.com/office/drawing/2014/main" id="{9EDB5FCA-9E1A-A34D-8F08-68D793D142E1}"/>
              </a:ext>
            </a:extLst>
          </p:cNvPr>
          <p:cNvSpPr/>
          <p:nvPr/>
        </p:nvSpPr>
        <p:spPr>
          <a:xfrm rot="16200000">
            <a:off x="12331120" y="5982836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pic>
        <p:nvPicPr>
          <p:cNvPr id="71" name="Elemento grafico 70">
            <a:extLst>
              <a:ext uri="{FF2B5EF4-FFF2-40B4-BE49-F238E27FC236}">
                <a16:creationId xmlns:a16="http://schemas.microsoft.com/office/drawing/2014/main" id="{DCC144D8-9208-4E4F-8E3D-BE547EFA3058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081892" y="-5080"/>
            <a:ext cx="1560273" cy="309880"/>
          </a:xfrm>
          <a:prstGeom prst="rect">
            <a:avLst/>
          </a:prstGeom>
        </p:spPr>
      </p:pic>
      <p:sp>
        <p:nvSpPr>
          <p:cNvPr id="72" name="object 267">
            <a:extLst>
              <a:ext uri="{FF2B5EF4-FFF2-40B4-BE49-F238E27FC236}">
                <a16:creationId xmlns:a16="http://schemas.microsoft.com/office/drawing/2014/main" id="{92B4529D-1D0E-AA4C-A179-3E5D78AE32CA}"/>
              </a:ext>
            </a:extLst>
          </p:cNvPr>
          <p:cNvSpPr/>
          <p:nvPr/>
        </p:nvSpPr>
        <p:spPr>
          <a:xfrm>
            <a:off x="0" y="1251482"/>
            <a:ext cx="675518" cy="45719"/>
          </a:xfrm>
          <a:custGeom>
            <a:avLst/>
            <a:gdLst/>
            <a:ahLst/>
            <a:cxnLst/>
            <a:rect l="l" t="t" r="r" b="b"/>
            <a:pathLst>
              <a:path w="657225">
                <a:moveTo>
                  <a:pt x="0" y="0"/>
                </a:moveTo>
                <a:lnTo>
                  <a:pt x="656678" y="0"/>
                </a:lnTo>
              </a:path>
            </a:pathLst>
          </a:custGeom>
          <a:ln w="76200">
            <a:solidFill>
              <a:srgbClr val="EEDC00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JhengHei UI Light" panose="020B0304030504040204" pitchFamily="34" charset="-120"/>
              <a:ea typeface="Microsoft JhengHei UI Light" panose="020B0304030504040204" pitchFamily="34" charset="-120"/>
              <a:cs typeface="+mn-cs"/>
            </a:endParaRPr>
          </a:p>
        </p:txBody>
      </p:sp>
      <p:sp>
        <p:nvSpPr>
          <p:cNvPr id="73" name="Arco 72">
            <a:extLst>
              <a:ext uri="{FF2B5EF4-FFF2-40B4-BE49-F238E27FC236}">
                <a16:creationId xmlns:a16="http://schemas.microsoft.com/office/drawing/2014/main" id="{E288BBFD-56DB-5D48-8DFB-663C2DDAF59C}"/>
              </a:ext>
            </a:extLst>
          </p:cNvPr>
          <p:cNvSpPr/>
          <p:nvPr/>
        </p:nvSpPr>
        <p:spPr>
          <a:xfrm>
            <a:off x="1221228" y="1643720"/>
            <a:ext cx="699715" cy="699715"/>
          </a:xfrm>
          <a:prstGeom prst="arc">
            <a:avLst/>
          </a:prstGeom>
          <a:ln w="12700">
            <a:solidFill>
              <a:srgbClr val="0047B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1200" cap="none" spc="0" normalizeH="0" baseline="0" noProof="0">
              <a:ln>
                <a:noFill/>
              </a:ln>
              <a:solidFill>
                <a:srgbClr val="3B3B3A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pSp>
        <p:nvGrpSpPr>
          <p:cNvPr id="78" name="Gruppo 77">
            <a:extLst>
              <a:ext uri="{FF2B5EF4-FFF2-40B4-BE49-F238E27FC236}">
                <a16:creationId xmlns:a16="http://schemas.microsoft.com/office/drawing/2014/main" id="{B7BA2252-9805-A949-BD93-3F93B1B83A62}"/>
              </a:ext>
            </a:extLst>
          </p:cNvPr>
          <p:cNvGrpSpPr/>
          <p:nvPr/>
        </p:nvGrpSpPr>
        <p:grpSpPr>
          <a:xfrm>
            <a:off x="643244" y="1375851"/>
            <a:ext cx="562798" cy="562797"/>
            <a:chOff x="630463" y="1998492"/>
            <a:chExt cx="1027152" cy="1027151"/>
          </a:xfrm>
        </p:grpSpPr>
        <p:sp>
          <p:nvSpPr>
            <p:cNvPr id="79" name="object 46">
              <a:extLst>
                <a:ext uri="{FF2B5EF4-FFF2-40B4-BE49-F238E27FC236}">
                  <a16:creationId xmlns:a16="http://schemas.microsoft.com/office/drawing/2014/main" id="{22B8FB41-644C-C240-8B1D-7038B0BB94B8}"/>
                </a:ext>
              </a:extLst>
            </p:cNvPr>
            <p:cNvSpPr/>
            <p:nvPr/>
          </p:nvSpPr>
          <p:spPr>
            <a:xfrm>
              <a:off x="630463" y="1998492"/>
              <a:ext cx="1027152" cy="1027151"/>
            </a:xfrm>
            <a:custGeom>
              <a:avLst/>
              <a:gdLst/>
              <a:ahLst/>
              <a:cxnLst/>
              <a:rect l="l" t="t" r="r" b="b"/>
              <a:pathLst>
                <a:path w="1009650" h="1009650">
                  <a:moveTo>
                    <a:pt x="1009637" y="504825"/>
                  </a:moveTo>
                  <a:lnTo>
                    <a:pt x="1007326" y="553440"/>
                  </a:lnTo>
                  <a:lnTo>
                    <a:pt x="1000534" y="600748"/>
                  </a:lnTo>
                  <a:lnTo>
                    <a:pt x="989474" y="646537"/>
                  </a:lnTo>
                  <a:lnTo>
                    <a:pt x="974355" y="690596"/>
                  </a:lnTo>
                  <a:lnTo>
                    <a:pt x="955391" y="732714"/>
                  </a:lnTo>
                  <a:lnTo>
                    <a:pt x="932791" y="772678"/>
                  </a:lnTo>
                  <a:lnTo>
                    <a:pt x="906769" y="810276"/>
                  </a:lnTo>
                  <a:lnTo>
                    <a:pt x="877535" y="845298"/>
                  </a:lnTo>
                  <a:lnTo>
                    <a:pt x="845302" y="877532"/>
                  </a:lnTo>
                  <a:lnTo>
                    <a:pt x="810279" y="906766"/>
                  </a:lnTo>
                  <a:lnTo>
                    <a:pt x="772680" y="932789"/>
                  </a:lnTo>
                  <a:lnTo>
                    <a:pt x="732715" y="955389"/>
                  </a:lnTo>
                  <a:lnTo>
                    <a:pt x="690596" y="974354"/>
                  </a:lnTo>
                  <a:lnTo>
                    <a:pt x="646535" y="989473"/>
                  </a:lnTo>
                  <a:lnTo>
                    <a:pt x="600743" y="1000534"/>
                  </a:lnTo>
                  <a:lnTo>
                    <a:pt x="553431" y="1007326"/>
                  </a:lnTo>
                  <a:lnTo>
                    <a:pt x="504812" y="1009637"/>
                  </a:lnTo>
                  <a:lnTo>
                    <a:pt x="456197" y="1007326"/>
                  </a:lnTo>
                  <a:lnTo>
                    <a:pt x="408888" y="1000534"/>
                  </a:lnTo>
                  <a:lnTo>
                    <a:pt x="363099" y="989473"/>
                  </a:lnTo>
                  <a:lnTo>
                    <a:pt x="319040" y="974354"/>
                  </a:lnTo>
                  <a:lnTo>
                    <a:pt x="276923" y="955389"/>
                  </a:lnTo>
                  <a:lnTo>
                    <a:pt x="236959" y="932789"/>
                  </a:lnTo>
                  <a:lnTo>
                    <a:pt x="199360" y="906766"/>
                  </a:lnTo>
                  <a:lnTo>
                    <a:pt x="164338" y="877532"/>
                  </a:lnTo>
                  <a:lnTo>
                    <a:pt x="132104" y="845298"/>
                  </a:lnTo>
                  <a:lnTo>
                    <a:pt x="102870" y="810276"/>
                  </a:lnTo>
                  <a:lnTo>
                    <a:pt x="76847" y="772678"/>
                  </a:lnTo>
                  <a:lnTo>
                    <a:pt x="54248" y="732714"/>
                  </a:lnTo>
                  <a:lnTo>
                    <a:pt x="35283" y="690596"/>
                  </a:lnTo>
                  <a:lnTo>
                    <a:pt x="20164" y="646537"/>
                  </a:lnTo>
                  <a:lnTo>
                    <a:pt x="9102" y="600748"/>
                  </a:lnTo>
                  <a:lnTo>
                    <a:pt x="2310" y="553440"/>
                  </a:lnTo>
                  <a:lnTo>
                    <a:pt x="0" y="504825"/>
                  </a:lnTo>
                  <a:lnTo>
                    <a:pt x="2310" y="456207"/>
                  </a:lnTo>
                  <a:lnTo>
                    <a:pt x="9102" y="408897"/>
                  </a:lnTo>
                  <a:lnTo>
                    <a:pt x="20164" y="363106"/>
                  </a:lnTo>
                  <a:lnTo>
                    <a:pt x="35283" y="319045"/>
                  </a:lnTo>
                  <a:lnTo>
                    <a:pt x="54248" y="276927"/>
                  </a:lnTo>
                  <a:lnTo>
                    <a:pt x="76847" y="236962"/>
                  </a:lnTo>
                  <a:lnTo>
                    <a:pt x="102870" y="199363"/>
                  </a:lnTo>
                  <a:lnTo>
                    <a:pt x="132104" y="164340"/>
                  </a:lnTo>
                  <a:lnTo>
                    <a:pt x="164338" y="132105"/>
                  </a:lnTo>
                  <a:lnTo>
                    <a:pt x="199360" y="102871"/>
                  </a:lnTo>
                  <a:lnTo>
                    <a:pt x="236959" y="76848"/>
                  </a:lnTo>
                  <a:lnTo>
                    <a:pt x="276923" y="54248"/>
                  </a:lnTo>
                  <a:lnTo>
                    <a:pt x="319040" y="35283"/>
                  </a:lnTo>
                  <a:lnTo>
                    <a:pt x="363099" y="20164"/>
                  </a:lnTo>
                  <a:lnTo>
                    <a:pt x="408888" y="9102"/>
                  </a:lnTo>
                  <a:lnTo>
                    <a:pt x="456197" y="2310"/>
                  </a:lnTo>
                  <a:lnTo>
                    <a:pt x="504812" y="0"/>
                  </a:lnTo>
                  <a:lnTo>
                    <a:pt x="553431" y="2310"/>
                  </a:lnTo>
                  <a:lnTo>
                    <a:pt x="600743" y="9102"/>
                  </a:lnTo>
                  <a:lnTo>
                    <a:pt x="646535" y="20164"/>
                  </a:lnTo>
                  <a:lnTo>
                    <a:pt x="690596" y="35283"/>
                  </a:lnTo>
                  <a:lnTo>
                    <a:pt x="732715" y="54248"/>
                  </a:lnTo>
                  <a:lnTo>
                    <a:pt x="772680" y="76848"/>
                  </a:lnTo>
                  <a:lnTo>
                    <a:pt x="810279" y="102871"/>
                  </a:lnTo>
                  <a:lnTo>
                    <a:pt x="845302" y="132105"/>
                  </a:lnTo>
                  <a:lnTo>
                    <a:pt x="877535" y="164340"/>
                  </a:lnTo>
                  <a:lnTo>
                    <a:pt x="906769" y="199363"/>
                  </a:lnTo>
                  <a:lnTo>
                    <a:pt x="932791" y="236962"/>
                  </a:lnTo>
                  <a:lnTo>
                    <a:pt x="955391" y="276927"/>
                  </a:lnTo>
                  <a:lnTo>
                    <a:pt x="974355" y="319045"/>
                  </a:lnTo>
                  <a:lnTo>
                    <a:pt x="989474" y="363106"/>
                  </a:lnTo>
                  <a:lnTo>
                    <a:pt x="1000534" y="408897"/>
                  </a:lnTo>
                  <a:lnTo>
                    <a:pt x="1007326" y="456207"/>
                  </a:lnTo>
                  <a:lnTo>
                    <a:pt x="1009637" y="504825"/>
                  </a:lnTo>
                  <a:close/>
                </a:path>
              </a:pathLst>
            </a:custGeom>
            <a:solidFill>
              <a:schemeClr val="bg1"/>
            </a:solidFill>
            <a:ln w="12700">
              <a:solidFill>
                <a:srgbClr val="0046BA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3B3B3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80" name="object 47">
              <a:extLst>
                <a:ext uri="{FF2B5EF4-FFF2-40B4-BE49-F238E27FC236}">
                  <a16:creationId xmlns:a16="http://schemas.microsoft.com/office/drawing/2014/main" id="{D6EB08F2-7F58-AD4B-9D66-6A57B02D4044}"/>
                </a:ext>
              </a:extLst>
            </p:cNvPr>
            <p:cNvSpPr/>
            <p:nvPr/>
          </p:nvSpPr>
          <p:spPr>
            <a:xfrm>
              <a:off x="718643" y="2086672"/>
              <a:ext cx="850791" cy="850791"/>
            </a:xfrm>
            <a:custGeom>
              <a:avLst/>
              <a:gdLst/>
              <a:ahLst/>
              <a:cxnLst/>
              <a:rect l="l" t="t" r="r" b="b"/>
              <a:pathLst>
                <a:path w="836294" h="836294">
                  <a:moveTo>
                    <a:pt x="417944" y="0"/>
                  </a:moveTo>
                  <a:lnTo>
                    <a:pt x="369203" y="2811"/>
                  </a:lnTo>
                  <a:lnTo>
                    <a:pt x="322114" y="11038"/>
                  </a:lnTo>
                  <a:lnTo>
                    <a:pt x="276989" y="24365"/>
                  </a:lnTo>
                  <a:lnTo>
                    <a:pt x="234143" y="42480"/>
                  </a:lnTo>
                  <a:lnTo>
                    <a:pt x="193890" y="65069"/>
                  </a:lnTo>
                  <a:lnTo>
                    <a:pt x="156542" y="91818"/>
                  </a:lnTo>
                  <a:lnTo>
                    <a:pt x="122413" y="122413"/>
                  </a:lnTo>
                  <a:lnTo>
                    <a:pt x="91818" y="156542"/>
                  </a:lnTo>
                  <a:lnTo>
                    <a:pt x="65069" y="193890"/>
                  </a:lnTo>
                  <a:lnTo>
                    <a:pt x="42480" y="234143"/>
                  </a:lnTo>
                  <a:lnTo>
                    <a:pt x="24365" y="276989"/>
                  </a:lnTo>
                  <a:lnTo>
                    <a:pt x="11038" y="322114"/>
                  </a:lnTo>
                  <a:lnTo>
                    <a:pt x="2811" y="369203"/>
                  </a:lnTo>
                  <a:lnTo>
                    <a:pt x="0" y="417944"/>
                  </a:lnTo>
                  <a:lnTo>
                    <a:pt x="2811" y="466685"/>
                  </a:lnTo>
                  <a:lnTo>
                    <a:pt x="11038" y="513774"/>
                  </a:lnTo>
                  <a:lnTo>
                    <a:pt x="24365" y="558898"/>
                  </a:lnTo>
                  <a:lnTo>
                    <a:pt x="42480" y="601744"/>
                  </a:lnTo>
                  <a:lnTo>
                    <a:pt x="65069" y="641998"/>
                  </a:lnTo>
                  <a:lnTo>
                    <a:pt x="91818" y="679346"/>
                  </a:lnTo>
                  <a:lnTo>
                    <a:pt x="122413" y="713474"/>
                  </a:lnTo>
                  <a:lnTo>
                    <a:pt x="156542" y="744070"/>
                  </a:lnTo>
                  <a:lnTo>
                    <a:pt x="193890" y="770819"/>
                  </a:lnTo>
                  <a:lnTo>
                    <a:pt x="234143" y="793407"/>
                  </a:lnTo>
                  <a:lnTo>
                    <a:pt x="276989" y="811522"/>
                  </a:lnTo>
                  <a:lnTo>
                    <a:pt x="322114" y="824850"/>
                  </a:lnTo>
                  <a:lnTo>
                    <a:pt x="369203" y="833076"/>
                  </a:lnTo>
                  <a:lnTo>
                    <a:pt x="417944" y="835888"/>
                  </a:lnTo>
                  <a:lnTo>
                    <a:pt x="466685" y="833076"/>
                  </a:lnTo>
                  <a:lnTo>
                    <a:pt x="513774" y="824850"/>
                  </a:lnTo>
                  <a:lnTo>
                    <a:pt x="558898" y="811522"/>
                  </a:lnTo>
                  <a:lnTo>
                    <a:pt x="601744" y="793407"/>
                  </a:lnTo>
                  <a:lnTo>
                    <a:pt x="641998" y="770819"/>
                  </a:lnTo>
                  <a:lnTo>
                    <a:pt x="679346" y="744070"/>
                  </a:lnTo>
                  <a:lnTo>
                    <a:pt x="713474" y="713474"/>
                  </a:lnTo>
                  <a:lnTo>
                    <a:pt x="744070" y="679346"/>
                  </a:lnTo>
                  <a:lnTo>
                    <a:pt x="770819" y="641998"/>
                  </a:lnTo>
                  <a:lnTo>
                    <a:pt x="793407" y="601744"/>
                  </a:lnTo>
                  <a:lnTo>
                    <a:pt x="811522" y="558898"/>
                  </a:lnTo>
                  <a:lnTo>
                    <a:pt x="824850" y="513774"/>
                  </a:lnTo>
                  <a:lnTo>
                    <a:pt x="833076" y="466685"/>
                  </a:lnTo>
                  <a:lnTo>
                    <a:pt x="835888" y="417944"/>
                  </a:lnTo>
                  <a:lnTo>
                    <a:pt x="833076" y="369203"/>
                  </a:lnTo>
                  <a:lnTo>
                    <a:pt x="824850" y="322114"/>
                  </a:lnTo>
                  <a:lnTo>
                    <a:pt x="811522" y="276989"/>
                  </a:lnTo>
                  <a:lnTo>
                    <a:pt x="793407" y="234143"/>
                  </a:lnTo>
                  <a:lnTo>
                    <a:pt x="770819" y="193890"/>
                  </a:lnTo>
                  <a:lnTo>
                    <a:pt x="744070" y="156542"/>
                  </a:lnTo>
                  <a:lnTo>
                    <a:pt x="713474" y="122413"/>
                  </a:lnTo>
                  <a:lnTo>
                    <a:pt x="679346" y="91818"/>
                  </a:lnTo>
                  <a:lnTo>
                    <a:pt x="641998" y="65069"/>
                  </a:lnTo>
                  <a:lnTo>
                    <a:pt x="601744" y="42480"/>
                  </a:lnTo>
                  <a:lnTo>
                    <a:pt x="558898" y="24365"/>
                  </a:lnTo>
                  <a:lnTo>
                    <a:pt x="513774" y="11038"/>
                  </a:lnTo>
                  <a:lnTo>
                    <a:pt x="466685" y="2811"/>
                  </a:lnTo>
                  <a:lnTo>
                    <a:pt x="417944" y="0"/>
                  </a:lnTo>
                  <a:close/>
                </a:path>
              </a:pathLst>
            </a:custGeom>
            <a:solidFill>
              <a:srgbClr val="EEDC00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3B3B3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pic>
          <p:nvPicPr>
            <p:cNvPr id="81" name="Elemento grafico 80" descr="Obiettivo contorno">
              <a:extLst>
                <a:ext uri="{FF2B5EF4-FFF2-40B4-BE49-F238E27FC236}">
                  <a16:creationId xmlns:a16="http://schemas.microsoft.com/office/drawing/2014/main" id="{0C20B10F-1BDD-ED4F-AC23-2060E4AD2B8A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/>
            <a:stretch/>
          </p:blipFill>
          <p:spPr>
            <a:xfrm>
              <a:off x="813092" y="2174253"/>
              <a:ext cx="661893" cy="661893"/>
            </a:xfrm>
            <a:prstGeom prst="rect">
              <a:avLst/>
            </a:prstGeom>
          </p:spPr>
        </p:pic>
      </p:grpSp>
      <p:cxnSp>
        <p:nvCxnSpPr>
          <p:cNvPr id="82" name="Connettore 1 81">
            <a:extLst>
              <a:ext uri="{FF2B5EF4-FFF2-40B4-BE49-F238E27FC236}">
                <a16:creationId xmlns:a16="http://schemas.microsoft.com/office/drawing/2014/main" id="{C3768425-53DF-F045-B011-1F5D4D049D8F}"/>
              </a:ext>
            </a:extLst>
          </p:cNvPr>
          <p:cNvCxnSpPr>
            <a:cxnSpLocks/>
          </p:cNvCxnSpPr>
          <p:nvPr/>
        </p:nvCxnSpPr>
        <p:spPr>
          <a:xfrm>
            <a:off x="1206042" y="1643720"/>
            <a:ext cx="368345" cy="0"/>
          </a:xfrm>
          <a:prstGeom prst="line">
            <a:avLst/>
          </a:prstGeom>
          <a:ln w="12700">
            <a:solidFill>
              <a:srgbClr val="0047B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object 46">
            <a:extLst>
              <a:ext uri="{FF2B5EF4-FFF2-40B4-BE49-F238E27FC236}">
                <a16:creationId xmlns:a16="http://schemas.microsoft.com/office/drawing/2014/main" id="{1D55961B-69DE-8846-9689-CF3CEA6B0396}"/>
              </a:ext>
            </a:extLst>
          </p:cNvPr>
          <p:cNvSpPr/>
          <p:nvPr/>
        </p:nvSpPr>
        <p:spPr>
          <a:xfrm>
            <a:off x="1532628" y="1950635"/>
            <a:ext cx="771803" cy="771803"/>
          </a:xfrm>
          <a:custGeom>
            <a:avLst/>
            <a:gdLst/>
            <a:ahLst/>
            <a:cxnLst/>
            <a:rect l="l" t="t" r="r" b="b"/>
            <a:pathLst>
              <a:path w="1009650" h="1009650">
                <a:moveTo>
                  <a:pt x="1009637" y="504825"/>
                </a:moveTo>
                <a:lnTo>
                  <a:pt x="1007326" y="553440"/>
                </a:lnTo>
                <a:lnTo>
                  <a:pt x="1000534" y="600748"/>
                </a:lnTo>
                <a:lnTo>
                  <a:pt x="989474" y="646537"/>
                </a:lnTo>
                <a:lnTo>
                  <a:pt x="974355" y="690596"/>
                </a:lnTo>
                <a:lnTo>
                  <a:pt x="955391" y="732714"/>
                </a:lnTo>
                <a:lnTo>
                  <a:pt x="932791" y="772678"/>
                </a:lnTo>
                <a:lnTo>
                  <a:pt x="906769" y="810276"/>
                </a:lnTo>
                <a:lnTo>
                  <a:pt x="877535" y="845298"/>
                </a:lnTo>
                <a:lnTo>
                  <a:pt x="845302" y="877532"/>
                </a:lnTo>
                <a:lnTo>
                  <a:pt x="810279" y="906766"/>
                </a:lnTo>
                <a:lnTo>
                  <a:pt x="772680" y="932789"/>
                </a:lnTo>
                <a:lnTo>
                  <a:pt x="732715" y="955389"/>
                </a:lnTo>
                <a:lnTo>
                  <a:pt x="690596" y="974354"/>
                </a:lnTo>
                <a:lnTo>
                  <a:pt x="646535" y="989473"/>
                </a:lnTo>
                <a:lnTo>
                  <a:pt x="600743" y="1000534"/>
                </a:lnTo>
                <a:lnTo>
                  <a:pt x="553431" y="1007326"/>
                </a:lnTo>
                <a:lnTo>
                  <a:pt x="504812" y="1009637"/>
                </a:lnTo>
                <a:lnTo>
                  <a:pt x="456197" y="1007326"/>
                </a:lnTo>
                <a:lnTo>
                  <a:pt x="408888" y="1000534"/>
                </a:lnTo>
                <a:lnTo>
                  <a:pt x="363099" y="989473"/>
                </a:lnTo>
                <a:lnTo>
                  <a:pt x="319040" y="974354"/>
                </a:lnTo>
                <a:lnTo>
                  <a:pt x="276923" y="955389"/>
                </a:lnTo>
                <a:lnTo>
                  <a:pt x="236959" y="932789"/>
                </a:lnTo>
                <a:lnTo>
                  <a:pt x="199360" y="906766"/>
                </a:lnTo>
                <a:lnTo>
                  <a:pt x="164338" y="877532"/>
                </a:lnTo>
                <a:lnTo>
                  <a:pt x="132104" y="845298"/>
                </a:lnTo>
                <a:lnTo>
                  <a:pt x="102870" y="810276"/>
                </a:lnTo>
                <a:lnTo>
                  <a:pt x="76847" y="772678"/>
                </a:lnTo>
                <a:lnTo>
                  <a:pt x="54248" y="732714"/>
                </a:lnTo>
                <a:lnTo>
                  <a:pt x="35283" y="690596"/>
                </a:lnTo>
                <a:lnTo>
                  <a:pt x="20164" y="646537"/>
                </a:lnTo>
                <a:lnTo>
                  <a:pt x="9102" y="600748"/>
                </a:lnTo>
                <a:lnTo>
                  <a:pt x="2310" y="553440"/>
                </a:lnTo>
                <a:lnTo>
                  <a:pt x="0" y="504825"/>
                </a:lnTo>
                <a:lnTo>
                  <a:pt x="2310" y="456207"/>
                </a:lnTo>
                <a:lnTo>
                  <a:pt x="9102" y="408897"/>
                </a:lnTo>
                <a:lnTo>
                  <a:pt x="20164" y="363106"/>
                </a:lnTo>
                <a:lnTo>
                  <a:pt x="35283" y="319045"/>
                </a:lnTo>
                <a:lnTo>
                  <a:pt x="54248" y="276927"/>
                </a:lnTo>
                <a:lnTo>
                  <a:pt x="76847" y="236962"/>
                </a:lnTo>
                <a:lnTo>
                  <a:pt x="102870" y="199363"/>
                </a:lnTo>
                <a:lnTo>
                  <a:pt x="132104" y="164340"/>
                </a:lnTo>
                <a:lnTo>
                  <a:pt x="164338" y="132105"/>
                </a:lnTo>
                <a:lnTo>
                  <a:pt x="199360" y="102871"/>
                </a:lnTo>
                <a:lnTo>
                  <a:pt x="236959" y="76848"/>
                </a:lnTo>
                <a:lnTo>
                  <a:pt x="276923" y="54248"/>
                </a:lnTo>
                <a:lnTo>
                  <a:pt x="319040" y="35283"/>
                </a:lnTo>
                <a:lnTo>
                  <a:pt x="363099" y="20164"/>
                </a:lnTo>
                <a:lnTo>
                  <a:pt x="408888" y="9102"/>
                </a:lnTo>
                <a:lnTo>
                  <a:pt x="456197" y="2310"/>
                </a:lnTo>
                <a:lnTo>
                  <a:pt x="504812" y="0"/>
                </a:lnTo>
                <a:lnTo>
                  <a:pt x="553431" y="2310"/>
                </a:lnTo>
                <a:lnTo>
                  <a:pt x="600743" y="9102"/>
                </a:lnTo>
                <a:lnTo>
                  <a:pt x="646535" y="20164"/>
                </a:lnTo>
                <a:lnTo>
                  <a:pt x="690596" y="35283"/>
                </a:lnTo>
                <a:lnTo>
                  <a:pt x="732715" y="54248"/>
                </a:lnTo>
                <a:lnTo>
                  <a:pt x="772680" y="76848"/>
                </a:lnTo>
                <a:lnTo>
                  <a:pt x="810279" y="102871"/>
                </a:lnTo>
                <a:lnTo>
                  <a:pt x="845302" y="132105"/>
                </a:lnTo>
                <a:lnTo>
                  <a:pt x="877535" y="164340"/>
                </a:lnTo>
                <a:lnTo>
                  <a:pt x="906769" y="199363"/>
                </a:lnTo>
                <a:lnTo>
                  <a:pt x="932791" y="236962"/>
                </a:lnTo>
                <a:lnTo>
                  <a:pt x="955391" y="276927"/>
                </a:lnTo>
                <a:lnTo>
                  <a:pt x="974355" y="319045"/>
                </a:lnTo>
                <a:lnTo>
                  <a:pt x="989474" y="363106"/>
                </a:lnTo>
                <a:lnTo>
                  <a:pt x="1000534" y="408897"/>
                </a:lnTo>
                <a:lnTo>
                  <a:pt x="1007326" y="456207"/>
                </a:lnTo>
                <a:lnTo>
                  <a:pt x="1009637" y="504825"/>
                </a:lnTo>
                <a:close/>
              </a:path>
            </a:pathLst>
          </a:custGeom>
          <a:solidFill>
            <a:schemeClr val="bg1"/>
          </a:solidFill>
          <a:ln w="12700">
            <a:solidFill>
              <a:srgbClr val="0046BA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3B3B3A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84" name="Connettore 1 83">
            <a:extLst>
              <a:ext uri="{FF2B5EF4-FFF2-40B4-BE49-F238E27FC236}">
                <a16:creationId xmlns:a16="http://schemas.microsoft.com/office/drawing/2014/main" id="{7FDC7421-8658-C149-8673-5F90B20EABC4}"/>
              </a:ext>
            </a:extLst>
          </p:cNvPr>
          <p:cNvCxnSpPr>
            <a:cxnSpLocks/>
          </p:cNvCxnSpPr>
          <p:nvPr/>
        </p:nvCxnSpPr>
        <p:spPr>
          <a:xfrm>
            <a:off x="2304477" y="2320372"/>
            <a:ext cx="4516447" cy="0"/>
          </a:xfrm>
          <a:prstGeom prst="line">
            <a:avLst/>
          </a:prstGeom>
          <a:ln w="12700">
            <a:solidFill>
              <a:srgbClr val="0047B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5" name="object 46">
            <a:extLst>
              <a:ext uri="{FF2B5EF4-FFF2-40B4-BE49-F238E27FC236}">
                <a16:creationId xmlns:a16="http://schemas.microsoft.com/office/drawing/2014/main" id="{C893C4E5-7B31-1B49-97B2-ED2F96DA5FA1}"/>
              </a:ext>
            </a:extLst>
          </p:cNvPr>
          <p:cNvSpPr/>
          <p:nvPr/>
        </p:nvSpPr>
        <p:spPr>
          <a:xfrm>
            <a:off x="1532628" y="2841180"/>
            <a:ext cx="771803" cy="771803"/>
          </a:xfrm>
          <a:custGeom>
            <a:avLst/>
            <a:gdLst/>
            <a:ahLst/>
            <a:cxnLst/>
            <a:rect l="l" t="t" r="r" b="b"/>
            <a:pathLst>
              <a:path w="1009650" h="1009650">
                <a:moveTo>
                  <a:pt x="1009637" y="504825"/>
                </a:moveTo>
                <a:lnTo>
                  <a:pt x="1007326" y="553440"/>
                </a:lnTo>
                <a:lnTo>
                  <a:pt x="1000534" y="600748"/>
                </a:lnTo>
                <a:lnTo>
                  <a:pt x="989474" y="646537"/>
                </a:lnTo>
                <a:lnTo>
                  <a:pt x="974355" y="690596"/>
                </a:lnTo>
                <a:lnTo>
                  <a:pt x="955391" y="732714"/>
                </a:lnTo>
                <a:lnTo>
                  <a:pt x="932791" y="772678"/>
                </a:lnTo>
                <a:lnTo>
                  <a:pt x="906769" y="810276"/>
                </a:lnTo>
                <a:lnTo>
                  <a:pt x="877535" y="845298"/>
                </a:lnTo>
                <a:lnTo>
                  <a:pt x="845302" y="877532"/>
                </a:lnTo>
                <a:lnTo>
                  <a:pt x="810279" y="906766"/>
                </a:lnTo>
                <a:lnTo>
                  <a:pt x="772680" y="932789"/>
                </a:lnTo>
                <a:lnTo>
                  <a:pt x="732715" y="955389"/>
                </a:lnTo>
                <a:lnTo>
                  <a:pt x="690596" y="974354"/>
                </a:lnTo>
                <a:lnTo>
                  <a:pt x="646535" y="989473"/>
                </a:lnTo>
                <a:lnTo>
                  <a:pt x="600743" y="1000534"/>
                </a:lnTo>
                <a:lnTo>
                  <a:pt x="553431" y="1007326"/>
                </a:lnTo>
                <a:lnTo>
                  <a:pt x="504812" y="1009637"/>
                </a:lnTo>
                <a:lnTo>
                  <a:pt x="456197" y="1007326"/>
                </a:lnTo>
                <a:lnTo>
                  <a:pt x="408888" y="1000534"/>
                </a:lnTo>
                <a:lnTo>
                  <a:pt x="363099" y="989473"/>
                </a:lnTo>
                <a:lnTo>
                  <a:pt x="319040" y="974354"/>
                </a:lnTo>
                <a:lnTo>
                  <a:pt x="276923" y="955389"/>
                </a:lnTo>
                <a:lnTo>
                  <a:pt x="236959" y="932789"/>
                </a:lnTo>
                <a:lnTo>
                  <a:pt x="199360" y="906766"/>
                </a:lnTo>
                <a:lnTo>
                  <a:pt x="164338" y="877532"/>
                </a:lnTo>
                <a:lnTo>
                  <a:pt x="132104" y="845298"/>
                </a:lnTo>
                <a:lnTo>
                  <a:pt x="102870" y="810276"/>
                </a:lnTo>
                <a:lnTo>
                  <a:pt x="76847" y="772678"/>
                </a:lnTo>
                <a:lnTo>
                  <a:pt x="54248" y="732714"/>
                </a:lnTo>
                <a:lnTo>
                  <a:pt x="35283" y="690596"/>
                </a:lnTo>
                <a:lnTo>
                  <a:pt x="20164" y="646537"/>
                </a:lnTo>
                <a:lnTo>
                  <a:pt x="9102" y="600748"/>
                </a:lnTo>
                <a:lnTo>
                  <a:pt x="2310" y="553440"/>
                </a:lnTo>
                <a:lnTo>
                  <a:pt x="0" y="504825"/>
                </a:lnTo>
                <a:lnTo>
                  <a:pt x="2310" y="456207"/>
                </a:lnTo>
                <a:lnTo>
                  <a:pt x="9102" y="408897"/>
                </a:lnTo>
                <a:lnTo>
                  <a:pt x="20164" y="363106"/>
                </a:lnTo>
                <a:lnTo>
                  <a:pt x="35283" y="319045"/>
                </a:lnTo>
                <a:lnTo>
                  <a:pt x="54248" y="276927"/>
                </a:lnTo>
                <a:lnTo>
                  <a:pt x="76847" y="236962"/>
                </a:lnTo>
                <a:lnTo>
                  <a:pt x="102870" y="199363"/>
                </a:lnTo>
                <a:lnTo>
                  <a:pt x="132104" y="164340"/>
                </a:lnTo>
                <a:lnTo>
                  <a:pt x="164338" y="132105"/>
                </a:lnTo>
                <a:lnTo>
                  <a:pt x="199360" y="102871"/>
                </a:lnTo>
                <a:lnTo>
                  <a:pt x="236959" y="76848"/>
                </a:lnTo>
                <a:lnTo>
                  <a:pt x="276923" y="54248"/>
                </a:lnTo>
                <a:lnTo>
                  <a:pt x="319040" y="35283"/>
                </a:lnTo>
                <a:lnTo>
                  <a:pt x="363099" y="20164"/>
                </a:lnTo>
                <a:lnTo>
                  <a:pt x="408888" y="9102"/>
                </a:lnTo>
                <a:lnTo>
                  <a:pt x="456197" y="2310"/>
                </a:lnTo>
                <a:lnTo>
                  <a:pt x="504812" y="0"/>
                </a:lnTo>
                <a:lnTo>
                  <a:pt x="553431" y="2310"/>
                </a:lnTo>
                <a:lnTo>
                  <a:pt x="600743" y="9102"/>
                </a:lnTo>
                <a:lnTo>
                  <a:pt x="646535" y="20164"/>
                </a:lnTo>
                <a:lnTo>
                  <a:pt x="690596" y="35283"/>
                </a:lnTo>
                <a:lnTo>
                  <a:pt x="732715" y="54248"/>
                </a:lnTo>
                <a:lnTo>
                  <a:pt x="772680" y="76848"/>
                </a:lnTo>
                <a:lnTo>
                  <a:pt x="810279" y="102871"/>
                </a:lnTo>
                <a:lnTo>
                  <a:pt x="845302" y="132105"/>
                </a:lnTo>
                <a:lnTo>
                  <a:pt x="877535" y="164340"/>
                </a:lnTo>
                <a:lnTo>
                  <a:pt x="906769" y="199363"/>
                </a:lnTo>
                <a:lnTo>
                  <a:pt x="932791" y="236962"/>
                </a:lnTo>
                <a:lnTo>
                  <a:pt x="955391" y="276927"/>
                </a:lnTo>
                <a:lnTo>
                  <a:pt x="974355" y="319045"/>
                </a:lnTo>
                <a:lnTo>
                  <a:pt x="989474" y="363106"/>
                </a:lnTo>
                <a:lnTo>
                  <a:pt x="1000534" y="408897"/>
                </a:lnTo>
                <a:lnTo>
                  <a:pt x="1007326" y="456207"/>
                </a:lnTo>
                <a:lnTo>
                  <a:pt x="1009637" y="504825"/>
                </a:lnTo>
                <a:close/>
              </a:path>
            </a:pathLst>
          </a:custGeom>
          <a:solidFill>
            <a:schemeClr val="bg1"/>
          </a:solidFill>
          <a:ln w="12700">
            <a:solidFill>
              <a:srgbClr val="0046BA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3B3B3A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6" name="object 46">
            <a:extLst>
              <a:ext uri="{FF2B5EF4-FFF2-40B4-BE49-F238E27FC236}">
                <a16:creationId xmlns:a16="http://schemas.microsoft.com/office/drawing/2014/main" id="{3F49E9FA-A88B-D446-A9C7-C5F0CC30B64A}"/>
              </a:ext>
            </a:extLst>
          </p:cNvPr>
          <p:cNvSpPr/>
          <p:nvPr/>
        </p:nvSpPr>
        <p:spPr>
          <a:xfrm>
            <a:off x="1532628" y="3741572"/>
            <a:ext cx="771803" cy="771803"/>
          </a:xfrm>
          <a:custGeom>
            <a:avLst/>
            <a:gdLst/>
            <a:ahLst/>
            <a:cxnLst/>
            <a:rect l="l" t="t" r="r" b="b"/>
            <a:pathLst>
              <a:path w="1009650" h="1009650">
                <a:moveTo>
                  <a:pt x="1009637" y="504825"/>
                </a:moveTo>
                <a:lnTo>
                  <a:pt x="1007326" y="553440"/>
                </a:lnTo>
                <a:lnTo>
                  <a:pt x="1000534" y="600748"/>
                </a:lnTo>
                <a:lnTo>
                  <a:pt x="989474" y="646537"/>
                </a:lnTo>
                <a:lnTo>
                  <a:pt x="974355" y="690596"/>
                </a:lnTo>
                <a:lnTo>
                  <a:pt x="955391" y="732714"/>
                </a:lnTo>
                <a:lnTo>
                  <a:pt x="932791" y="772678"/>
                </a:lnTo>
                <a:lnTo>
                  <a:pt x="906769" y="810276"/>
                </a:lnTo>
                <a:lnTo>
                  <a:pt x="877535" y="845298"/>
                </a:lnTo>
                <a:lnTo>
                  <a:pt x="845302" y="877532"/>
                </a:lnTo>
                <a:lnTo>
                  <a:pt x="810279" y="906766"/>
                </a:lnTo>
                <a:lnTo>
                  <a:pt x="772680" y="932789"/>
                </a:lnTo>
                <a:lnTo>
                  <a:pt x="732715" y="955389"/>
                </a:lnTo>
                <a:lnTo>
                  <a:pt x="690596" y="974354"/>
                </a:lnTo>
                <a:lnTo>
                  <a:pt x="646535" y="989473"/>
                </a:lnTo>
                <a:lnTo>
                  <a:pt x="600743" y="1000534"/>
                </a:lnTo>
                <a:lnTo>
                  <a:pt x="553431" y="1007326"/>
                </a:lnTo>
                <a:lnTo>
                  <a:pt x="504812" y="1009637"/>
                </a:lnTo>
                <a:lnTo>
                  <a:pt x="456197" y="1007326"/>
                </a:lnTo>
                <a:lnTo>
                  <a:pt x="408888" y="1000534"/>
                </a:lnTo>
                <a:lnTo>
                  <a:pt x="363099" y="989473"/>
                </a:lnTo>
                <a:lnTo>
                  <a:pt x="319040" y="974354"/>
                </a:lnTo>
                <a:lnTo>
                  <a:pt x="276923" y="955389"/>
                </a:lnTo>
                <a:lnTo>
                  <a:pt x="236959" y="932789"/>
                </a:lnTo>
                <a:lnTo>
                  <a:pt x="199360" y="906766"/>
                </a:lnTo>
                <a:lnTo>
                  <a:pt x="164338" y="877532"/>
                </a:lnTo>
                <a:lnTo>
                  <a:pt x="132104" y="845298"/>
                </a:lnTo>
                <a:lnTo>
                  <a:pt x="102870" y="810276"/>
                </a:lnTo>
                <a:lnTo>
                  <a:pt x="76847" y="772678"/>
                </a:lnTo>
                <a:lnTo>
                  <a:pt x="54248" y="732714"/>
                </a:lnTo>
                <a:lnTo>
                  <a:pt x="35283" y="690596"/>
                </a:lnTo>
                <a:lnTo>
                  <a:pt x="20164" y="646537"/>
                </a:lnTo>
                <a:lnTo>
                  <a:pt x="9102" y="600748"/>
                </a:lnTo>
                <a:lnTo>
                  <a:pt x="2310" y="553440"/>
                </a:lnTo>
                <a:lnTo>
                  <a:pt x="0" y="504825"/>
                </a:lnTo>
                <a:lnTo>
                  <a:pt x="2310" y="456207"/>
                </a:lnTo>
                <a:lnTo>
                  <a:pt x="9102" y="408897"/>
                </a:lnTo>
                <a:lnTo>
                  <a:pt x="20164" y="363106"/>
                </a:lnTo>
                <a:lnTo>
                  <a:pt x="35283" y="319045"/>
                </a:lnTo>
                <a:lnTo>
                  <a:pt x="54248" y="276927"/>
                </a:lnTo>
                <a:lnTo>
                  <a:pt x="76847" y="236962"/>
                </a:lnTo>
                <a:lnTo>
                  <a:pt x="102870" y="199363"/>
                </a:lnTo>
                <a:lnTo>
                  <a:pt x="132104" y="164340"/>
                </a:lnTo>
                <a:lnTo>
                  <a:pt x="164338" y="132105"/>
                </a:lnTo>
                <a:lnTo>
                  <a:pt x="199360" y="102871"/>
                </a:lnTo>
                <a:lnTo>
                  <a:pt x="236959" y="76848"/>
                </a:lnTo>
                <a:lnTo>
                  <a:pt x="276923" y="54248"/>
                </a:lnTo>
                <a:lnTo>
                  <a:pt x="319040" y="35283"/>
                </a:lnTo>
                <a:lnTo>
                  <a:pt x="363099" y="20164"/>
                </a:lnTo>
                <a:lnTo>
                  <a:pt x="408888" y="9102"/>
                </a:lnTo>
                <a:lnTo>
                  <a:pt x="456197" y="2310"/>
                </a:lnTo>
                <a:lnTo>
                  <a:pt x="504812" y="0"/>
                </a:lnTo>
                <a:lnTo>
                  <a:pt x="553431" y="2310"/>
                </a:lnTo>
                <a:lnTo>
                  <a:pt x="600743" y="9102"/>
                </a:lnTo>
                <a:lnTo>
                  <a:pt x="646535" y="20164"/>
                </a:lnTo>
                <a:lnTo>
                  <a:pt x="690596" y="35283"/>
                </a:lnTo>
                <a:lnTo>
                  <a:pt x="732715" y="54248"/>
                </a:lnTo>
                <a:lnTo>
                  <a:pt x="772680" y="76848"/>
                </a:lnTo>
                <a:lnTo>
                  <a:pt x="810279" y="102871"/>
                </a:lnTo>
                <a:lnTo>
                  <a:pt x="845302" y="132105"/>
                </a:lnTo>
                <a:lnTo>
                  <a:pt x="877535" y="164340"/>
                </a:lnTo>
                <a:lnTo>
                  <a:pt x="906769" y="199363"/>
                </a:lnTo>
                <a:lnTo>
                  <a:pt x="932791" y="236962"/>
                </a:lnTo>
                <a:lnTo>
                  <a:pt x="955391" y="276927"/>
                </a:lnTo>
                <a:lnTo>
                  <a:pt x="974355" y="319045"/>
                </a:lnTo>
                <a:lnTo>
                  <a:pt x="989474" y="363106"/>
                </a:lnTo>
                <a:lnTo>
                  <a:pt x="1000534" y="408897"/>
                </a:lnTo>
                <a:lnTo>
                  <a:pt x="1007326" y="456207"/>
                </a:lnTo>
                <a:lnTo>
                  <a:pt x="1009637" y="504825"/>
                </a:lnTo>
                <a:close/>
              </a:path>
            </a:pathLst>
          </a:custGeom>
          <a:solidFill>
            <a:schemeClr val="bg1"/>
          </a:solidFill>
          <a:ln w="12700">
            <a:solidFill>
              <a:srgbClr val="0046BA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3B3B3A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7" name="object 46">
            <a:extLst>
              <a:ext uri="{FF2B5EF4-FFF2-40B4-BE49-F238E27FC236}">
                <a16:creationId xmlns:a16="http://schemas.microsoft.com/office/drawing/2014/main" id="{CE6BAD99-D194-F948-9748-68E2DBB385A0}"/>
              </a:ext>
            </a:extLst>
          </p:cNvPr>
          <p:cNvSpPr/>
          <p:nvPr/>
        </p:nvSpPr>
        <p:spPr>
          <a:xfrm>
            <a:off x="1532628" y="4646627"/>
            <a:ext cx="771803" cy="771803"/>
          </a:xfrm>
          <a:custGeom>
            <a:avLst/>
            <a:gdLst/>
            <a:ahLst/>
            <a:cxnLst/>
            <a:rect l="l" t="t" r="r" b="b"/>
            <a:pathLst>
              <a:path w="1009650" h="1009650">
                <a:moveTo>
                  <a:pt x="1009637" y="504825"/>
                </a:moveTo>
                <a:lnTo>
                  <a:pt x="1007326" y="553440"/>
                </a:lnTo>
                <a:lnTo>
                  <a:pt x="1000534" y="600748"/>
                </a:lnTo>
                <a:lnTo>
                  <a:pt x="989474" y="646537"/>
                </a:lnTo>
                <a:lnTo>
                  <a:pt x="974355" y="690596"/>
                </a:lnTo>
                <a:lnTo>
                  <a:pt x="955391" y="732714"/>
                </a:lnTo>
                <a:lnTo>
                  <a:pt x="932791" y="772678"/>
                </a:lnTo>
                <a:lnTo>
                  <a:pt x="906769" y="810276"/>
                </a:lnTo>
                <a:lnTo>
                  <a:pt x="877535" y="845298"/>
                </a:lnTo>
                <a:lnTo>
                  <a:pt x="845302" y="877532"/>
                </a:lnTo>
                <a:lnTo>
                  <a:pt x="810279" y="906766"/>
                </a:lnTo>
                <a:lnTo>
                  <a:pt x="772680" y="932789"/>
                </a:lnTo>
                <a:lnTo>
                  <a:pt x="732715" y="955389"/>
                </a:lnTo>
                <a:lnTo>
                  <a:pt x="690596" y="974354"/>
                </a:lnTo>
                <a:lnTo>
                  <a:pt x="646535" y="989473"/>
                </a:lnTo>
                <a:lnTo>
                  <a:pt x="600743" y="1000534"/>
                </a:lnTo>
                <a:lnTo>
                  <a:pt x="553431" y="1007326"/>
                </a:lnTo>
                <a:lnTo>
                  <a:pt x="504812" y="1009637"/>
                </a:lnTo>
                <a:lnTo>
                  <a:pt x="456197" y="1007326"/>
                </a:lnTo>
                <a:lnTo>
                  <a:pt x="408888" y="1000534"/>
                </a:lnTo>
                <a:lnTo>
                  <a:pt x="363099" y="989473"/>
                </a:lnTo>
                <a:lnTo>
                  <a:pt x="319040" y="974354"/>
                </a:lnTo>
                <a:lnTo>
                  <a:pt x="276923" y="955389"/>
                </a:lnTo>
                <a:lnTo>
                  <a:pt x="236959" y="932789"/>
                </a:lnTo>
                <a:lnTo>
                  <a:pt x="199360" y="906766"/>
                </a:lnTo>
                <a:lnTo>
                  <a:pt x="164338" y="877532"/>
                </a:lnTo>
                <a:lnTo>
                  <a:pt x="132104" y="845298"/>
                </a:lnTo>
                <a:lnTo>
                  <a:pt x="102870" y="810276"/>
                </a:lnTo>
                <a:lnTo>
                  <a:pt x="76847" y="772678"/>
                </a:lnTo>
                <a:lnTo>
                  <a:pt x="54248" y="732714"/>
                </a:lnTo>
                <a:lnTo>
                  <a:pt x="35283" y="690596"/>
                </a:lnTo>
                <a:lnTo>
                  <a:pt x="20164" y="646537"/>
                </a:lnTo>
                <a:lnTo>
                  <a:pt x="9102" y="600748"/>
                </a:lnTo>
                <a:lnTo>
                  <a:pt x="2310" y="553440"/>
                </a:lnTo>
                <a:lnTo>
                  <a:pt x="0" y="504825"/>
                </a:lnTo>
                <a:lnTo>
                  <a:pt x="2310" y="456207"/>
                </a:lnTo>
                <a:lnTo>
                  <a:pt x="9102" y="408897"/>
                </a:lnTo>
                <a:lnTo>
                  <a:pt x="20164" y="363106"/>
                </a:lnTo>
                <a:lnTo>
                  <a:pt x="35283" y="319045"/>
                </a:lnTo>
                <a:lnTo>
                  <a:pt x="54248" y="276927"/>
                </a:lnTo>
                <a:lnTo>
                  <a:pt x="76847" y="236962"/>
                </a:lnTo>
                <a:lnTo>
                  <a:pt x="102870" y="199363"/>
                </a:lnTo>
                <a:lnTo>
                  <a:pt x="132104" y="164340"/>
                </a:lnTo>
                <a:lnTo>
                  <a:pt x="164338" y="132105"/>
                </a:lnTo>
                <a:lnTo>
                  <a:pt x="199360" y="102871"/>
                </a:lnTo>
                <a:lnTo>
                  <a:pt x="236959" y="76848"/>
                </a:lnTo>
                <a:lnTo>
                  <a:pt x="276923" y="54248"/>
                </a:lnTo>
                <a:lnTo>
                  <a:pt x="319040" y="35283"/>
                </a:lnTo>
                <a:lnTo>
                  <a:pt x="363099" y="20164"/>
                </a:lnTo>
                <a:lnTo>
                  <a:pt x="408888" y="9102"/>
                </a:lnTo>
                <a:lnTo>
                  <a:pt x="456197" y="2310"/>
                </a:lnTo>
                <a:lnTo>
                  <a:pt x="504812" y="0"/>
                </a:lnTo>
                <a:lnTo>
                  <a:pt x="553431" y="2310"/>
                </a:lnTo>
                <a:lnTo>
                  <a:pt x="600743" y="9102"/>
                </a:lnTo>
                <a:lnTo>
                  <a:pt x="646535" y="20164"/>
                </a:lnTo>
                <a:lnTo>
                  <a:pt x="690596" y="35283"/>
                </a:lnTo>
                <a:lnTo>
                  <a:pt x="732715" y="54248"/>
                </a:lnTo>
                <a:lnTo>
                  <a:pt x="772680" y="76848"/>
                </a:lnTo>
                <a:lnTo>
                  <a:pt x="810279" y="102871"/>
                </a:lnTo>
                <a:lnTo>
                  <a:pt x="845302" y="132105"/>
                </a:lnTo>
                <a:lnTo>
                  <a:pt x="877535" y="164340"/>
                </a:lnTo>
                <a:lnTo>
                  <a:pt x="906769" y="199363"/>
                </a:lnTo>
                <a:lnTo>
                  <a:pt x="932791" y="236962"/>
                </a:lnTo>
                <a:lnTo>
                  <a:pt x="955391" y="276927"/>
                </a:lnTo>
                <a:lnTo>
                  <a:pt x="974355" y="319045"/>
                </a:lnTo>
                <a:lnTo>
                  <a:pt x="989474" y="363106"/>
                </a:lnTo>
                <a:lnTo>
                  <a:pt x="1000534" y="408897"/>
                </a:lnTo>
                <a:lnTo>
                  <a:pt x="1007326" y="456207"/>
                </a:lnTo>
                <a:lnTo>
                  <a:pt x="1009637" y="504825"/>
                </a:lnTo>
                <a:close/>
              </a:path>
            </a:pathLst>
          </a:custGeom>
          <a:solidFill>
            <a:schemeClr val="bg1"/>
          </a:solidFill>
          <a:ln w="12700">
            <a:solidFill>
              <a:srgbClr val="0046BA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3B3B3A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88" name="Connettore 1 87">
            <a:extLst>
              <a:ext uri="{FF2B5EF4-FFF2-40B4-BE49-F238E27FC236}">
                <a16:creationId xmlns:a16="http://schemas.microsoft.com/office/drawing/2014/main" id="{1AFBB2D4-92B3-5045-AFEE-6710A6758E0F}"/>
              </a:ext>
            </a:extLst>
          </p:cNvPr>
          <p:cNvCxnSpPr>
            <a:cxnSpLocks/>
          </p:cNvCxnSpPr>
          <p:nvPr/>
        </p:nvCxnSpPr>
        <p:spPr>
          <a:xfrm>
            <a:off x="2304476" y="3234772"/>
            <a:ext cx="4516448" cy="0"/>
          </a:xfrm>
          <a:prstGeom prst="line">
            <a:avLst/>
          </a:prstGeom>
          <a:ln w="12700">
            <a:solidFill>
              <a:srgbClr val="0047B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Connettore 1 88">
            <a:extLst>
              <a:ext uri="{FF2B5EF4-FFF2-40B4-BE49-F238E27FC236}">
                <a16:creationId xmlns:a16="http://schemas.microsoft.com/office/drawing/2014/main" id="{A4C5B1E3-9C2E-CF40-8D4B-EF68C7CDB83E}"/>
              </a:ext>
            </a:extLst>
          </p:cNvPr>
          <p:cNvCxnSpPr>
            <a:cxnSpLocks/>
          </p:cNvCxnSpPr>
          <p:nvPr/>
        </p:nvCxnSpPr>
        <p:spPr>
          <a:xfrm>
            <a:off x="2304476" y="4149172"/>
            <a:ext cx="4516448" cy="0"/>
          </a:xfrm>
          <a:prstGeom prst="line">
            <a:avLst/>
          </a:prstGeom>
          <a:ln w="12700">
            <a:solidFill>
              <a:srgbClr val="0047B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" name="Connettore 1 89">
            <a:extLst>
              <a:ext uri="{FF2B5EF4-FFF2-40B4-BE49-F238E27FC236}">
                <a16:creationId xmlns:a16="http://schemas.microsoft.com/office/drawing/2014/main" id="{112AAB5D-849E-1A4B-8E9D-6735E7968F76}"/>
              </a:ext>
            </a:extLst>
          </p:cNvPr>
          <p:cNvCxnSpPr>
            <a:cxnSpLocks/>
          </p:cNvCxnSpPr>
          <p:nvPr/>
        </p:nvCxnSpPr>
        <p:spPr>
          <a:xfrm>
            <a:off x="2304477" y="5031299"/>
            <a:ext cx="4516447" cy="0"/>
          </a:xfrm>
          <a:prstGeom prst="line">
            <a:avLst/>
          </a:prstGeom>
          <a:ln w="12700">
            <a:solidFill>
              <a:srgbClr val="0047B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1" name="Segnaposto titolo 1">
            <a:extLst>
              <a:ext uri="{FF2B5EF4-FFF2-40B4-BE49-F238E27FC236}">
                <a16:creationId xmlns:a16="http://schemas.microsoft.com/office/drawing/2014/main" id="{E4151C40-6CC7-1F48-A5D2-0456B2FD9F0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7394" y="504194"/>
            <a:ext cx="10515600" cy="725421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it-IT"/>
              <a:t>Fare clic per modificare lo stile del titolo dello schema</a:t>
            </a:r>
            <a:endParaRPr lang="it-IT" dirty="0"/>
          </a:p>
        </p:txBody>
      </p:sp>
      <p:sp>
        <p:nvSpPr>
          <p:cNvPr id="2" name="CasellaDiTesto 1">
            <a:extLst>
              <a:ext uri="{FF2B5EF4-FFF2-40B4-BE49-F238E27FC236}">
                <a16:creationId xmlns:a16="http://schemas.microsoft.com/office/drawing/2014/main" id="{33524FC6-9BDE-9E8F-D2C9-3A9F76D342E2}"/>
              </a:ext>
            </a:extLst>
          </p:cNvPr>
          <p:cNvSpPr txBox="1"/>
          <p:nvPr userDrawn="1"/>
        </p:nvSpPr>
        <p:spPr>
          <a:xfrm>
            <a:off x="3916392" y="6623540"/>
            <a:ext cx="739499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it-IT" sz="800" i="1" dirty="0"/>
              <a:t>Documento ad uso esclusivamente interno, da intendersi come strettamente riservato; non è autorizzata la trasmissione ad altri e la divulgazione all’esterno.</a:t>
            </a:r>
            <a:endParaRPr lang="en-US" sz="800" i="1" dirty="0"/>
          </a:p>
        </p:txBody>
      </p:sp>
    </p:spTree>
    <p:extLst>
      <p:ext uri="{BB962C8B-B14F-4D97-AF65-F5344CB8AC3E}">
        <p14:creationId xmlns:p14="http://schemas.microsoft.com/office/powerpoint/2010/main" val="459224719"/>
      </p:ext>
    </p:extLst>
  </p:cSld>
  <p:clrMapOvr>
    <a:masterClrMapping/>
  </p:clrMapOvr>
  <p:hf hdr="0" ft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Indice di sezione + illustrazion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" name="Segnaposto testo 2">
            <a:extLst>
              <a:ext uri="{FF2B5EF4-FFF2-40B4-BE49-F238E27FC236}">
                <a16:creationId xmlns:a16="http://schemas.microsoft.com/office/drawing/2014/main" id="{AE61EBCE-F91A-364C-8C3C-A53E2CE8D32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320356" y="1938648"/>
            <a:ext cx="8354939" cy="5762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0" i="0">
                <a:solidFill>
                  <a:srgbClr val="0047BB"/>
                </a:solidFill>
                <a:latin typeface="Avenir Next LT Pro" panose="020B0504020202020204" pitchFamily="34" charset="77"/>
              </a:defRPr>
            </a:lvl1pPr>
            <a:lvl2pPr marL="457200" indent="0">
              <a:buNone/>
              <a:defRPr sz="2400" b="0" i="0">
                <a:solidFill>
                  <a:srgbClr val="0047BB"/>
                </a:solidFill>
                <a:latin typeface="Avenir Next LT Pro" panose="020B0504020202020204" pitchFamily="34" charset="77"/>
              </a:defRPr>
            </a:lvl2pPr>
            <a:lvl3pPr marL="914400" indent="0">
              <a:buNone/>
              <a:defRPr sz="2400" b="0" i="0">
                <a:solidFill>
                  <a:srgbClr val="0047BB"/>
                </a:solidFill>
                <a:latin typeface="Avenir Next LT Pro" panose="020B0504020202020204" pitchFamily="34" charset="77"/>
              </a:defRPr>
            </a:lvl3pPr>
            <a:lvl4pPr marL="1371600" indent="0">
              <a:buNone/>
              <a:defRPr sz="2400" b="0" i="0">
                <a:solidFill>
                  <a:srgbClr val="0047BB"/>
                </a:solidFill>
                <a:latin typeface="Avenir Next LT Pro" panose="020B0504020202020204" pitchFamily="34" charset="77"/>
              </a:defRPr>
            </a:lvl4pPr>
            <a:lvl5pPr marL="1828800" indent="0">
              <a:buNone/>
              <a:defRPr sz="2400" b="0" i="0">
                <a:solidFill>
                  <a:srgbClr val="0047BB"/>
                </a:solidFill>
                <a:latin typeface="Avenir Next LT Pro" panose="020B0504020202020204" pitchFamily="34" charset="77"/>
              </a:defRPr>
            </a:lvl5pPr>
          </a:lstStyle>
          <a:p>
            <a:pPr lvl="0"/>
            <a:r>
              <a:rPr lang="it-IT" dirty="0"/>
              <a:t>Fare clic per modificare indice 1</a:t>
            </a:r>
          </a:p>
        </p:txBody>
      </p:sp>
      <p:sp>
        <p:nvSpPr>
          <p:cNvPr id="75" name="Segnaposto testo 2">
            <a:extLst>
              <a:ext uri="{FF2B5EF4-FFF2-40B4-BE49-F238E27FC236}">
                <a16:creationId xmlns:a16="http://schemas.microsoft.com/office/drawing/2014/main" id="{CF45F212-B65B-4A41-9BAD-08C2497B77E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341756" y="2858954"/>
            <a:ext cx="8354939" cy="5762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0" i="0">
                <a:solidFill>
                  <a:srgbClr val="0047BB"/>
                </a:solidFill>
                <a:latin typeface="Avenir Next LT Pro" panose="020B0504020202020204" pitchFamily="34" charset="77"/>
              </a:defRPr>
            </a:lvl1pPr>
            <a:lvl2pPr marL="457200" indent="0">
              <a:buNone/>
              <a:defRPr sz="2400" b="0" i="0">
                <a:solidFill>
                  <a:srgbClr val="0047BB"/>
                </a:solidFill>
                <a:latin typeface="Avenir Next LT Pro" panose="020B0504020202020204" pitchFamily="34" charset="77"/>
              </a:defRPr>
            </a:lvl2pPr>
            <a:lvl3pPr marL="914400" indent="0">
              <a:buNone/>
              <a:defRPr sz="2400" b="0" i="0">
                <a:solidFill>
                  <a:srgbClr val="0047BB"/>
                </a:solidFill>
                <a:latin typeface="Avenir Next LT Pro" panose="020B0504020202020204" pitchFamily="34" charset="77"/>
              </a:defRPr>
            </a:lvl3pPr>
            <a:lvl4pPr marL="1371600" indent="0">
              <a:buNone/>
              <a:defRPr sz="2400" b="0" i="0">
                <a:solidFill>
                  <a:srgbClr val="0047BB"/>
                </a:solidFill>
                <a:latin typeface="Avenir Next LT Pro" panose="020B0504020202020204" pitchFamily="34" charset="77"/>
              </a:defRPr>
            </a:lvl4pPr>
            <a:lvl5pPr marL="1828800" indent="0">
              <a:buNone/>
              <a:defRPr sz="2400" b="0" i="0">
                <a:solidFill>
                  <a:srgbClr val="0047BB"/>
                </a:solidFill>
                <a:latin typeface="Avenir Next LT Pro" panose="020B0504020202020204" pitchFamily="34" charset="77"/>
              </a:defRPr>
            </a:lvl5pPr>
          </a:lstStyle>
          <a:p>
            <a:pPr lvl="0"/>
            <a:r>
              <a:rPr lang="it-IT" dirty="0"/>
              <a:t>Fare clic per modificare indice 1</a:t>
            </a:r>
          </a:p>
        </p:txBody>
      </p:sp>
      <p:sp>
        <p:nvSpPr>
          <p:cNvPr id="76" name="Segnaposto testo 2">
            <a:extLst>
              <a:ext uri="{FF2B5EF4-FFF2-40B4-BE49-F238E27FC236}">
                <a16:creationId xmlns:a16="http://schemas.microsoft.com/office/drawing/2014/main" id="{F82CA0C2-D1FA-6D4F-B882-91540A2085E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328148" y="3771964"/>
            <a:ext cx="8354939" cy="5762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0" i="0">
                <a:solidFill>
                  <a:srgbClr val="0047BB"/>
                </a:solidFill>
                <a:latin typeface="Avenir Next LT Pro" panose="020B0504020202020204" pitchFamily="34" charset="77"/>
              </a:defRPr>
            </a:lvl1pPr>
            <a:lvl2pPr marL="457200" indent="0">
              <a:buNone/>
              <a:defRPr sz="2400" b="0" i="0">
                <a:solidFill>
                  <a:srgbClr val="0047BB"/>
                </a:solidFill>
                <a:latin typeface="Avenir Next LT Pro" panose="020B0504020202020204" pitchFamily="34" charset="77"/>
              </a:defRPr>
            </a:lvl2pPr>
            <a:lvl3pPr marL="914400" indent="0">
              <a:buNone/>
              <a:defRPr sz="2400" b="0" i="0">
                <a:solidFill>
                  <a:srgbClr val="0047BB"/>
                </a:solidFill>
                <a:latin typeface="Avenir Next LT Pro" panose="020B0504020202020204" pitchFamily="34" charset="77"/>
              </a:defRPr>
            </a:lvl3pPr>
            <a:lvl4pPr marL="1371600" indent="0">
              <a:buNone/>
              <a:defRPr sz="2400" b="0" i="0">
                <a:solidFill>
                  <a:srgbClr val="0047BB"/>
                </a:solidFill>
                <a:latin typeface="Avenir Next LT Pro" panose="020B0504020202020204" pitchFamily="34" charset="77"/>
              </a:defRPr>
            </a:lvl4pPr>
            <a:lvl5pPr marL="1828800" indent="0">
              <a:buNone/>
              <a:defRPr sz="2400" b="0" i="0">
                <a:solidFill>
                  <a:srgbClr val="0047BB"/>
                </a:solidFill>
                <a:latin typeface="Avenir Next LT Pro" panose="020B0504020202020204" pitchFamily="34" charset="77"/>
              </a:defRPr>
            </a:lvl5pPr>
          </a:lstStyle>
          <a:p>
            <a:pPr lvl="0"/>
            <a:r>
              <a:rPr lang="it-IT" dirty="0"/>
              <a:t>Fare clic per modificare indice 1</a:t>
            </a:r>
          </a:p>
        </p:txBody>
      </p:sp>
      <p:sp>
        <p:nvSpPr>
          <p:cNvPr id="77" name="Segnaposto testo 2">
            <a:extLst>
              <a:ext uri="{FF2B5EF4-FFF2-40B4-BE49-F238E27FC236}">
                <a16:creationId xmlns:a16="http://schemas.microsoft.com/office/drawing/2014/main" id="{2D12AD48-5820-7345-8F91-96DAEB84544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341755" y="4645510"/>
            <a:ext cx="8354939" cy="5762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0" i="0">
                <a:solidFill>
                  <a:srgbClr val="0047BB"/>
                </a:solidFill>
                <a:latin typeface="Avenir Next LT Pro" panose="020B0504020202020204" pitchFamily="34" charset="77"/>
              </a:defRPr>
            </a:lvl1pPr>
            <a:lvl2pPr marL="457200" indent="0">
              <a:buNone/>
              <a:defRPr sz="2400" b="0" i="0">
                <a:solidFill>
                  <a:srgbClr val="0047BB"/>
                </a:solidFill>
                <a:latin typeface="Avenir Next LT Pro" panose="020B0504020202020204" pitchFamily="34" charset="77"/>
              </a:defRPr>
            </a:lvl2pPr>
            <a:lvl3pPr marL="914400" indent="0">
              <a:buNone/>
              <a:defRPr sz="2400" b="0" i="0">
                <a:solidFill>
                  <a:srgbClr val="0047BB"/>
                </a:solidFill>
                <a:latin typeface="Avenir Next LT Pro" panose="020B0504020202020204" pitchFamily="34" charset="77"/>
              </a:defRPr>
            </a:lvl3pPr>
            <a:lvl4pPr marL="1371600" indent="0">
              <a:buNone/>
              <a:defRPr sz="2400" b="0" i="0">
                <a:solidFill>
                  <a:srgbClr val="0047BB"/>
                </a:solidFill>
                <a:latin typeface="Avenir Next LT Pro" panose="020B0504020202020204" pitchFamily="34" charset="77"/>
              </a:defRPr>
            </a:lvl4pPr>
            <a:lvl5pPr marL="1828800" indent="0">
              <a:buNone/>
              <a:defRPr sz="2400" b="0" i="0">
                <a:solidFill>
                  <a:srgbClr val="0047BB"/>
                </a:solidFill>
                <a:latin typeface="Avenir Next LT Pro" panose="020B0504020202020204" pitchFamily="34" charset="77"/>
              </a:defRPr>
            </a:lvl5pPr>
          </a:lstStyle>
          <a:p>
            <a:pPr lvl="0"/>
            <a:r>
              <a:rPr lang="it-IT" dirty="0"/>
              <a:t>Fare clic per modificare indice 1</a:t>
            </a:r>
          </a:p>
        </p:txBody>
      </p:sp>
      <p:sp>
        <p:nvSpPr>
          <p:cNvPr id="44" name="bg object 16">
            <a:extLst>
              <a:ext uri="{FF2B5EF4-FFF2-40B4-BE49-F238E27FC236}">
                <a16:creationId xmlns:a16="http://schemas.microsoft.com/office/drawing/2014/main" id="{A21AC191-3059-944D-92E8-B4EC13D05DE2}"/>
              </a:ext>
            </a:extLst>
          </p:cNvPr>
          <p:cNvSpPr/>
          <p:nvPr/>
        </p:nvSpPr>
        <p:spPr>
          <a:xfrm>
            <a:off x="11330381" y="6448615"/>
            <a:ext cx="311785" cy="410845"/>
          </a:xfrm>
          <a:custGeom>
            <a:avLst/>
            <a:gdLst/>
            <a:ahLst/>
            <a:cxnLst/>
            <a:rect l="l" t="t" r="r" b="b"/>
            <a:pathLst>
              <a:path w="311784" h="410845">
                <a:moveTo>
                  <a:pt x="311645" y="0"/>
                </a:moveTo>
                <a:lnTo>
                  <a:pt x="0" y="0"/>
                </a:lnTo>
                <a:lnTo>
                  <a:pt x="0" y="410438"/>
                </a:lnTo>
                <a:lnTo>
                  <a:pt x="311645" y="410438"/>
                </a:lnTo>
                <a:lnTo>
                  <a:pt x="311645" y="0"/>
                </a:lnTo>
                <a:close/>
              </a:path>
            </a:pathLst>
          </a:custGeom>
          <a:solidFill>
            <a:srgbClr val="0047B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6" name="Holder 7">
            <a:extLst>
              <a:ext uri="{FF2B5EF4-FFF2-40B4-BE49-F238E27FC236}">
                <a16:creationId xmlns:a16="http://schemas.microsoft.com/office/drawing/2014/main" id="{98C2DA49-F46E-2545-B8D0-7CCBF61A32C5}"/>
              </a:ext>
            </a:extLst>
          </p:cNvPr>
          <p:cNvSpPr txBox="1">
            <a:spLocks/>
          </p:cNvSpPr>
          <p:nvPr/>
        </p:nvSpPr>
        <p:spPr>
          <a:xfrm>
            <a:off x="11342726" y="6520516"/>
            <a:ext cx="256044" cy="16158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it-IT"/>
            </a:defPPr>
            <a:lvl1pPr marL="0" algn="l" defTabSz="914400" rtl="0" eaLnBrk="1" latinLnBrk="0" hangingPunct="1">
              <a:defRPr sz="850" b="1" i="0" kern="1200">
                <a:solidFill>
                  <a:schemeClr val="bg1"/>
                </a:solidFill>
                <a:latin typeface="Verdana"/>
                <a:ea typeface="+mn-ea"/>
                <a:cs typeface="Verdana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8100" algn="ctr">
              <a:spcBef>
                <a:spcPts val="105"/>
              </a:spcBef>
            </a:pPr>
            <a:fld id="{81D60167-4931-47E6-BA6A-407CBD079E47}" type="slidenum">
              <a:rPr lang="it-IT" sz="1050" b="0" i="0" spc="5" smtClean="0">
                <a:latin typeface="Avenir Next LT Pro" pitchFamily="2" charset="0"/>
              </a:rPr>
              <a:pPr marL="38100" algn="ctr">
                <a:spcBef>
                  <a:spcPts val="105"/>
                </a:spcBef>
              </a:pPr>
              <a:t>‹N›</a:t>
            </a:fld>
            <a:endParaRPr lang="it-IT" sz="1050" b="0" i="0" spc="5" dirty="0">
              <a:latin typeface="Avenir Next LT Pro" pitchFamily="2" charset="0"/>
            </a:endParaRPr>
          </a:p>
        </p:txBody>
      </p:sp>
      <p:sp>
        <p:nvSpPr>
          <p:cNvPr id="50" name="Triangolo isoscele 16">
            <a:extLst>
              <a:ext uri="{FF2B5EF4-FFF2-40B4-BE49-F238E27FC236}">
                <a16:creationId xmlns:a16="http://schemas.microsoft.com/office/drawing/2014/main" id="{578582B3-A204-6E46-B2B3-ACCF2B5FC7EA}"/>
              </a:ext>
            </a:extLst>
          </p:cNvPr>
          <p:cNvSpPr/>
          <p:nvPr/>
        </p:nvSpPr>
        <p:spPr>
          <a:xfrm rot="10800000">
            <a:off x="303127" y="-324737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52" name="Triangolo isoscele 17">
            <a:extLst>
              <a:ext uri="{FF2B5EF4-FFF2-40B4-BE49-F238E27FC236}">
                <a16:creationId xmlns:a16="http://schemas.microsoft.com/office/drawing/2014/main" id="{F0C1204B-8E28-8943-87F6-22C66DB22DA6}"/>
              </a:ext>
            </a:extLst>
          </p:cNvPr>
          <p:cNvSpPr/>
          <p:nvPr/>
        </p:nvSpPr>
        <p:spPr>
          <a:xfrm rot="10800000">
            <a:off x="11756536" y="-324737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53" name="Triangolo isoscele 18">
            <a:extLst>
              <a:ext uri="{FF2B5EF4-FFF2-40B4-BE49-F238E27FC236}">
                <a16:creationId xmlns:a16="http://schemas.microsoft.com/office/drawing/2014/main" id="{6F0B725D-05A5-AC4C-9496-FC066C6B37B0}"/>
              </a:ext>
            </a:extLst>
          </p:cNvPr>
          <p:cNvSpPr/>
          <p:nvPr/>
        </p:nvSpPr>
        <p:spPr>
          <a:xfrm>
            <a:off x="303127" y="6950754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55" name="Triangolo isoscele 19">
            <a:extLst>
              <a:ext uri="{FF2B5EF4-FFF2-40B4-BE49-F238E27FC236}">
                <a16:creationId xmlns:a16="http://schemas.microsoft.com/office/drawing/2014/main" id="{09C9464E-7BA2-3C42-97EB-FC7C02A179A0}"/>
              </a:ext>
            </a:extLst>
          </p:cNvPr>
          <p:cNvSpPr/>
          <p:nvPr/>
        </p:nvSpPr>
        <p:spPr>
          <a:xfrm>
            <a:off x="11756536" y="6950754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56" name="Triangolo isoscele 20">
            <a:extLst>
              <a:ext uri="{FF2B5EF4-FFF2-40B4-BE49-F238E27FC236}">
                <a16:creationId xmlns:a16="http://schemas.microsoft.com/office/drawing/2014/main" id="{492AE717-7262-874B-A349-AB0E87FAED4E}"/>
              </a:ext>
            </a:extLst>
          </p:cNvPr>
          <p:cNvSpPr/>
          <p:nvPr/>
        </p:nvSpPr>
        <p:spPr>
          <a:xfrm rot="5400000">
            <a:off x="-276040" y="885372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57" name="Triangolo isoscele 21">
            <a:extLst>
              <a:ext uri="{FF2B5EF4-FFF2-40B4-BE49-F238E27FC236}">
                <a16:creationId xmlns:a16="http://schemas.microsoft.com/office/drawing/2014/main" id="{7359C621-E128-FE4D-AFD6-2394CE5C3B9D}"/>
              </a:ext>
            </a:extLst>
          </p:cNvPr>
          <p:cNvSpPr/>
          <p:nvPr/>
        </p:nvSpPr>
        <p:spPr>
          <a:xfrm rot="5400000">
            <a:off x="-276039" y="5982836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58" name="Triangolo isoscele 22">
            <a:extLst>
              <a:ext uri="{FF2B5EF4-FFF2-40B4-BE49-F238E27FC236}">
                <a16:creationId xmlns:a16="http://schemas.microsoft.com/office/drawing/2014/main" id="{0957E77E-2AFA-9348-A826-AAFB7A540FD4}"/>
              </a:ext>
            </a:extLst>
          </p:cNvPr>
          <p:cNvSpPr/>
          <p:nvPr/>
        </p:nvSpPr>
        <p:spPr>
          <a:xfrm rot="16200000">
            <a:off x="12331119" y="885372"/>
            <a:ext cx="132336" cy="261257"/>
          </a:xfrm>
          <a:prstGeom prst="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60" name="Triangolo isoscele 23">
            <a:extLst>
              <a:ext uri="{FF2B5EF4-FFF2-40B4-BE49-F238E27FC236}">
                <a16:creationId xmlns:a16="http://schemas.microsoft.com/office/drawing/2014/main" id="{1270546B-AB85-7F4B-921D-D161A44C9957}"/>
              </a:ext>
            </a:extLst>
          </p:cNvPr>
          <p:cNvSpPr/>
          <p:nvPr/>
        </p:nvSpPr>
        <p:spPr>
          <a:xfrm rot="16200000">
            <a:off x="12331120" y="5982836"/>
            <a:ext cx="132336" cy="261257"/>
          </a:xfrm>
          <a:prstGeom prst="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62" name="Triangolo isoscele 31">
            <a:extLst>
              <a:ext uri="{FF2B5EF4-FFF2-40B4-BE49-F238E27FC236}">
                <a16:creationId xmlns:a16="http://schemas.microsoft.com/office/drawing/2014/main" id="{B007B432-5433-3F45-A703-0A95B5B98F70}"/>
              </a:ext>
            </a:extLst>
          </p:cNvPr>
          <p:cNvSpPr/>
          <p:nvPr/>
        </p:nvSpPr>
        <p:spPr>
          <a:xfrm rot="10800000">
            <a:off x="303127" y="-324737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64" name="Triangolo isoscele 32">
            <a:extLst>
              <a:ext uri="{FF2B5EF4-FFF2-40B4-BE49-F238E27FC236}">
                <a16:creationId xmlns:a16="http://schemas.microsoft.com/office/drawing/2014/main" id="{C509EE08-9330-354B-A23C-1780291E0CD0}"/>
              </a:ext>
            </a:extLst>
          </p:cNvPr>
          <p:cNvSpPr/>
          <p:nvPr/>
        </p:nvSpPr>
        <p:spPr>
          <a:xfrm rot="10800000">
            <a:off x="11756536" y="-324737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65" name="Triangolo isoscele 33">
            <a:extLst>
              <a:ext uri="{FF2B5EF4-FFF2-40B4-BE49-F238E27FC236}">
                <a16:creationId xmlns:a16="http://schemas.microsoft.com/office/drawing/2014/main" id="{A06061CD-2D33-2949-B25D-42D86A4B8F7E}"/>
              </a:ext>
            </a:extLst>
          </p:cNvPr>
          <p:cNvSpPr/>
          <p:nvPr/>
        </p:nvSpPr>
        <p:spPr>
          <a:xfrm>
            <a:off x="303127" y="6950754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66" name="Triangolo isoscele 34">
            <a:extLst>
              <a:ext uri="{FF2B5EF4-FFF2-40B4-BE49-F238E27FC236}">
                <a16:creationId xmlns:a16="http://schemas.microsoft.com/office/drawing/2014/main" id="{86DAC96B-4BDC-D54D-993A-6FF1FDCBBBF3}"/>
              </a:ext>
            </a:extLst>
          </p:cNvPr>
          <p:cNvSpPr/>
          <p:nvPr/>
        </p:nvSpPr>
        <p:spPr>
          <a:xfrm>
            <a:off x="11756536" y="6950754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67" name="Triangolo isoscele 35">
            <a:extLst>
              <a:ext uri="{FF2B5EF4-FFF2-40B4-BE49-F238E27FC236}">
                <a16:creationId xmlns:a16="http://schemas.microsoft.com/office/drawing/2014/main" id="{96DE6BBA-86BF-3C46-9A14-769E3A9BF351}"/>
              </a:ext>
            </a:extLst>
          </p:cNvPr>
          <p:cNvSpPr/>
          <p:nvPr/>
        </p:nvSpPr>
        <p:spPr>
          <a:xfrm rot="5400000">
            <a:off x="-276040" y="885372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68" name="Triangolo isoscele 36">
            <a:extLst>
              <a:ext uri="{FF2B5EF4-FFF2-40B4-BE49-F238E27FC236}">
                <a16:creationId xmlns:a16="http://schemas.microsoft.com/office/drawing/2014/main" id="{4ECF7C09-48CB-8741-B3CB-459AD6720363}"/>
              </a:ext>
            </a:extLst>
          </p:cNvPr>
          <p:cNvSpPr/>
          <p:nvPr/>
        </p:nvSpPr>
        <p:spPr>
          <a:xfrm rot="5400000">
            <a:off x="-276039" y="5982836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69" name="Triangolo isoscele 37">
            <a:extLst>
              <a:ext uri="{FF2B5EF4-FFF2-40B4-BE49-F238E27FC236}">
                <a16:creationId xmlns:a16="http://schemas.microsoft.com/office/drawing/2014/main" id="{9B281C8A-C1E5-7D4D-AB27-5B3901C28196}"/>
              </a:ext>
            </a:extLst>
          </p:cNvPr>
          <p:cNvSpPr/>
          <p:nvPr/>
        </p:nvSpPr>
        <p:spPr>
          <a:xfrm rot="16200000">
            <a:off x="12331119" y="885372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70" name="Triangolo isoscele 38">
            <a:extLst>
              <a:ext uri="{FF2B5EF4-FFF2-40B4-BE49-F238E27FC236}">
                <a16:creationId xmlns:a16="http://schemas.microsoft.com/office/drawing/2014/main" id="{9EDB5FCA-9E1A-A34D-8F08-68D793D142E1}"/>
              </a:ext>
            </a:extLst>
          </p:cNvPr>
          <p:cNvSpPr/>
          <p:nvPr/>
        </p:nvSpPr>
        <p:spPr>
          <a:xfrm rot="16200000">
            <a:off x="12331120" y="5982836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pic>
        <p:nvPicPr>
          <p:cNvPr id="71" name="Elemento grafico 70">
            <a:extLst>
              <a:ext uri="{FF2B5EF4-FFF2-40B4-BE49-F238E27FC236}">
                <a16:creationId xmlns:a16="http://schemas.microsoft.com/office/drawing/2014/main" id="{DCC144D8-9208-4E4F-8E3D-BE547EFA3058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081892" y="-5080"/>
            <a:ext cx="1560273" cy="309880"/>
          </a:xfrm>
          <a:prstGeom prst="rect">
            <a:avLst/>
          </a:prstGeom>
        </p:spPr>
      </p:pic>
      <p:sp>
        <p:nvSpPr>
          <p:cNvPr id="72" name="object 267">
            <a:extLst>
              <a:ext uri="{FF2B5EF4-FFF2-40B4-BE49-F238E27FC236}">
                <a16:creationId xmlns:a16="http://schemas.microsoft.com/office/drawing/2014/main" id="{92B4529D-1D0E-AA4C-A179-3E5D78AE32CA}"/>
              </a:ext>
            </a:extLst>
          </p:cNvPr>
          <p:cNvSpPr/>
          <p:nvPr/>
        </p:nvSpPr>
        <p:spPr>
          <a:xfrm>
            <a:off x="0" y="1251482"/>
            <a:ext cx="675518" cy="45719"/>
          </a:xfrm>
          <a:custGeom>
            <a:avLst/>
            <a:gdLst/>
            <a:ahLst/>
            <a:cxnLst/>
            <a:rect l="l" t="t" r="r" b="b"/>
            <a:pathLst>
              <a:path w="657225">
                <a:moveTo>
                  <a:pt x="0" y="0"/>
                </a:moveTo>
                <a:lnTo>
                  <a:pt x="656678" y="0"/>
                </a:lnTo>
              </a:path>
            </a:pathLst>
          </a:custGeom>
          <a:ln w="76200">
            <a:solidFill>
              <a:srgbClr val="EEDC00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JhengHei UI Light" panose="020B0304030504040204" pitchFamily="34" charset="-120"/>
              <a:ea typeface="Microsoft JhengHei UI Light" panose="020B0304030504040204" pitchFamily="34" charset="-120"/>
              <a:cs typeface="+mn-cs"/>
            </a:endParaRPr>
          </a:p>
        </p:txBody>
      </p:sp>
      <p:sp>
        <p:nvSpPr>
          <p:cNvPr id="73" name="Arco 72">
            <a:extLst>
              <a:ext uri="{FF2B5EF4-FFF2-40B4-BE49-F238E27FC236}">
                <a16:creationId xmlns:a16="http://schemas.microsoft.com/office/drawing/2014/main" id="{E288BBFD-56DB-5D48-8DFB-663C2DDAF59C}"/>
              </a:ext>
            </a:extLst>
          </p:cNvPr>
          <p:cNvSpPr/>
          <p:nvPr/>
        </p:nvSpPr>
        <p:spPr>
          <a:xfrm>
            <a:off x="1221228" y="1643720"/>
            <a:ext cx="699715" cy="699715"/>
          </a:xfrm>
          <a:prstGeom prst="arc">
            <a:avLst/>
          </a:prstGeom>
          <a:ln w="12700">
            <a:solidFill>
              <a:srgbClr val="0047B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1200" cap="none" spc="0" normalizeH="0" baseline="0" noProof="0">
              <a:ln>
                <a:noFill/>
              </a:ln>
              <a:solidFill>
                <a:srgbClr val="3B3B3A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pSp>
        <p:nvGrpSpPr>
          <p:cNvPr id="78" name="Gruppo 77">
            <a:extLst>
              <a:ext uri="{FF2B5EF4-FFF2-40B4-BE49-F238E27FC236}">
                <a16:creationId xmlns:a16="http://schemas.microsoft.com/office/drawing/2014/main" id="{B7BA2252-9805-A949-BD93-3F93B1B83A62}"/>
              </a:ext>
            </a:extLst>
          </p:cNvPr>
          <p:cNvGrpSpPr/>
          <p:nvPr/>
        </p:nvGrpSpPr>
        <p:grpSpPr>
          <a:xfrm>
            <a:off x="643244" y="1375851"/>
            <a:ext cx="562798" cy="562797"/>
            <a:chOff x="630463" y="1998492"/>
            <a:chExt cx="1027152" cy="1027151"/>
          </a:xfrm>
        </p:grpSpPr>
        <p:sp>
          <p:nvSpPr>
            <p:cNvPr id="79" name="object 46">
              <a:extLst>
                <a:ext uri="{FF2B5EF4-FFF2-40B4-BE49-F238E27FC236}">
                  <a16:creationId xmlns:a16="http://schemas.microsoft.com/office/drawing/2014/main" id="{22B8FB41-644C-C240-8B1D-7038B0BB94B8}"/>
                </a:ext>
              </a:extLst>
            </p:cNvPr>
            <p:cNvSpPr/>
            <p:nvPr/>
          </p:nvSpPr>
          <p:spPr>
            <a:xfrm>
              <a:off x="630463" y="1998492"/>
              <a:ext cx="1027152" cy="1027151"/>
            </a:xfrm>
            <a:custGeom>
              <a:avLst/>
              <a:gdLst/>
              <a:ahLst/>
              <a:cxnLst/>
              <a:rect l="l" t="t" r="r" b="b"/>
              <a:pathLst>
                <a:path w="1009650" h="1009650">
                  <a:moveTo>
                    <a:pt x="1009637" y="504825"/>
                  </a:moveTo>
                  <a:lnTo>
                    <a:pt x="1007326" y="553440"/>
                  </a:lnTo>
                  <a:lnTo>
                    <a:pt x="1000534" y="600748"/>
                  </a:lnTo>
                  <a:lnTo>
                    <a:pt x="989474" y="646537"/>
                  </a:lnTo>
                  <a:lnTo>
                    <a:pt x="974355" y="690596"/>
                  </a:lnTo>
                  <a:lnTo>
                    <a:pt x="955391" y="732714"/>
                  </a:lnTo>
                  <a:lnTo>
                    <a:pt x="932791" y="772678"/>
                  </a:lnTo>
                  <a:lnTo>
                    <a:pt x="906769" y="810276"/>
                  </a:lnTo>
                  <a:lnTo>
                    <a:pt x="877535" y="845298"/>
                  </a:lnTo>
                  <a:lnTo>
                    <a:pt x="845302" y="877532"/>
                  </a:lnTo>
                  <a:lnTo>
                    <a:pt x="810279" y="906766"/>
                  </a:lnTo>
                  <a:lnTo>
                    <a:pt x="772680" y="932789"/>
                  </a:lnTo>
                  <a:lnTo>
                    <a:pt x="732715" y="955389"/>
                  </a:lnTo>
                  <a:lnTo>
                    <a:pt x="690596" y="974354"/>
                  </a:lnTo>
                  <a:lnTo>
                    <a:pt x="646535" y="989473"/>
                  </a:lnTo>
                  <a:lnTo>
                    <a:pt x="600743" y="1000534"/>
                  </a:lnTo>
                  <a:lnTo>
                    <a:pt x="553431" y="1007326"/>
                  </a:lnTo>
                  <a:lnTo>
                    <a:pt x="504812" y="1009637"/>
                  </a:lnTo>
                  <a:lnTo>
                    <a:pt x="456197" y="1007326"/>
                  </a:lnTo>
                  <a:lnTo>
                    <a:pt x="408888" y="1000534"/>
                  </a:lnTo>
                  <a:lnTo>
                    <a:pt x="363099" y="989473"/>
                  </a:lnTo>
                  <a:lnTo>
                    <a:pt x="319040" y="974354"/>
                  </a:lnTo>
                  <a:lnTo>
                    <a:pt x="276923" y="955389"/>
                  </a:lnTo>
                  <a:lnTo>
                    <a:pt x="236959" y="932789"/>
                  </a:lnTo>
                  <a:lnTo>
                    <a:pt x="199360" y="906766"/>
                  </a:lnTo>
                  <a:lnTo>
                    <a:pt x="164338" y="877532"/>
                  </a:lnTo>
                  <a:lnTo>
                    <a:pt x="132104" y="845298"/>
                  </a:lnTo>
                  <a:lnTo>
                    <a:pt x="102870" y="810276"/>
                  </a:lnTo>
                  <a:lnTo>
                    <a:pt x="76847" y="772678"/>
                  </a:lnTo>
                  <a:lnTo>
                    <a:pt x="54248" y="732714"/>
                  </a:lnTo>
                  <a:lnTo>
                    <a:pt x="35283" y="690596"/>
                  </a:lnTo>
                  <a:lnTo>
                    <a:pt x="20164" y="646537"/>
                  </a:lnTo>
                  <a:lnTo>
                    <a:pt x="9102" y="600748"/>
                  </a:lnTo>
                  <a:lnTo>
                    <a:pt x="2310" y="553440"/>
                  </a:lnTo>
                  <a:lnTo>
                    <a:pt x="0" y="504825"/>
                  </a:lnTo>
                  <a:lnTo>
                    <a:pt x="2310" y="456207"/>
                  </a:lnTo>
                  <a:lnTo>
                    <a:pt x="9102" y="408897"/>
                  </a:lnTo>
                  <a:lnTo>
                    <a:pt x="20164" y="363106"/>
                  </a:lnTo>
                  <a:lnTo>
                    <a:pt x="35283" y="319045"/>
                  </a:lnTo>
                  <a:lnTo>
                    <a:pt x="54248" y="276927"/>
                  </a:lnTo>
                  <a:lnTo>
                    <a:pt x="76847" y="236962"/>
                  </a:lnTo>
                  <a:lnTo>
                    <a:pt x="102870" y="199363"/>
                  </a:lnTo>
                  <a:lnTo>
                    <a:pt x="132104" y="164340"/>
                  </a:lnTo>
                  <a:lnTo>
                    <a:pt x="164338" y="132105"/>
                  </a:lnTo>
                  <a:lnTo>
                    <a:pt x="199360" y="102871"/>
                  </a:lnTo>
                  <a:lnTo>
                    <a:pt x="236959" y="76848"/>
                  </a:lnTo>
                  <a:lnTo>
                    <a:pt x="276923" y="54248"/>
                  </a:lnTo>
                  <a:lnTo>
                    <a:pt x="319040" y="35283"/>
                  </a:lnTo>
                  <a:lnTo>
                    <a:pt x="363099" y="20164"/>
                  </a:lnTo>
                  <a:lnTo>
                    <a:pt x="408888" y="9102"/>
                  </a:lnTo>
                  <a:lnTo>
                    <a:pt x="456197" y="2310"/>
                  </a:lnTo>
                  <a:lnTo>
                    <a:pt x="504812" y="0"/>
                  </a:lnTo>
                  <a:lnTo>
                    <a:pt x="553431" y="2310"/>
                  </a:lnTo>
                  <a:lnTo>
                    <a:pt x="600743" y="9102"/>
                  </a:lnTo>
                  <a:lnTo>
                    <a:pt x="646535" y="20164"/>
                  </a:lnTo>
                  <a:lnTo>
                    <a:pt x="690596" y="35283"/>
                  </a:lnTo>
                  <a:lnTo>
                    <a:pt x="732715" y="54248"/>
                  </a:lnTo>
                  <a:lnTo>
                    <a:pt x="772680" y="76848"/>
                  </a:lnTo>
                  <a:lnTo>
                    <a:pt x="810279" y="102871"/>
                  </a:lnTo>
                  <a:lnTo>
                    <a:pt x="845302" y="132105"/>
                  </a:lnTo>
                  <a:lnTo>
                    <a:pt x="877535" y="164340"/>
                  </a:lnTo>
                  <a:lnTo>
                    <a:pt x="906769" y="199363"/>
                  </a:lnTo>
                  <a:lnTo>
                    <a:pt x="932791" y="236962"/>
                  </a:lnTo>
                  <a:lnTo>
                    <a:pt x="955391" y="276927"/>
                  </a:lnTo>
                  <a:lnTo>
                    <a:pt x="974355" y="319045"/>
                  </a:lnTo>
                  <a:lnTo>
                    <a:pt x="989474" y="363106"/>
                  </a:lnTo>
                  <a:lnTo>
                    <a:pt x="1000534" y="408897"/>
                  </a:lnTo>
                  <a:lnTo>
                    <a:pt x="1007326" y="456207"/>
                  </a:lnTo>
                  <a:lnTo>
                    <a:pt x="1009637" y="504825"/>
                  </a:lnTo>
                  <a:close/>
                </a:path>
              </a:pathLst>
            </a:custGeom>
            <a:solidFill>
              <a:schemeClr val="bg1"/>
            </a:solidFill>
            <a:ln w="12700">
              <a:solidFill>
                <a:srgbClr val="0046BA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3B3B3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80" name="object 47">
              <a:extLst>
                <a:ext uri="{FF2B5EF4-FFF2-40B4-BE49-F238E27FC236}">
                  <a16:creationId xmlns:a16="http://schemas.microsoft.com/office/drawing/2014/main" id="{D6EB08F2-7F58-AD4B-9D66-6A57B02D4044}"/>
                </a:ext>
              </a:extLst>
            </p:cNvPr>
            <p:cNvSpPr/>
            <p:nvPr/>
          </p:nvSpPr>
          <p:spPr>
            <a:xfrm>
              <a:off x="718643" y="2086672"/>
              <a:ext cx="850791" cy="850791"/>
            </a:xfrm>
            <a:custGeom>
              <a:avLst/>
              <a:gdLst/>
              <a:ahLst/>
              <a:cxnLst/>
              <a:rect l="l" t="t" r="r" b="b"/>
              <a:pathLst>
                <a:path w="836294" h="836294">
                  <a:moveTo>
                    <a:pt x="417944" y="0"/>
                  </a:moveTo>
                  <a:lnTo>
                    <a:pt x="369203" y="2811"/>
                  </a:lnTo>
                  <a:lnTo>
                    <a:pt x="322114" y="11038"/>
                  </a:lnTo>
                  <a:lnTo>
                    <a:pt x="276989" y="24365"/>
                  </a:lnTo>
                  <a:lnTo>
                    <a:pt x="234143" y="42480"/>
                  </a:lnTo>
                  <a:lnTo>
                    <a:pt x="193890" y="65069"/>
                  </a:lnTo>
                  <a:lnTo>
                    <a:pt x="156542" y="91818"/>
                  </a:lnTo>
                  <a:lnTo>
                    <a:pt x="122413" y="122413"/>
                  </a:lnTo>
                  <a:lnTo>
                    <a:pt x="91818" y="156542"/>
                  </a:lnTo>
                  <a:lnTo>
                    <a:pt x="65069" y="193890"/>
                  </a:lnTo>
                  <a:lnTo>
                    <a:pt x="42480" y="234143"/>
                  </a:lnTo>
                  <a:lnTo>
                    <a:pt x="24365" y="276989"/>
                  </a:lnTo>
                  <a:lnTo>
                    <a:pt x="11038" y="322114"/>
                  </a:lnTo>
                  <a:lnTo>
                    <a:pt x="2811" y="369203"/>
                  </a:lnTo>
                  <a:lnTo>
                    <a:pt x="0" y="417944"/>
                  </a:lnTo>
                  <a:lnTo>
                    <a:pt x="2811" y="466685"/>
                  </a:lnTo>
                  <a:lnTo>
                    <a:pt x="11038" y="513774"/>
                  </a:lnTo>
                  <a:lnTo>
                    <a:pt x="24365" y="558898"/>
                  </a:lnTo>
                  <a:lnTo>
                    <a:pt x="42480" y="601744"/>
                  </a:lnTo>
                  <a:lnTo>
                    <a:pt x="65069" y="641998"/>
                  </a:lnTo>
                  <a:lnTo>
                    <a:pt x="91818" y="679346"/>
                  </a:lnTo>
                  <a:lnTo>
                    <a:pt x="122413" y="713474"/>
                  </a:lnTo>
                  <a:lnTo>
                    <a:pt x="156542" y="744070"/>
                  </a:lnTo>
                  <a:lnTo>
                    <a:pt x="193890" y="770819"/>
                  </a:lnTo>
                  <a:lnTo>
                    <a:pt x="234143" y="793407"/>
                  </a:lnTo>
                  <a:lnTo>
                    <a:pt x="276989" y="811522"/>
                  </a:lnTo>
                  <a:lnTo>
                    <a:pt x="322114" y="824850"/>
                  </a:lnTo>
                  <a:lnTo>
                    <a:pt x="369203" y="833076"/>
                  </a:lnTo>
                  <a:lnTo>
                    <a:pt x="417944" y="835888"/>
                  </a:lnTo>
                  <a:lnTo>
                    <a:pt x="466685" y="833076"/>
                  </a:lnTo>
                  <a:lnTo>
                    <a:pt x="513774" y="824850"/>
                  </a:lnTo>
                  <a:lnTo>
                    <a:pt x="558898" y="811522"/>
                  </a:lnTo>
                  <a:lnTo>
                    <a:pt x="601744" y="793407"/>
                  </a:lnTo>
                  <a:lnTo>
                    <a:pt x="641998" y="770819"/>
                  </a:lnTo>
                  <a:lnTo>
                    <a:pt x="679346" y="744070"/>
                  </a:lnTo>
                  <a:lnTo>
                    <a:pt x="713474" y="713474"/>
                  </a:lnTo>
                  <a:lnTo>
                    <a:pt x="744070" y="679346"/>
                  </a:lnTo>
                  <a:lnTo>
                    <a:pt x="770819" y="641998"/>
                  </a:lnTo>
                  <a:lnTo>
                    <a:pt x="793407" y="601744"/>
                  </a:lnTo>
                  <a:lnTo>
                    <a:pt x="811522" y="558898"/>
                  </a:lnTo>
                  <a:lnTo>
                    <a:pt x="824850" y="513774"/>
                  </a:lnTo>
                  <a:lnTo>
                    <a:pt x="833076" y="466685"/>
                  </a:lnTo>
                  <a:lnTo>
                    <a:pt x="835888" y="417944"/>
                  </a:lnTo>
                  <a:lnTo>
                    <a:pt x="833076" y="369203"/>
                  </a:lnTo>
                  <a:lnTo>
                    <a:pt x="824850" y="322114"/>
                  </a:lnTo>
                  <a:lnTo>
                    <a:pt x="811522" y="276989"/>
                  </a:lnTo>
                  <a:lnTo>
                    <a:pt x="793407" y="234143"/>
                  </a:lnTo>
                  <a:lnTo>
                    <a:pt x="770819" y="193890"/>
                  </a:lnTo>
                  <a:lnTo>
                    <a:pt x="744070" y="156542"/>
                  </a:lnTo>
                  <a:lnTo>
                    <a:pt x="713474" y="122413"/>
                  </a:lnTo>
                  <a:lnTo>
                    <a:pt x="679346" y="91818"/>
                  </a:lnTo>
                  <a:lnTo>
                    <a:pt x="641998" y="65069"/>
                  </a:lnTo>
                  <a:lnTo>
                    <a:pt x="601744" y="42480"/>
                  </a:lnTo>
                  <a:lnTo>
                    <a:pt x="558898" y="24365"/>
                  </a:lnTo>
                  <a:lnTo>
                    <a:pt x="513774" y="11038"/>
                  </a:lnTo>
                  <a:lnTo>
                    <a:pt x="466685" y="2811"/>
                  </a:lnTo>
                  <a:lnTo>
                    <a:pt x="417944" y="0"/>
                  </a:lnTo>
                  <a:close/>
                </a:path>
              </a:pathLst>
            </a:custGeom>
            <a:solidFill>
              <a:srgbClr val="EEDC00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3B3B3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pic>
          <p:nvPicPr>
            <p:cNvPr id="81" name="Elemento grafico 80" descr="Obiettivo contorno">
              <a:extLst>
                <a:ext uri="{FF2B5EF4-FFF2-40B4-BE49-F238E27FC236}">
                  <a16:creationId xmlns:a16="http://schemas.microsoft.com/office/drawing/2014/main" id="{0C20B10F-1BDD-ED4F-AC23-2060E4AD2B8A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/>
            <a:stretch/>
          </p:blipFill>
          <p:spPr>
            <a:xfrm>
              <a:off x="813092" y="2174253"/>
              <a:ext cx="661893" cy="661893"/>
            </a:xfrm>
            <a:prstGeom prst="rect">
              <a:avLst/>
            </a:prstGeom>
          </p:spPr>
        </p:pic>
      </p:grpSp>
      <p:cxnSp>
        <p:nvCxnSpPr>
          <p:cNvPr id="82" name="Connettore 1 81">
            <a:extLst>
              <a:ext uri="{FF2B5EF4-FFF2-40B4-BE49-F238E27FC236}">
                <a16:creationId xmlns:a16="http://schemas.microsoft.com/office/drawing/2014/main" id="{C3768425-53DF-F045-B011-1F5D4D049D8F}"/>
              </a:ext>
            </a:extLst>
          </p:cNvPr>
          <p:cNvCxnSpPr>
            <a:cxnSpLocks/>
          </p:cNvCxnSpPr>
          <p:nvPr/>
        </p:nvCxnSpPr>
        <p:spPr>
          <a:xfrm>
            <a:off x="1206042" y="1643720"/>
            <a:ext cx="368345" cy="0"/>
          </a:xfrm>
          <a:prstGeom prst="line">
            <a:avLst/>
          </a:prstGeom>
          <a:ln w="12700">
            <a:solidFill>
              <a:srgbClr val="0047B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object 46">
            <a:extLst>
              <a:ext uri="{FF2B5EF4-FFF2-40B4-BE49-F238E27FC236}">
                <a16:creationId xmlns:a16="http://schemas.microsoft.com/office/drawing/2014/main" id="{1D55961B-69DE-8846-9689-CF3CEA6B0396}"/>
              </a:ext>
            </a:extLst>
          </p:cNvPr>
          <p:cNvSpPr/>
          <p:nvPr/>
        </p:nvSpPr>
        <p:spPr>
          <a:xfrm>
            <a:off x="1532628" y="1950635"/>
            <a:ext cx="771803" cy="771803"/>
          </a:xfrm>
          <a:custGeom>
            <a:avLst/>
            <a:gdLst/>
            <a:ahLst/>
            <a:cxnLst/>
            <a:rect l="l" t="t" r="r" b="b"/>
            <a:pathLst>
              <a:path w="1009650" h="1009650">
                <a:moveTo>
                  <a:pt x="1009637" y="504825"/>
                </a:moveTo>
                <a:lnTo>
                  <a:pt x="1007326" y="553440"/>
                </a:lnTo>
                <a:lnTo>
                  <a:pt x="1000534" y="600748"/>
                </a:lnTo>
                <a:lnTo>
                  <a:pt x="989474" y="646537"/>
                </a:lnTo>
                <a:lnTo>
                  <a:pt x="974355" y="690596"/>
                </a:lnTo>
                <a:lnTo>
                  <a:pt x="955391" y="732714"/>
                </a:lnTo>
                <a:lnTo>
                  <a:pt x="932791" y="772678"/>
                </a:lnTo>
                <a:lnTo>
                  <a:pt x="906769" y="810276"/>
                </a:lnTo>
                <a:lnTo>
                  <a:pt x="877535" y="845298"/>
                </a:lnTo>
                <a:lnTo>
                  <a:pt x="845302" y="877532"/>
                </a:lnTo>
                <a:lnTo>
                  <a:pt x="810279" y="906766"/>
                </a:lnTo>
                <a:lnTo>
                  <a:pt x="772680" y="932789"/>
                </a:lnTo>
                <a:lnTo>
                  <a:pt x="732715" y="955389"/>
                </a:lnTo>
                <a:lnTo>
                  <a:pt x="690596" y="974354"/>
                </a:lnTo>
                <a:lnTo>
                  <a:pt x="646535" y="989473"/>
                </a:lnTo>
                <a:lnTo>
                  <a:pt x="600743" y="1000534"/>
                </a:lnTo>
                <a:lnTo>
                  <a:pt x="553431" y="1007326"/>
                </a:lnTo>
                <a:lnTo>
                  <a:pt x="504812" y="1009637"/>
                </a:lnTo>
                <a:lnTo>
                  <a:pt x="456197" y="1007326"/>
                </a:lnTo>
                <a:lnTo>
                  <a:pt x="408888" y="1000534"/>
                </a:lnTo>
                <a:lnTo>
                  <a:pt x="363099" y="989473"/>
                </a:lnTo>
                <a:lnTo>
                  <a:pt x="319040" y="974354"/>
                </a:lnTo>
                <a:lnTo>
                  <a:pt x="276923" y="955389"/>
                </a:lnTo>
                <a:lnTo>
                  <a:pt x="236959" y="932789"/>
                </a:lnTo>
                <a:lnTo>
                  <a:pt x="199360" y="906766"/>
                </a:lnTo>
                <a:lnTo>
                  <a:pt x="164338" y="877532"/>
                </a:lnTo>
                <a:lnTo>
                  <a:pt x="132104" y="845298"/>
                </a:lnTo>
                <a:lnTo>
                  <a:pt x="102870" y="810276"/>
                </a:lnTo>
                <a:lnTo>
                  <a:pt x="76847" y="772678"/>
                </a:lnTo>
                <a:lnTo>
                  <a:pt x="54248" y="732714"/>
                </a:lnTo>
                <a:lnTo>
                  <a:pt x="35283" y="690596"/>
                </a:lnTo>
                <a:lnTo>
                  <a:pt x="20164" y="646537"/>
                </a:lnTo>
                <a:lnTo>
                  <a:pt x="9102" y="600748"/>
                </a:lnTo>
                <a:lnTo>
                  <a:pt x="2310" y="553440"/>
                </a:lnTo>
                <a:lnTo>
                  <a:pt x="0" y="504825"/>
                </a:lnTo>
                <a:lnTo>
                  <a:pt x="2310" y="456207"/>
                </a:lnTo>
                <a:lnTo>
                  <a:pt x="9102" y="408897"/>
                </a:lnTo>
                <a:lnTo>
                  <a:pt x="20164" y="363106"/>
                </a:lnTo>
                <a:lnTo>
                  <a:pt x="35283" y="319045"/>
                </a:lnTo>
                <a:lnTo>
                  <a:pt x="54248" y="276927"/>
                </a:lnTo>
                <a:lnTo>
                  <a:pt x="76847" y="236962"/>
                </a:lnTo>
                <a:lnTo>
                  <a:pt x="102870" y="199363"/>
                </a:lnTo>
                <a:lnTo>
                  <a:pt x="132104" y="164340"/>
                </a:lnTo>
                <a:lnTo>
                  <a:pt x="164338" y="132105"/>
                </a:lnTo>
                <a:lnTo>
                  <a:pt x="199360" y="102871"/>
                </a:lnTo>
                <a:lnTo>
                  <a:pt x="236959" y="76848"/>
                </a:lnTo>
                <a:lnTo>
                  <a:pt x="276923" y="54248"/>
                </a:lnTo>
                <a:lnTo>
                  <a:pt x="319040" y="35283"/>
                </a:lnTo>
                <a:lnTo>
                  <a:pt x="363099" y="20164"/>
                </a:lnTo>
                <a:lnTo>
                  <a:pt x="408888" y="9102"/>
                </a:lnTo>
                <a:lnTo>
                  <a:pt x="456197" y="2310"/>
                </a:lnTo>
                <a:lnTo>
                  <a:pt x="504812" y="0"/>
                </a:lnTo>
                <a:lnTo>
                  <a:pt x="553431" y="2310"/>
                </a:lnTo>
                <a:lnTo>
                  <a:pt x="600743" y="9102"/>
                </a:lnTo>
                <a:lnTo>
                  <a:pt x="646535" y="20164"/>
                </a:lnTo>
                <a:lnTo>
                  <a:pt x="690596" y="35283"/>
                </a:lnTo>
                <a:lnTo>
                  <a:pt x="732715" y="54248"/>
                </a:lnTo>
                <a:lnTo>
                  <a:pt x="772680" y="76848"/>
                </a:lnTo>
                <a:lnTo>
                  <a:pt x="810279" y="102871"/>
                </a:lnTo>
                <a:lnTo>
                  <a:pt x="845302" y="132105"/>
                </a:lnTo>
                <a:lnTo>
                  <a:pt x="877535" y="164340"/>
                </a:lnTo>
                <a:lnTo>
                  <a:pt x="906769" y="199363"/>
                </a:lnTo>
                <a:lnTo>
                  <a:pt x="932791" y="236962"/>
                </a:lnTo>
                <a:lnTo>
                  <a:pt x="955391" y="276927"/>
                </a:lnTo>
                <a:lnTo>
                  <a:pt x="974355" y="319045"/>
                </a:lnTo>
                <a:lnTo>
                  <a:pt x="989474" y="363106"/>
                </a:lnTo>
                <a:lnTo>
                  <a:pt x="1000534" y="408897"/>
                </a:lnTo>
                <a:lnTo>
                  <a:pt x="1007326" y="456207"/>
                </a:lnTo>
                <a:lnTo>
                  <a:pt x="1009637" y="504825"/>
                </a:lnTo>
                <a:close/>
              </a:path>
            </a:pathLst>
          </a:custGeom>
          <a:solidFill>
            <a:schemeClr val="bg1"/>
          </a:solidFill>
          <a:ln w="12700">
            <a:solidFill>
              <a:srgbClr val="0046BA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3B3B3A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84" name="Connettore 1 83">
            <a:extLst>
              <a:ext uri="{FF2B5EF4-FFF2-40B4-BE49-F238E27FC236}">
                <a16:creationId xmlns:a16="http://schemas.microsoft.com/office/drawing/2014/main" id="{7FDC7421-8658-C149-8673-5F90B20EABC4}"/>
              </a:ext>
            </a:extLst>
          </p:cNvPr>
          <p:cNvCxnSpPr>
            <a:cxnSpLocks/>
          </p:cNvCxnSpPr>
          <p:nvPr/>
        </p:nvCxnSpPr>
        <p:spPr>
          <a:xfrm>
            <a:off x="2304477" y="2320372"/>
            <a:ext cx="4516447" cy="0"/>
          </a:xfrm>
          <a:prstGeom prst="line">
            <a:avLst/>
          </a:prstGeom>
          <a:ln w="12700">
            <a:solidFill>
              <a:srgbClr val="0047B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5" name="object 46">
            <a:extLst>
              <a:ext uri="{FF2B5EF4-FFF2-40B4-BE49-F238E27FC236}">
                <a16:creationId xmlns:a16="http://schemas.microsoft.com/office/drawing/2014/main" id="{C893C4E5-7B31-1B49-97B2-ED2F96DA5FA1}"/>
              </a:ext>
            </a:extLst>
          </p:cNvPr>
          <p:cNvSpPr/>
          <p:nvPr/>
        </p:nvSpPr>
        <p:spPr>
          <a:xfrm>
            <a:off x="1532628" y="2841180"/>
            <a:ext cx="771803" cy="771803"/>
          </a:xfrm>
          <a:custGeom>
            <a:avLst/>
            <a:gdLst/>
            <a:ahLst/>
            <a:cxnLst/>
            <a:rect l="l" t="t" r="r" b="b"/>
            <a:pathLst>
              <a:path w="1009650" h="1009650">
                <a:moveTo>
                  <a:pt x="1009637" y="504825"/>
                </a:moveTo>
                <a:lnTo>
                  <a:pt x="1007326" y="553440"/>
                </a:lnTo>
                <a:lnTo>
                  <a:pt x="1000534" y="600748"/>
                </a:lnTo>
                <a:lnTo>
                  <a:pt x="989474" y="646537"/>
                </a:lnTo>
                <a:lnTo>
                  <a:pt x="974355" y="690596"/>
                </a:lnTo>
                <a:lnTo>
                  <a:pt x="955391" y="732714"/>
                </a:lnTo>
                <a:lnTo>
                  <a:pt x="932791" y="772678"/>
                </a:lnTo>
                <a:lnTo>
                  <a:pt x="906769" y="810276"/>
                </a:lnTo>
                <a:lnTo>
                  <a:pt x="877535" y="845298"/>
                </a:lnTo>
                <a:lnTo>
                  <a:pt x="845302" y="877532"/>
                </a:lnTo>
                <a:lnTo>
                  <a:pt x="810279" y="906766"/>
                </a:lnTo>
                <a:lnTo>
                  <a:pt x="772680" y="932789"/>
                </a:lnTo>
                <a:lnTo>
                  <a:pt x="732715" y="955389"/>
                </a:lnTo>
                <a:lnTo>
                  <a:pt x="690596" y="974354"/>
                </a:lnTo>
                <a:lnTo>
                  <a:pt x="646535" y="989473"/>
                </a:lnTo>
                <a:lnTo>
                  <a:pt x="600743" y="1000534"/>
                </a:lnTo>
                <a:lnTo>
                  <a:pt x="553431" y="1007326"/>
                </a:lnTo>
                <a:lnTo>
                  <a:pt x="504812" y="1009637"/>
                </a:lnTo>
                <a:lnTo>
                  <a:pt x="456197" y="1007326"/>
                </a:lnTo>
                <a:lnTo>
                  <a:pt x="408888" y="1000534"/>
                </a:lnTo>
                <a:lnTo>
                  <a:pt x="363099" y="989473"/>
                </a:lnTo>
                <a:lnTo>
                  <a:pt x="319040" y="974354"/>
                </a:lnTo>
                <a:lnTo>
                  <a:pt x="276923" y="955389"/>
                </a:lnTo>
                <a:lnTo>
                  <a:pt x="236959" y="932789"/>
                </a:lnTo>
                <a:lnTo>
                  <a:pt x="199360" y="906766"/>
                </a:lnTo>
                <a:lnTo>
                  <a:pt x="164338" y="877532"/>
                </a:lnTo>
                <a:lnTo>
                  <a:pt x="132104" y="845298"/>
                </a:lnTo>
                <a:lnTo>
                  <a:pt x="102870" y="810276"/>
                </a:lnTo>
                <a:lnTo>
                  <a:pt x="76847" y="772678"/>
                </a:lnTo>
                <a:lnTo>
                  <a:pt x="54248" y="732714"/>
                </a:lnTo>
                <a:lnTo>
                  <a:pt x="35283" y="690596"/>
                </a:lnTo>
                <a:lnTo>
                  <a:pt x="20164" y="646537"/>
                </a:lnTo>
                <a:lnTo>
                  <a:pt x="9102" y="600748"/>
                </a:lnTo>
                <a:lnTo>
                  <a:pt x="2310" y="553440"/>
                </a:lnTo>
                <a:lnTo>
                  <a:pt x="0" y="504825"/>
                </a:lnTo>
                <a:lnTo>
                  <a:pt x="2310" y="456207"/>
                </a:lnTo>
                <a:lnTo>
                  <a:pt x="9102" y="408897"/>
                </a:lnTo>
                <a:lnTo>
                  <a:pt x="20164" y="363106"/>
                </a:lnTo>
                <a:lnTo>
                  <a:pt x="35283" y="319045"/>
                </a:lnTo>
                <a:lnTo>
                  <a:pt x="54248" y="276927"/>
                </a:lnTo>
                <a:lnTo>
                  <a:pt x="76847" y="236962"/>
                </a:lnTo>
                <a:lnTo>
                  <a:pt x="102870" y="199363"/>
                </a:lnTo>
                <a:lnTo>
                  <a:pt x="132104" y="164340"/>
                </a:lnTo>
                <a:lnTo>
                  <a:pt x="164338" y="132105"/>
                </a:lnTo>
                <a:lnTo>
                  <a:pt x="199360" y="102871"/>
                </a:lnTo>
                <a:lnTo>
                  <a:pt x="236959" y="76848"/>
                </a:lnTo>
                <a:lnTo>
                  <a:pt x="276923" y="54248"/>
                </a:lnTo>
                <a:lnTo>
                  <a:pt x="319040" y="35283"/>
                </a:lnTo>
                <a:lnTo>
                  <a:pt x="363099" y="20164"/>
                </a:lnTo>
                <a:lnTo>
                  <a:pt x="408888" y="9102"/>
                </a:lnTo>
                <a:lnTo>
                  <a:pt x="456197" y="2310"/>
                </a:lnTo>
                <a:lnTo>
                  <a:pt x="504812" y="0"/>
                </a:lnTo>
                <a:lnTo>
                  <a:pt x="553431" y="2310"/>
                </a:lnTo>
                <a:lnTo>
                  <a:pt x="600743" y="9102"/>
                </a:lnTo>
                <a:lnTo>
                  <a:pt x="646535" y="20164"/>
                </a:lnTo>
                <a:lnTo>
                  <a:pt x="690596" y="35283"/>
                </a:lnTo>
                <a:lnTo>
                  <a:pt x="732715" y="54248"/>
                </a:lnTo>
                <a:lnTo>
                  <a:pt x="772680" y="76848"/>
                </a:lnTo>
                <a:lnTo>
                  <a:pt x="810279" y="102871"/>
                </a:lnTo>
                <a:lnTo>
                  <a:pt x="845302" y="132105"/>
                </a:lnTo>
                <a:lnTo>
                  <a:pt x="877535" y="164340"/>
                </a:lnTo>
                <a:lnTo>
                  <a:pt x="906769" y="199363"/>
                </a:lnTo>
                <a:lnTo>
                  <a:pt x="932791" y="236962"/>
                </a:lnTo>
                <a:lnTo>
                  <a:pt x="955391" y="276927"/>
                </a:lnTo>
                <a:lnTo>
                  <a:pt x="974355" y="319045"/>
                </a:lnTo>
                <a:lnTo>
                  <a:pt x="989474" y="363106"/>
                </a:lnTo>
                <a:lnTo>
                  <a:pt x="1000534" y="408897"/>
                </a:lnTo>
                <a:lnTo>
                  <a:pt x="1007326" y="456207"/>
                </a:lnTo>
                <a:lnTo>
                  <a:pt x="1009637" y="504825"/>
                </a:lnTo>
                <a:close/>
              </a:path>
            </a:pathLst>
          </a:custGeom>
          <a:solidFill>
            <a:schemeClr val="bg1"/>
          </a:solidFill>
          <a:ln w="12700">
            <a:solidFill>
              <a:srgbClr val="0046BA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3B3B3A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6" name="object 46">
            <a:extLst>
              <a:ext uri="{FF2B5EF4-FFF2-40B4-BE49-F238E27FC236}">
                <a16:creationId xmlns:a16="http://schemas.microsoft.com/office/drawing/2014/main" id="{3F49E9FA-A88B-D446-A9C7-C5F0CC30B64A}"/>
              </a:ext>
            </a:extLst>
          </p:cNvPr>
          <p:cNvSpPr/>
          <p:nvPr/>
        </p:nvSpPr>
        <p:spPr>
          <a:xfrm>
            <a:off x="1532628" y="3741572"/>
            <a:ext cx="771803" cy="771803"/>
          </a:xfrm>
          <a:custGeom>
            <a:avLst/>
            <a:gdLst/>
            <a:ahLst/>
            <a:cxnLst/>
            <a:rect l="l" t="t" r="r" b="b"/>
            <a:pathLst>
              <a:path w="1009650" h="1009650">
                <a:moveTo>
                  <a:pt x="1009637" y="504825"/>
                </a:moveTo>
                <a:lnTo>
                  <a:pt x="1007326" y="553440"/>
                </a:lnTo>
                <a:lnTo>
                  <a:pt x="1000534" y="600748"/>
                </a:lnTo>
                <a:lnTo>
                  <a:pt x="989474" y="646537"/>
                </a:lnTo>
                <a:lnTo>
                  <a:pt x="974355" y="690596"/>
                </a:lnTo>
                <a:lnTo>
                  <a:pt x="955391" y="732714"/>
                </a:lnTo>
                <a:lnTo>
                  <a:pt x="932791" y="772678"/>
                </a:lnTo>
                <a:lnTo>
                  <a:pt x="906769" y="810276"/>
                </a:lnTo>
                <a:lnTo>
                  <a:pt x="877535" y="845298"/>
                </a:lnTo>
                <a:lnTo>
                  <a:pt x="845302" y="877532"/>
                </a:lnTo>
                <a:lnTo>
                  <a:pt x="810279" y="906766"/>
                </a:lnTo>
                <a:lnTo>
                  <a:pt x="772680" y="932789"/>
                </a:lnTo>
                <a:lnTo>
                  <a:pt x="732715" y="955389"/>
                </a:lnTo>
                <a:lnTo>
                  <a:pt x="690596" y="974354"/>
                </a:lnTo>
                <a:lnTo>
                  <a:pt x="646535" y="989473"/>
                </a:lnTo>
                <a:lnTo>
                  <a:pt x="600743" y="1000534"/>
                </a:lnTo>
                <a:lnTo>
                  <a:pt x="553431" y="1007326"/>
                </a:lnTo>
                <a:lnTo>
                  <a:pt x="504812" y="1009637"/>
                </a:lnTo>
                <a:lnTo>
                  <a:pt x="456197" y="1007326"/>
                </a:lnTo>
                <a:lnTo>
                  <a:pt x="408888" y="1000534"/>
                </a:lnTo>
                <a:lnTo>
                  <a:pt x="363099" y="989473"/>
                </a:lnTo>
                <a:lnTo>
                  <a:pt x="319040" y="974354"/>
                </a:lnTo>
                <a:lnTo>
                  <a:pt x="276923" y="955389"/>
                </a:lnTo>
                <a:lnTo>
                  <a:pt x="236959" y="932789"/>
                </a:lnTo>
                <a:lnTo>
                  <a:pt x="199360" y="906766"/>
                </a:lnTo>
                <a:lnTo>
                  <a:pt x="164338" y="877532"/>
                </a:lnTo>
                <a:lnTo>
                  <a:pt x="132104" y="845298"/>
                </a:lnTo>
                <a:lnTo>
                  <a:pt x="102870" y="810276"/>
                </a:lnTo>
                <a:lnTo>
                  <a:pt x="76847" y="772678"/>
                </a:lnTo>
                <a:lnTo>
                  <a:pt x="54248" y="732714"/>
                </a:lnTo>
                <a:lnTo>
                  <a:pt x="35283" y="690596"/>
                </a:lnTo>
                <a:lnTo>
                  <a:pt x="20164" y="646537"/>
                </a:lnTo>
                <a:lnTo>
                  <a:pt x="9102" y="600748"/>
                </a:lnTo>
                <a:lnTo>
                  <a:pt x="2310" y="553440"/>
                </a:lnTo>
                <a:lnTo>
                  <a:pt x="0" y="504825"/>
                </a:lnTo>
                <a:lnTo>
                  <a:pt x="2310" y="456207"/>
                </a:lnTo>
                <a:lnTo>
                  <a:pt x="9102" y="408897"/>
                </a:lnTo>
                <a:lnTo>
                  <a:pt x="20164" y="363106"/>
                </a:lnTo>
                <a:lnTo>
                  <a:pt x="35283" y="319045"/>
                </a:lnTo>
                <a:lnTo>
                  <a:pt x="54248" y="276927"/>
                </a:lnTo>
                <a:lnTo>
                  <a:pt x="76847" y="236962"/>
                </a:lnTo>
                <a:lnTo>
                  <a:pt x="102870" y="199363"/>
                </a:lnTo>
                <a:lnTo>
                  <a:pt x="132104" y="164340"/>
                </a:lnTo>
                <a:lnTo>
                  <a:pt x="164338" y="132105"/>
                </a:lnTo>
                <a:lnTo>
                  <a:pt x="199360" y="102871"/>
                </a:lnTo>
                <a:lnTo>
                  <a:pt x="236959" y="76848"/>
                </a:lnTo>
                <a:lnTo>
                  <a:pt x="276923" y="54248"/>
                </a:lnTo>
                <a:lnTo>
                  <a:pt x="319040" y="35283"/>
                </a:lnTo>
                <a:lnTo>
                  <a:pt x="363099" y="20164"/>
                </a:lnTo>
                <a:lnTo>
                  <a:pt x="408888" y="9102"/>
                </a:lnTo>
                <a:lnTo>
                  <a:pt x="456197" y="2310"/>
                </a:lnTo>
                <a:lnTo>
                  <a:pt x="504812" y="0"/>
                </a:lnTo>
                <a:lnTo>
                  <a:pt x="553431" y="2310"/>
                </a:lnTo>
                <a:lnTo>
                  <a:pt x="600743" y="9102"/>
                </a:lnTo>
                <a:lnTo>
                  <a:pt x="646535" y="20164"/>
                </a:lnTo>
                <a:lnTo>
                  <a:pt x="690596" y="35283"/>
                </a:lnTo>
                <a:lnTo>
                  <a:pt x="732715" y="54248"/>
                </a:lnTo>
                <a:lnTo>
                  <a:pt x="772680" y="76848"/>
                </a:lnTo>
                <a:lnTo>
                  <a:pt x="810279" y="102871"/>
                </a:lnTo>
                <a:lnTo>
                  <a:pt x="845302" y="132105"/>
                </a:lnTo>
                <a:lnTo>
                  <a:pt x="877535" y="164340"/>
                </a:lnTo>
                <a:lnTo>
                  <a:pt x="906769" y="199363"/>
                </a:lnTo>
                <a:lnTo>
                  <a:pt x="932791" y="236962"/>
                </a:lnTo>
                <a:lnTo>
                  <a:pt x="955391" y="276927"/>
                </a:lnTo>
                <a:lnTo>
                  <a:pt x="974355" y="319045"/>
                </a:lnTo>
                <a:lnTo>
                  <a:pt x="989474" y="363106"/>
                </a:lnTo>
                <a:lnTo>
                  <a:pt x="1000534" y="408897"/>
                </a:lnTo>
                <a:lnTo>
                  <a:pt x="1007326" y="456207"/>
                </a:lnTo>
                <a:lnTo>
                  <a:pt x="1009637" y="504825"/>
                </a:lnTo>
                <a:close/>
              </a:path>
            </a:pathLst>
          </a:custGeom>
          <a:solidFill>
            <a:schemeClr val="bg1"/>
          </a:solidFill>
          <a:ln w="12700">
            <a:solidFill>
              <a:srgbClr val="0046BA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3B3B3A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7" name="object 46">
            <a:extLst>
              <a:ext uri="{FF2B5EF4-FFF2-40B4-BE49-F238E27FC236}">
                <a16:creationId xmlns:a16="http://schemas.microsoft.com/office/drawing/2014/main" id="{CE6BAD99-D194-F948-9748-68E2DBB385A0}"/>
              </a:ext>
            </a:extLst>
          </p:cNvPr>
          <p:cNvSpPr/>
          <p:nvPr/>
        </p:nvSpPr>
        <p:spPr>
          <a:xfrm>
            <a:off x="1532628" y="4646627"/>
            <a:ext cx="771803" cy="771803"/>
          </a:xfrm>
          <a:custGeom>
            <a:avLst/>
            <a:gdLst/>
            <a:ahLst/>
            <a:cxnLst/>
            <a:rect l="l" t="t" r="r" b="b"/>
            <a:pathLst>
              <a:path w="1009650" h="1009650">
                <a:moveTo>
                  <a:pt x="1009637" y="504825"/>
                </a:moveTo>
                <a:lnTo>
                  <a:pt x="1007326" y="553440"/>
                </a:lnTo>
                <a:lnTo>
                  <a:pt x="1000534" y="600748"/>
                </a:lnTo>
                <a:lnTo>
                  <a:pt x="989474" y="646537"/>
                </a:lnTo>
                <a:lnTo>
                  <a:pt x="974355" y="690596"/>
                </a:lnTo>
                <a:lnTo>
                  <a:pt x="955391" y="732714"/>
                </a:lnTo>
                <a:lnTo>
                  <a:pt x="932791" y="772678"/>
                </a:lnTo>
                <a:lnTo>
                  <a:pt x="906769" y="810276"/>
                </a:lnTo>
                <a:lnTo>
                  <a:pt x="877535" y="845298"/>
                </a:lnTo>
                <a:lnTo>
                  <a:pt x="845302" y="877532"/>
                </a:lnTo>
                <a:lnTo>
                  <a:pt x="810279" y="906766"/>
                </a:lnTo>
                <a:lnTo>
                  <a:pt x="772680" y="932789"/>
                </a:lnTo>
                <a:lnTo>
                  <a:pt x="732715" y="955389"/>
                </a:lnTo>
                <a:lnTo>
                  <a:pt x="690596" y="974354"/>
                </a:lnTo>
                <a:lnTo>
                  <a:pt x="646535" y="989473"/>
                </a:lnTo>
                <a:lnTo>
                  <a:pt x="600743" y="1000534"/>
                </a:lnTo>
                <a:lnTo>
                  <a:pt x="553431" y="1007326"/>
                </a:lnTo>
                <a:lnTo>
                  <a:pt x="504812" y="1009637"/>
                </a:lnTo>
                <a:lnTo>
                  <a:pt x="456197" y="1007326"/>
                </a:lnTo>
                <a:lnTo>
                  <a:pt x="408888" y="1000534"/>
                </a:lnTo>
                <a:lnTo>
                  <a:pt x="363099" y="989473"/>
                </a:lnTo>
                <a:lnTo>
                  <a:pt x="319040" y="974354"/>
                </a:lnTo>
                <a:lnTo>
                  <a:pt x="276923" y="955389"/>
                </a:lnTo>
                <a:lnTo>
                  <a:pt x="236959" y="932789"/>
                </a:lnTo>
                <a:lnTo>
                  <a:pt x="199360" y="906766"/>
                </a:lnTo>
                <a:lnTo>
                  <a:pt x="164338" y="877532"/>
                </a:lnTo>
                <a:lnTo>
                  <a:pt x="132104" y="845298"/>
                </a:lnTo>
                <a:lnTo>
                  <a:pt x="102870" y="810276"/>
                </a:lnTo>
                <a:lnTo>
                  <a:pt x="76847" y="772678"/>
                </a:lnTo>
                <a:lnTo>
                  <a:pt x="54248" y="732714"/>
                </a:lnTo>
                <a:lnTo>
                  <a:pt x="35283" y="690596"/>
                </a:lnTo>
                <a:lnTo>
                  <a:pt x="20164" y="646537"/>
                </a:lnTo>
                <a:lnTo>
                  <a:pt x="9102" y="600748"/>
                </a:lnTo>
                <a:lnTo>
                  <a:pt x="2310" y="553440"/>
                </a:lnTo>
                <a:lnTo>
                  <a:pt x="0" y="504825"/>
                </a:lnTo>
                <a:lnTo>
                  <a:pt x="2310" y="456207"/>
                </a:lnTo>
                <a:lnTo>
                  <a:pt x="9102" y="408897"/>
                </a:lnTo>
                <a:lnTo>
                  <a:pt x="20164" y="363106"/>
                </a:lnTo>
                <a:lnTo>
                  <a:pt x="35283" y="319045"/>
                </a:lnTo>
                <a:lnTo>
                  <a:pt x="54248" y="276927"/>
                </a:lnTo>
                <a:lnTo>
                  <a:pt x="76847" y="236962"/>
                </a:lnTo>
                <a:lnTo>
                  <a:pt x="102870" y="199363"/>
                </a:lnTo>
                <a:lnTo>
                  <a:pt x="132104" y="164340"/>
                </a:lnTo>
                <a:lnTo>
                  <a:pt x="164338" y="132105"/>
                </a:lnTo>
                <a:lnTo>
                  <a:pt x="199360" y="102871"/>
                </a:lnTo>
                <a:lnTo>
                  <a:pt x="236959" y="76848"/>
                </a:lnTo>
                <a:lnTo>
                  <a:pt x="276923" y="54248"/>
                </a:lnTo>
                <a:lnTo>
                  <a:pt x="319040" y="35283"/>
                </a:lnTo>
                <a:lnTo>
                  <a:pt x="363099" y="20164"/>
                </a:lnTo>
                <a:lnTo>
                  <a:pt x="408888" y="9102"/>
                </a:lnTo>
                <a:lnTo>
                  <a:pt x="456197" y="2310"/>
                </a:lnTo>
                <a:lnTo>
                  <a:pt x="504812" y="0"/>
                </a:lnTo>
                <a:lnTo>
                  <a:pt x="553431" y="2310"/>
                </a:lnTo>
                <a:lnTo>
                  <a:pt x="600743" y="9102"/>
                </a:lnTo>
                <a:lnTo>
                  <a:pt x="646535" y="20164"/>
                </a:lnTo>
                <a:lnTo>
                  <a:pt x="690596" y="35283"/>
                </a:lnTo>
                <a:lnTo>
                  <a:pt x="732715" y="54248"/>
                </a:lnTo>
                <a:lnTo>
                  <a:pt x="772680" y="76848"/>
                </a:lnTo>
                <a:lnTo>
                  <a:pt x="810279" y="102871"/>
                </a:lnTo>
                <a:lnTo>
                  <a:pt x="845302" y="132105"/>
                </a:lnTo>
                <a:lnTo>
                  <a:pt x="877535" y="164340"/>
                </a:lnTo>
                <a:lnTo>
                  <a:pt x="906769" y="199363"/>
                </a:lnTo>
                <a:lnTo>
                  <a:pt x="932791" y="236962"/>
                </a:lnTo>
                <a:lnTo>
                  <a:pt x="955391" y="276927"/>
                </a:lnTo>
                <a:lnTo>
                  <a:pt x="974355" y="319045"/>
                </a:lnTo>
                <a:lnTo>
                  <a:pt x="989474" y="363106"/>
                </a:lnTo>
                <a:lnTo>
                  <a:pt x="1000534" y="408897"/>
                </a:lnTo>
                <a:lnTo>
                  <a:pt x="1007326" y="456207"/>
                </a:lnTo>
                <a:lnTo>
                  <a:pt x="1009637" y="504825"/>
                </a:lnTo>
                <a:close/>
              </a:path>
            </a:pathLst>
          </a:custGeom>
          <a:solidFill>
            <a:schemeClr val="bg1"/>
          </a:solidFill>
          <a:ln w="12700">
            <a:solidFill>
              <a:srgbClr val="0046BA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3B3B3A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88" name="Connettore 1 87">
            <a:extLst>
              <a:ext uri="{FF2B5EF4-FFF2-40B4-BE49-F238E27FC236}">
                <a16:creationId xmlns:a16="http://schemas.microsoft.com/office/drawing/2014/main" id="{1AFBB2D4-92B3-5045-AFEE-6710A6758E0F}"/>
              </a:ext>
            </a:extLst>
          </p:cNvPr>
          <p:cNvCxnSpPr>
            <a:cxnSpLocks/>
          </p:cNvCxnSpPr>
          <p:nvPr/>
        </p:nvCxnSpPr>
        <p:spPr>
          <a:xfrm>
            <a:off x="2304476" y="3234772"/>
            <a:ext cx="4516448" cy="0"/>
          </a:xfrm>
          <a:prstGeom prst="line">
            <a:avLst/>
          </a:prstGeom>
          <a:ln w="12700">
            <a:solidFill>
              <a:srgbClr val="0047B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Connettore 1 88">
            <a:extLst>
              <a:ext uri="{FF2B5EF4-FFF2-40B4-BE49-F238E27FC236}">
                <a16:creationId xmlns:a16="http://schemas.microsoft.com/office/drawing/2014/main" id="{A4C5B1E3-9C2E-CF40-8D4B-EF68C7CDB83E}"/>
              </a:ext>
            </a:extLst>
          </p:cNvPr>
          <p:cNvCxnSpPr>
            <a:cxnSpLocks/>
          </p:cNvCxnSpPr>
          <p:nvPr/>
        </p:nvCxnSpPr>
        <p:spPr>
          <a:xfrm>
            <a:off x="2304476" y="4149172"/>
            <a:ext cx="4516448" cy="0"/>
          </a:xfrm>
          <a:prstGeom prst="line">
            <a:avLst/>
          </a:prstGeom>
          <a:ln w="12700">
            <a:solidFill>
              <a:srgbClr val="0047B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" name="Connettore 1 89">
            <a:extLst>
              <a:ext uri="{FF2B5EF4-FFF2-40B4-BE49-F238E27FC236}">
                <a16:creationId xmlns:a16="http://schemas.microsoft.com/office/drawing/2014/main" id="{112AAB5D-849E-1A4B-8E9D-6735E7968F76}"/>
              </a:ext>
            </a:extLst>
          </p:cNvPr>
          <p:cNvCxnSpPr>
            <a:cxnSpLocks/>
          </p:cNvCxnSpPr>
          <p:nvPr/>
        </p:nvCxnSpPr>
        <p:spPr>
          <a:xfrm>
            <a:off x="2304477" y="5031299"/>
            <a:ext cx="4516447" cy="0"/>
          </a:xfrm>
          <a:prstGeom prst="line">
            <a:avLst/>
          </a:prstGeom>
          <a:ln w="12700">
            <a:solidFill>
              <a:srgbClr val="0047B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1" name="Segnaposto titolo 1">
            <a:extLst>
              <a:ext uri="{FF2B5EF4-FFF2-40B4-BE49-F238E27FC236}">
                <a16:creationId xmlns:a16="http://schemas.microsoft.com/office/drawing/2014/main" id="{E4151C40-6CC7-1F48-A5D2-0456B2FD9F0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7394" y="504194"/>
            <a:ext cx="10515600" cy="725421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it-IT"/>
              <a:t>Fare clic per modificare lo stile del titolo dello schema</a:t>
            </a:r>
            <a:endParaRPr lang="it-IT" dirty="0"/>
          </a:p>
        </p:txBody>
      </p:sp>
      <p:sp>
        <p:nvSpPr>
          <p:cNvPr id="48" name="Segnaposto immagine 2">
            <a:extLst>
              <a:ext uri="{FF2B5EF4-FFF2-40B4-BE49-F238E27FC236}">
                <a16:creationId xmlns:a16="http://schemas.microsoft.com/office/drawing/2014/main" id="{AA40C6E5-F36F-BA44-ACC0-AA495996A0B2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7439025" y="1506538"/>
            <a:ext cx="4318000" cy="42799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it-IT" dirty="0"/>
              <a:t>Illustrazione, immagine</a:t>
            </a:r>
          </a:p>
        </p:txBody>
      </p:sp>
      <p:sp>
        <p:nvSpPr>
          <p:cNvPr id="2" name="CasellaDiTesto 1">
            <a:extLst>
              <a:ext uri="{FF2B5EF4-FFF2-40B4-BE49-F238E27FC236}">
                <a16:creationId xmlns:a16="http://schemas.microsoft.com/office/drawing/2014/main" id="{3C1C6D8D-ED89-19DB-FDAA-87441EC26DC0}"/>
              </a:ext>
            </a:extLst>
          </p:cNvPr>
          <p:cNvSpPr txBox="1"/>
          <p:nvPr userDrawn="1"/>
        </p:nvSpPr>
        <p:spPr>
          <a:xfrm>
            <a:off x="3916392" y="6623540"/>
            <a:ext cx="739499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it-IT" sz="800" i="1" dirty="0"/>
              <a:t>Documento ad uso esclusivamente interno, da intendersi come strettamente riservato; non è autorizzata la trasmissione ad altri e la divulgazione all’esterno.</a:t>
            </a:r>
            <a:endParaRPr lang="en-US" sz="800" i="1" dirty="0"/>
          </a:p>
        </p:txBody>
      </p:sp>
    </p:spTree>
    <p:extLst>
      <p:ext uri="{BB962C8B-B14F-4D97-AF65-F5344CB8AC3E}">
        <p14:creationId xmlns:p14="http://schemas.microsoft.com/office/powerpoint/2010/main" val="2645906362"/>
      </p:ext>
    </p:extLst>
  </p:cSld>
  <p:clrMapOvr>
    <a:masterClrMapping/>
  </p:clrMapOvr>
  <p:hf hdr="0" ftr="0" dt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Pagina 2 box DX + 1 box SX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Segnaposto testo 4">
            <a:extLst>
              <a:ext uri="{FF2B5EF4-FFF2-40B4-BE49-F238E27FC236}">
                <a16:creationId xmlns:a16="http://schemas.microsoft.com/office/drawing/2014/main" id="{597E06C8-CAFB-E24B-A154-8EA093E0C54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49834" y="5917932"/>
            <a:ext cx="9402763" cy="573088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900" b="0" i="0">
                <a:latin typeface="Avenir Next LT Pro" panose="020B0504020202020204" pitchFamily="34" charset="77"/>
              </a:defRPr>
            </a:lvl1pPr>
            <a:lvl2pPr marL="457200" indent="0">
              <a:buNone/>
              <a:defRPr sz="900" b="0" i="0">
                <a:latin typeface="Avenir Next LT Pro" panose="020B0504020202020204" pitchFamily="34" charset="77"/>
              </a:defRPr>
            </a:lvl2pPr>
            <a:lvl3pPr marL="914400" indent="0">
              <a:buNone/>
              <a:defRPr sz="900" b="0" i="0">
                <a:latin typeface="Avenir Next LT Pro" panose="020B0504020202020204" pitchFamily="34" charset="77"/>
              </a:defRPr>
            </a:lvl3pPr>
            <a:lvl4pPr marL="1371600" indent="0">
              <a:buNone/>
              <a:defRPr sz="900" b="0" i="0">
                <a:latin typeface="Avenir Next LT Pro" panose="020B0504020202020204" pitchFamily="34" charset="77"/>
              </a:defRPr>
            </a:lvl4pPr>
            <a:lvl5pPr marL="1828800" indent="0">
              <a:buNone/>
              <a:defRPr sz="900" b="0" i="0">
                <a:latin typeface="Avenir Next LT Pro" panose="020B0504020202020204" pitchFamily="34" charset="77"/>
              </a:defRPr>
            </a:lvl5pPr>
          </a:lstStyle>
          <a:p>
            <a:pPr lvl="0"/>
            <a:r>
              <a:rPr lang="it-IT" dirty="0"/>
              <a:t>1. Fare clic per modificare le note 2. Fare clic per modificare le note 3. Fare clic per modificare le note </a:t>
            </a:r>
          </a:p>
        </p:txBody>
      </p:sp>
      <p:sp>
        <p:nvSpPr>
          <p:cNvPr id="4" name="Segnaposto contenuto 3">
            <a:extLst>
              <a:ext uri="{FF2B5EF4-FFF2-40B4-BE49-F238E27FC236}">
                <a16:creationId xmlns:a16="http://schemas.microsoft.com/office/drawing/2014/main" id="{B72FE258-5D20-BA45-BACF-20ED1C313B4C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515938" y="2355296"/>
            <a:ext cx="5580062" cy="1579646"/>
          </a:xfrm>
          <a:prstGeom prst="rect">
            <a:avLst/>
          </a:prstGeom>
        </p:spPr>
        <p:txBody>
          <a:bodyPr lIns="144000" tIns="144000" rIns="144000" bIns="144000"/>
          <a:lstStyle>
            <a:lvl1pPr marL="228600" indent="-228600">
              <a:buClr>
                <a:schemeClr val="accent2"/>
              </a:buClr>
              <a:buFont typeface="Font di sistema regolare"/>
              <a:buChar char="●"/>
              <a:defRPr sz="1400">
                <a:solidFill>
                  <a:schemeClr val="tx1"/>
                </a:solidFill>
              </a:defRPr>
            </a:lvl1pPr>
            <a:lvl2pPr marL="685800" indent="-228600">
              <a:buClr>
                <a:schemeClr val="accent2"/>
              </a:buClr>
              <a:buFont typeface="Font di sistema regolare"/>
              <a:buChar char="●"/>
              <a:defRPr sz="1400">
                <a:solidFill>
                  <a:schemeClr val="tx1"/>
                </a:solidFill>
              </a:defRPr>
            </a:lvl2pPr>
            <a:lvl3pPr marL="1143000" indent="-228600">
              <a:buClr>
                <a:schemeClr val="accent2"/>
              </a:buClr>
              <a:buFont typeface="Font di sistema regolare"/>
              <a:buChar char="●"/>
              <a:defRPr sz="1400">
                <a:solidFill>
                  <a:schemeClr val="tx1"/>
                </a:solidFill>
              </a:defRPr>
            </a:lvl3pPr>
            <a:lvl4pPr marL="1600200" indent="-228600">
              <a:buClr>
                <a:schemeClr val="accent2"/>
              </a:buClr>
              <a:buFont typeface="Font di sistema regolare"/>
              <a:buChar char="●"/>
              <a:defRPr sz="1400">
                <a:solidFill>
                  <a:schemeClr val="tx1"/>
                </a:solidFill>
              </a:defRPr>
            </a:lvl4pPr>
            <a:lvl5pPr marL="2057400" indent="-228600">
              <a:buClr>
                <a:schemeClr val="accent2"/>
              </a:buClr>
              <a:buFont typeface="Font di sistema regolare"/>
              <a:buChar char="●"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it-IT" dirty="0"/>
          </a:p>
        </p:txBody>
      </p:sp>
      <p:sp>
        <p:nvSpPr>
          <p:cNvPr id="44" name="Segnaposto contenuto 3">
            <a:extLst>
              <a:ext uri="{FF2B5EF4-FFF2-40B4-BE49-F238E27FC236}">
                <a16:creationId xmlns:a16="http://schemas.microsoft.com/office/drawing/2014/main" id="{9A0953E8-917B-BA41-B29F-B2B74E2C1947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33448" y="5074391"/>
            <a:ext cx="5580062" cy="1105242"/>
          </a:xfrm>
          <a:prstGeom prst="rect">
            <a:avLst/>
          </a:prstGeom>
        </p:spPr>
        <p:txBody>
          <a:bodyPr lIns="144000" tIns="144000" rIns="144000" bIns="144000"/>
          <a:lstStyle>
            <a:lvl1pPr marL="228600" indent="-228600">
              <a:buClr>
                <a:schemeClr val="accent2"/>
              </a:buClr>
              <a:buFont typeface="Font di sistema regolare"/>
              <a:buChar char="●"/>
              <a:defRPr sz="1400">
                <a:solidFill>
                  <a:schemeClr val="tx1"/>
                </a:solidFill>
              </a:defRPr>
            </a:lvl1pPr>
            <a:lvl2pPr marL="685800" indent="-228600">
              <a:buClr>
                <a:schemeClr val="accent2"/>
              </a:buClr>
              <a:buFont typeface="Font di sistema regolare"/>
              <a:buChar char="●"/>
              <a:defRPr sz="1400">
                <a:solidFill>
                  <a:schemeClr val="tx1"/>
                </a:solidFill>
              </a:defRPr>
            </a:lvl2pPr>
            <a:lvl3pPr marL="1143000" indent="-228600">
              <a:buClr>
                <a:schemeClr val="accent2"/>
              </a:buClr>
              <a:buFont typeface="Font di sistema regolare"/>
              <a:buChar char="●"/>
              <a:defRPr sz="1400">
                <a:solidFill>
                  <a:schemeClr val="tx1"/>
                </a:solidFill>
              </a:defRPr>
            </a:lvl3pPr>
            <a:lvl4pPr marL="1600200" indent="-228600">
              <a:buClr>
                <a:schemeClr val="accent2"/>
              </a:buClr>
              <a:buFont typeface="Font di sistema regolare"/>
              <a:buChar char="●"/>
              <a:defRPr sz="1400">
                <a:solidFill>
                  <a:schemeClr val="tx1"/>
                </a:solidFill>
              </a:defRPr>
            </a:lvl4pPr>
            <a:lvl5pPr marL="2057400" indent="-228600">
              <a:buClr>
                <a:schemeClr val="accent2"/>
              </a:buClr>
              <a:buFont typeface="Font di sistema regolare"/>
              <a:buChar char="●"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</p:txBody>
      </p:sp>
      <p:sp>
        <p:nvSpPr>
          <p:cNvPr id="45" name="Segnaposto contenuto 3">
            <a:extLst>
              <a:ext uri="{FF2B5EF4-FFF2-40B4-BE49-F238E27FC236}">
                <a16:creationId xmlns:a16="http://schemas.microsoft.com/office/drawing/2014/main" id="{CF20747C-3A1B-0D4C-AA1C-8CF6BC2174F0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6445045" y="1251483"/>
            <a:ext cx="5177042" cy="4928150"/>
          </a:xfrm>
          <a:prstGeom prst="rect">
            <a:avLst/>
          </a:prstGeom>
        </p:spPr>
        <p:txBody>
          <a:bodyPr lIns="144000" tIns="144000" rIns="144000" bIns="144000"/>
          <a:lstStyle>
            <a:lvl1pPr marL="228600" indent="-228600">
              <a:buClr>
                <a:schemeClr val="accent2"/>
              </a:buClr>
              <a:buFont typeface="Font di sistema regolare"/>
              <a:buChar char="●"/>
              <a:defRPr sz="1400">
                <a:solidFill>
                  <a:schemeClr val="tx1"/>
                </a:solidFill>
              </a:defRPr>
            </a:lvl1pPr>
            <a:lvl2pPr marL="685800" indent="-228600">
              <a:buClr>
                <a:schemeClr val="accent2"/>
              </a:buClr>
              <a:buFont typeface="Font di sistema regolare"/>
              <a:buChar char="●"/>
              <a:defRPr sz="1400">
                <a:solidFill>
                  <a:schemeClr val="tx1"/>
                </a:solidFill>
              </a:defRPr>
            </a:lvl2pPr>
            <a:lvl3pPr marL="1143000" indent="-228600">
              <a:buClr>
                <a:schemeClr val="accent2"/>
              </a:buClr>
              <a:buFont typeface="Font di sistema regolare"/>
              <a:buChar char="●"/>
              <a:defRPr sz="1400">
                <a:solidFill>
                  <a:schemeClr val="tx1"/>
                </a:solidFill>
              </a:defRPr>
            </a:lvl3pPr>
            <a:lvl4pPr marL="1600200" indent="-228600">
              <a:buClr>
                <a:schemeClr val="accent2"/>
              </a:buClr>
              <a:buFont typeface="Font di sistema regolare"/>
              <a:buChar char="●"/>
              <a:defRPr sz="1400">
                <a:solidFill>
                  <a:schemeClr val="tx1"/>
                </a:solidFill>
              </a:defRPr>
            </a:lvl4pPr>
            <a:lvl5pPr marL="2057400" indent="-228600">
              <a:buClr>
                <a:schemeClr val="accent2"/>
              </a:buClr>
              <a:buFont typeface="Font di sistema regolare"/>
              <a:buChar char="●"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it-IT" dirty="0"/>
          </a:p>
        </p:txBody>
      </p:sp>
      <p:sp>
        <p:nvSpPr>
          <p:cNvPr id="51" name="Segnaposto testo 46">
            <a:extLst>
              <a:ext uri="{FF2B5EF4-FFF2-40B4-BE49-F238E27FC236}">
                <a16:creationId xmlns:a16="http://schemas.microsoft.com/office/drawing/2014/main" id="{89CCFDCF-E1D4-4624-850B-95B324DCBB1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457282" y="1158675"/>
            <a:ext cx="4140000" cy="746498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 b="0" i="0">
                <a:solidFill>
                  <a:srgbClr val="0047BB"/>
                </a:solidFill>
                <a:latin typeface="Avenir Next LT Pro" panose="020B0504020202020204" pitchFamily="34" charset="77"/>
              </a:defRPr>
            </a:lvl1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56" name="Segnaposto testo 46">
            <a:extLst>
              <a:ext uri="{FF2B5EF4-FFF2-40B4-BE49-F238E27FC236}">
                <a16:creationId xmlns:a16="http://schemas.microsoft.com/office/drawing/2014/main" id="{9F48E5E8-A0EF-4A33-8758-F3AE698D405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452395" y="3805054"/>
            <a:ext cx="4140000" cy="746498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 b="0" i="0">
                <a:solidFill>
                  <a:srgbClr val="0047BB"/>
                </a:solidFill>
                <a:latin typeface="Avenir Next LT Pro" panose="020B0504020202020204" pitchFamily="34" charset="77"/>
              </a:defRPr>
            </a:lvl1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39" name="bg object 16">
            <a:extLst>
              <a:ext uri="{FF2B5EF4-FFF2-40B4-BE49-F238E27FC236}">
                <a16:creationId xmlns:a16="http://schemas.microsoft.com/office/drawing/2014/main" id="{4AABB290-E287-AF4D-969B-AB0215E97E2F}"/>
              </a:ext>
            </a:extLst>
          </p:cNvPr>
          <p:cNvSpPr/>
          <p:nvPr/>
        </p:nvSpPr>
        <p:spPr>
          <a:xfrm>
            <a:off x="11330381" y="6448615"/>
            <a:ext cx="311785" cy="410845"/>
          </a:xfrm>
          <a:custGeom>
            <a:avLst/>
            <a:gdLst/>
            <a:ahLst/>
            <a:cxnLst/>
            <a:rect l="l" t="t" r="r" b="b"/>
            <a:pathLst>
              <a:path w="311784" h="410845">
                <a:moveTo>
                  <a:pt x="311645" y="0"/>
                </a:moveTo>
                <a:lnTo>
                  <a:pt x="0" y="0"/>
                </a:lnTo>
                <a:lnTo>
                  <a:pt x="0" y="410438"/>
                </a:lnTo>
                <a:lnTo>
                  <a:pt x="311645" y="410438"/>
                </a:lnTo>
                <a:lnTo>
                  <a:pt x="311645" y="0"/>
                </a:lnTo>
                <a:close/>
              </a:path>
            </a:pathLst>
          </a:custGeom>
          <a:solidFill>
            <a:srgbClr val="0047B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1" name="Holder 7">
            <a:extLst>
              <a:ext uri="{FF2B5EF4-FFF2-40B4-BE49-F238E27FC236}">
                <a16:creationId xmlns:a16="http://schemas.microsoft.com/office/drawing/2014/main" id="{E867D971-18BA-304C-8F6B-119956F49CB4}"/>
              </a:ext>
            </a:extLst>
          </p:cNvPr>
          <p:cNvSpPr txBox="1">
            <a:spLocks/>
          </p:cNvSpPr>
          <p:nvPr/>
        </p:nvSpPr>
        <p:spPr>
          <a:xfrm>
            <a:off x="11342726" y="6520516"/>
            <a:ext cx="256044" cy="16158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it-IT"/>
            </a:defPPr>
            <a:lvl1pPr marL="0" algn="l" defTabSz="914400" rtl="0" eaLnBrk="1" latinLnBrk="0" hangingPunct="1">
              <a:defRPr sz="850" b="1" i="0" kern="1200">
                <a:solidFill>
                  <a:schemeClr val="bg1"/>
                </a:solidFill>
                <a:latin typeface="Verdana"/>
                <a:ea typeface="+mn-ea"/>
                <a:cs typeface="Verdana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8100" algn="ctr">
              <a:spcBef>
                <a:spcPts val="105"/>
              </a:spcBef>
            </a:pPr>
            <a:fld id="{81D60167-4931-47E6-BA6A-407CBD079E47}" type="slidenum">
              <a:rPr lang="it-IT" sz="1050" b="0" i="0" spc="5" smtClean="0">
                <a:latin typeface="Avenir Next LT Pro" pitchFamily="2" charset="0"/>
              </a:rPr>
              <a:pPr marL="38100" algn="ctr">
                <a:spcBef>
                  <a:spcPts val="105"/>
                </a:spcBef>
              </a:pPr>
              <a:t>‹N›</a:t>
            </a:fld>
            <a:endParaRPr lang="it-IT" sz="1050" b="0" i="0" spc="5" dirty="0">
              <a:latin typeface="Avenir Next LT Pro" pitchFamily="2" charset="0"/>
            </a:endParaRPr>
          </a:p>
        </p:txBody>
      </p:sp>
      <p:sp>
        <p:nvSpPr>
          <p:cNvPr id="43" name="Triangolo isoscele 16">
            <a:extLst>
              <a:ext uri="{FF2B5EF4-FFF2-40B4-BE49-F238E27FC236}">
                <a16:creationId xmlns:a16="http://schemas.microsoft.com/office/drawing/2014/main" id="{423B432F-E34F-3F4A-88C6-7DA16DDB2FC4}"/>
              </a:ext>
            </a:extLst>
          </p:cNvPr>
          <p:cNvSpPr/>
          <p:nvPr/>
        </p:nvSpPr>
        <p:spPr>
          <a:xfrm rot="10800000">
            <a:off x="303127" y="-324737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47" name="Triangolo isoscele 17">
            <a:extLst>
              <a:ext uri="{FF2B5EF4-FFF2-40B4-BE49-F238E27FC236}">
                <a16:creationId xmlns:a16="http://schemas.microsoft.com/office/drawing/2014/main" id="{637F9E76-8384-9344-8544-0D55BCFD2EFF}"/>
              </a:ext>
            </a:extLst>
          </p:cNvPr>
          <p:cNvSpPr/>
          <p:nvPr/>
        </p:nvSpPr>
        <p:spPr>
          <a:xfrm rot="10800000">
            <a:off x="11756536" y="-324737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57" name="Triangolo isoscele 18">
            <a:extLst>
              <a:ext uri="{FF2B5EF4-FFF2-40B4-BE49-F238E27FC236}">
                <a16:creationId xmlns:a16="http://schemas.microsoft.com/office/drawing/2014/main" id="{B26CDDA2-7BFF-0A4F-B99B-3C86DD35CAF1}"/>
              </a:ext>
            </a:extLst>
          </p:cNvPr>
          <p:cNvSpPr/>
          <p:nvPr/>
        </p:nvSpPr>
        <p:spPr>
          <a:xfrm>
            <a:off x="303127" y="6950754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58" name="Triangolo isoscele 19">
            <a:extLst>
              <a:ext uri="{FF2B5EF4-FFF2-40B4-BE49-F238E27FC236}">
                <a16:creationId xmlns:a16="http://schemas.microsoft.com/office/drawing/2014/main" id="{5AF47AD9-EB55-204E-B0FC-82987479D5CE}"/>
              </a:ext>
            </a:extLst>
          </p:cNvPr>
          <p:cNvSpPr/>
          <p:nvPr/>
        </p:nvSpPr>
        <p:spPr>
          <a:xfrm>
            <a:off x="11756536" y="6950754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59" name="Triangolo isoscele 20">
            <a:extLst>
              <a:ext uri="{FF2B5EF4-FFF2-40B4-BE49-F238E27FC236}">
                <a16:creationId xmlns:a16="http://schemas.microsoft.com/office/drawing/2014/main" id="{A44CD567-D9F1-9347-8C52-B9E67B237BF0}"/>
              </a:ext>
            </a:extLst>
          </p:cNvPr>
          <p:cNvSpPr/>
          <p:nvPr/>
        </p:nvSpPr>
        <p:spPr>
          <a:xfrm rot="5400000">
            <a:off x="-276040" y="885372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60" name="Triangolo isoscele 21">
            <a:extLst>
              <a:ext uri="{FF2B5EF4-FFF2-40B4-BE49-F238E27FC236}">
                <a16:creationId xmlns:a16="http://schemas.microsoft.com/office/drawing/2014/main" id="{B6761352-BCEA-E44B-A4C7-803F8F76B3F7}"/>
              </a:ext>
            </a:extLst>
          </p:cNvPr>
          <p:cNvSpPr/>
          <p:nvPr/>
        </p:nvSpPr>
        <p:spPr>
          <a:xfrm rot="5400000">
            <a:off x="-276039" y="5982836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61" name="Triangolo isoscele 22">
            <a:extLst>
              <a:ext uri="{FF2B5EF4-FFF2-40B4-BE49-F238E27FC236}">
                <a16:creationId xmlns:a16="http://schemas.microsoft.com/office/drawing/2014/main" id="{C6399DC8-2F4D-D441-83D0-7F2A89A09EC2}"/>
              </a:ext>
            </a:extLst>
          </p:cNvPr>
          <p:cNvSpPr/>
          <p:nvPr/>
        </p:nvSpPr>
        <p:spPr>
          <a:xfrm rot="16200000">
            <a:off x="12331119" y="885372"/>
            <a:ext cx="132336" cy="261257"/>
          </a:xfrm>
          <a:prstGeom prst="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62" name="Triangolo isoscele 23">
            <a:extLst>
              <a:ext uri="{FF2B5EF4-FFF2-40B4-BE49-F238E27FC236}">
                <a16:creationId xmlns:a16="http://schemas.microsoft.com/office/drawing/2014/main" id="{0329F371-EC8E-3C4B-966D-2906497DC095}"/>
              </a:ext>
            </a:extLst>
          </p:cNvPr>
          <p:cNvSpPr/>
          <p:nvPr/>
        </p:nvSpPr>
        <p:spPr>
          <a:xfrm rot="16200000">
            <a:off x="12331120" y="5982836"/>
            <a:ext cx="132336" cy="261257"/>
          </a:xfrm>
          <a:prstGeom prst="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63" name="Triangolo isoscele 31">
            <a:extLst>
              <a:ext uri="{FF2B5EF4-FFF2-40B4-BE49-F238E27FC236}">
                <a16:creationId xmlns:a16="http://schemas.microsoft.com/office/drawing/2014/main" id="{63384D65-22B8-E24D-ADB9-E486C32519E6}"/>
              </a:ext>
            </a:extLst>
          </p:cNvPr>
          <p:cNvSpPr/>
          <p:nvPr/>
        </p:nvSpPr>
        <p:spPr>
          <a:xfrm rot="10800000">
            <a:off x="303127" y="-324737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64" name="Triangolo isoscele 32">
            <a:extLst>
              <a:ext uri="{FF2B5EF4-FFF2-40B4-BE49-F238E27FC236}">
                <a16:creationId xmlns:a16="http://schemas.microsoft.com/office/drawing/2014/main" id="{B1D20870-9EA8-BE47-ACAF-6C3DDC19F0E9}"/>
              </a:ext>
            </a:extLst>
          </p:cNvPr>
          <p:cNvSpPr/>
          <p:nvPr/>
        </p:nvSpPr>
        <p:spPr>
          <a:xfrm rot="10800000">
            <a:off x="11756536" y="-324737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65" name="Triangolo isoscele 33">
            <a:extLst>
              <a:ext uri="{FF2B5EF4-FFF2-40B4-BE49-F238E27FC236}">
                <a16:creationId xmlns:a16="http://schemas.microsoft.com/office/drawing/2014/main" id="{8FA28E8D-4E22-2A43-A0CA-0CBEA0E68DA0}"/>
              </a:ext>
            </a:extLst>
          </p:cNvPr>
          <p:cNvSpPr/>
          <p:nvPr/>
        </p:nvSpPr>
        <p:spPr>
          <a:xfrm>
            <a:off x="303127" y="6950754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66" name="Triangolo isoscele 34">
            <a:extLst>
              <a:ext uri="{FF2B5EF4-FFF2-40B4-BE49-F238E27FC236}">
                <a16:creationId xmlns:a16="http://schemas.microsoft.com/office/drawing/2014/main" id="{2FB63059-7910-1C4C-B84D-BB0A56F73CB3}"/>
              </a:ext>
            </a:extLst>
          </p:cNvPr>
          <p:cNvSpPr/>
          <p:nvPr/>
        </p:nvSpPr>
        <p:spPr>
          <a:xfrm>
            <a:off x="11756536" y="6950754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67" name="Triangolo isoscele 35">
            <a:extLst>
              <a:ext uri="{FF2B5EF4-FFF2-40B4-BE49-F238E27FC236}">
                <a16:creationId xmlns:a16="http://schemas.microsoft.com/office/drawing/2014/main" id="{4E3302DD-2E72-FF4F-B090-66F4E4172F59}"/>
              </a:ext>
            </a:extLst>
          </p:cNvPr>
          <p:cNvSpPr/>
          <p:nvPr/>
        </p:nvSpPr>
        <p:spPr>
          <a:xfrm rot="5400000">
            <a:off x="-276040" y="885372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68" name="Triangolo isoscele 36">
            <a:extLst>
              <a:ext uri="{FF2B5EF4-FFF2-40B4-BE49-F238E27FC236}">
                <a16:creationId xmlns:a16="http://schemas.microsoft.com/office/drawing/2014/main" id="{FFF548D1-E814-ED45-B13F-011F98993545}"/>
              </a:ext>
            </a:extLst>
          </p:cNvPr>
          <p:cNvSpPr/>
          <p:nvPr/>
        </p:nvSpPr>
        <p:spPr>
          <a:xfrm rot="5400000">
            <a:off x="-276039" y="5982836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69" name="Triangolo isoscele 37">
            <a:extLst>
              <a:ext uri="{FF2B5EF4-FFF2-40B4-BE49-F238E27FC236}">
                <a16:creationId xmlns:a16="http://schemas.microsoft.com/office/drawing/2014/main" id="{BBD06D14-4475-2D4B-858E-8CCBC69E29DE}"/>
              </a:ext>
            </a:extLst>
          </p:cNvPr>
          <p:cNvSpPr/>
          <p:nvPr/>
        </p:nvSpPr>
        <p:spPr>
          <a:xfrm rot="16200000">
            <a:off x="12331119" y="885372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70" name="Triangolo isoscele 38">
            <a:extLst>
              <a:ext uri="{FF2B5EF4-FFF2-40B4-BE49-F238E27FC236}">
                <a16:creationId xmlns:a16="http://schemas.microsoft.com/office/drawing/2014/main" id="{11F94D96-987E-8E4A-926C-AAECB6B55708}"/>
              </a:ext>
            </a:extLst>
          </p:cNvPr>
          <p:cNvSpPr/>
          <p:nvPr/>
        </p:nvSpPr>
        <p:spPr>
          <a:xfrm rot="16200000">
            <a:off x="12331120" y="5982836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pic>
        <p:nvPicPr>
          <p:cNvPr id="71" name="Elemento grafico 70">
            <a:extLst>
              <a:ext uri="{FF2B5EF4-FFF2-40B4-BE49-F238E27FC236}">
                <a16:creationId xmlns:a16="http://schemas.microsoft.com/office/drawing/2014/main" id="{D24B76CA-E254-4F46-A3E2-4AC75BF829EE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081892" y="-5080"/>
            <a:ext cx="1560273" cy="309880"/>
          </a:xfrm>
          <a:prstGeom prst="rect">
            <a:avLst/>
          </a:prstGeom>
        </p:spPr>
      </p:pic>
      <p:sp>
        <p:nvSpPr>
          <p:cNvPr id="72" name="object 267">
            <a:extLst>
              <a:ext uri="{FF2B5EF4-FFF2-40B4-BE49-F238E27FC236}">
                <a16:creationId xmlns:a16="http://schemas.microsoft.com/office/drawing/2014/main" id="{1B1F0D68-9E91-FA49-BA43-DBE4F30B0332}"/>
              </a:ext>
            </a:extLst>
          </p:cNvPr>
          <p:cNvSpPr/>
          <p:nvPr/>
        </p:nvSpPr>
        <p:spPr>
          <a:xfrm>
            <a:off x="0" y="1251482"/>
            <a:ext cx="675518" cy="45719"/>
          </a:xfrm>
          <a:custGeom>
            <a:avLst/>
            <a:gdLst/>
            <a:ahLst/>
            <a:cxnLst/>
            <a:rect l="l" t="t" r="r" b="b"/>
            <a:pathLst>
              <a:path w="657225">
                <a:moveTo>
                  <a:pt x="0" y="0"/>
                </a:moveTo>
                <a:lnTo>
                  <a:pt x="656678" y="0"/>
                </a:lnTo>
              </a:path>
            </a:pathLst>
          </a:custGeom>
          <a:ln w="76200">
            <a:solidFill>
              <a:srgbClr val="EEDC00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JhengHei UI Light" panose="020B0304030504040204" pitchFamily="34" charset="-120"/>
              <a:ea typeface="Microsoft JhengHei UI Light" panose="020B0304030504040204" pitchFamily="34" charset="-120"/>
              <a:cs typeface="+mn-cs"/>
            </a:endParaRPr>
          </a:p>
        </p:txBody>
      </p:sp>
      <p:sp>
        <p:nvSpPr>
          <p:cNvPr id="73" name="Estrai 72">
            <a:extLst>
              <a:ext uri="{FF2B5EF4-FFF2-40B4-BE49-F238E27FC236}">
                <a16:creationId xmlns:a16="http://schemas.microsoft.com/office/drawing/2014/main" id="{F5F1EC3C-A95B-E243-B9D1-1689DCB785E2}"/>
              </a:ext>
            </a:extLst>
          </p:cNvPr>
          <p:cNvSpPr/>
          <p:nvPr/>
        </p:nvSpPr>
        <p:spPr>
          <a:xfrm rot="5400000">
            <a:off x="5471797" y="3489972"/>
            <a:ext cx="1567955" cy="451172"/>
          </a:xfrm>
          <a:prstGeom prst="flowChartExtract">
            <a:avLst/>
          </a:prstGeom>
          <a:gradFill flip="none" rotWithShape="1">
            <a:gsLst>
              <a:gs pos="0">
                <a:srgbClr val="0047BB">
                  <a:alpha val="0"/>
                </a:srgbClr>
              </a:gs>
              <a:gs pos="90000">
                <a:srgbClr val="0047BB">
                  <a:alpha val="30000"/>
                </a:srgb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venir Next LT Pro" panose="020B0504020202020204" pitchFamily="34" charset="77"/>
              <a:ea typeface="+mn-ea"/>
              <a:cs typeface="+mn-cs"/>
            </a:endParaRPr>
          </a:p>
        </p:txBody>
      </p:sp>
      <p:grpSp>
        <p:nvGrpSpPr>
          <p:cNvPr id="74" name="Gruppo 73">
            <a:extLst>
              <a:ext uri="{FF2B5EF4-FFF2-40B4-BE49-F238E27FC236}">
                <a16:creationId xmlns:a16="http://schemas.microsoft.com/office/drawing/2014/main" id="{0892F0E9-E272-DA4D-B9AC-8A766720A3AA}"/>
              </a:ext>
            </a:extLst>
          </p:cNvPr>
          <p:cNvGrpSpPr/>
          <p:nvPr/>
        </p:nvGrpSpPr>
        <p:grpSpPr>
          <a:xfrm>
            <a:off x="633940" y="1509967"/>
            <a:ext cx="756000" cy="756000"/>
            <a:chOff x="633940" y="1509967"/>
            <a:chExt cx="756000" cy="756000"/>
          </a:xfrm>
        </p:grpSpPr>
        <p:sp>
          <p:nvSpPr>
            <p:cNvPr id="75" name="object 46">
              <a:extLst>
                <a:ext uri="{FF2B5EF4-FFF2-40B4-BE49-F238E27FC236}">
                  <a16:creationId xmlns:a16="http://schemas.microsoft.com/office/drawing/2014/main" id="{132D278B-6098-484C-BC7B-F1B369A6C22B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33940" y="1509967"/>
              <a:ext cx="756000" cy="756000"/>
            </a:xfrm>
            <a:custGeom>
              <a:avLst/>
              <a:gdLst/>
              <a:ahLst/>
              <a:cxnLst/>
              <a:rect l="l" t="t" r="r" b="b"/>
              <a:pathLst>
                <a:path w="1009650" h="1009650">
                  <a:moveTo>
                    <a:pt x="1009637" y="504825"/>
                  </a:moveTo>
                  <a:lnTo>
                    <a:pt x="1007326" y="553440"/>
                  </a:lnTo>
                  <a:lnTo>
                    <a:pt x="1000534" y="600748"/>
                  </a:lnTo>
                  <a:lnTo>
                    <a:pt x="989474" y="646537"/>
                  </a:lnTo>
                  <a:lnTo>
                    <a:pt x="974355" y="690596"/>
                  </a:lnTo>
                  <a:lnTo>
                    <a:pt x="955391" y="732714"/>
                  </a:lnTo>
                  <a:lnTo>
                    <a:pt x="932791" y="772678"/>
                  </a:lnTo>
                  <a:lnTo>
                    <a:pt x="906769" y="810276"/>
                  </a:lnTo>
                  <a:lnTo>
                    <a:pt x="877535" y="845298"/>
                  </a:lnTo>
                  <a:lnTo>
                    <a:pt x="845302" y="877532"/>
                  </a:lnTo>
                  <a:lnTo>
                    <a:pt x="810279" y="906766"/>
                  </a:lnTo>
                  <a:lnTo>
                    <a:pt x="772680" y="932789"/>
                  </a:lnTo>
                  <a:lnTo>
                    <a:pt x="732715" y="955389"/>
                  </a:lnTo>
                  <a:lnTo>
                    <a:pt x="690596" y="974354"/>
                  </a:lnTo>
                  <a:lnTo>
                    <a:pt x="646535" y="989473"/>
                  </a:lnTo>
                  <a:lnTo>
                    <a:pt x="600743" y="1000534"/>
                  </a:lnTo>
                  <a:lnTo>
                    <a:pt x="553431" y="1007326"/>
                  </a:lnTo>
                  <a:lnTo>
                    <a:pt x="504812" y="1009637"/>
                  </a:lnTo>
                  <a:lnTo>
                    <a:pt x="456197" y="1007326"/>
                  </a:lnTo>
                  <a:lnTo>
                    <a:pt x="408888" y="1000534"/>
                  </a:lnTo>
                  <a:lnTo>
                    <a:pt x="363099" y="989473"/>
                  </a:lnTo>
                  <a:lnTo>
                    <a:pt x="319040" y="974354"/>
                  </a:lnTo>
                  <a:lnTo>
                    <a:pt x="276923" y="955389"/>
                  </a:lnTo>
                  <a:lnTo>
                    <a:pt x="236959" y="932789"/>
                  </a:lnTo>
                  <a:lnTo>
                    <a:pt x="199360" y="906766"/>
                  </a:lnTo>
                  <a:lnTo>
                    <a:pt x="164338" y="877532"/>
                  </a:lnTo>
                  <a:lnTo>
                    <a:pt x="132104" y="845298"/>
                  </a:lnTo>
                  <a:lnTo>
                    <a:pt x="102870" y="810276"/>
                  </a:lnTo>
                  <a:lnTo>
                    <a:pt x="76847" y="772678"/>
                  </a:lnTo>
                  <a:lnTo>
                    <a:pt x="54248" y="732714"/>
                  </a:lnTo>
                  <a:lnTo>
                    <a:pt x="35283" y="690596"/>
                  </a:lnTo>
                  <a:lnTo>
                    <a:pt x="20164" y="646537"/>
                  </a:lnTo>
                  <a:lnTo>
                    <a:pt x="9102" y="600748"/>
                  </a:lnTo>
                  <a:lnTo>
                    <a:pt x="2310" y="553440"/>
                  </a:lnTo>
                  <a:lnTo>
                    <a:pt x="0" y="504825"/>
                  </a:lnTo>
                  <a:lnTo>
                    <a:pt x="2310" y="456207"/>
                  </a:lnTo>
                  <a:lnTo>
                    <a:pt x="9102" y="408897"/>
                  </a:lnTo>
                  <a:lnTo>
                    <a:pt x="20164" y="363106"/>
                  </a:lnTo>
                  <a:lnTo>
                    <a:pt x="35283" y="319045"/>
                  </a:lnTo>
                  <a:lnTo>
                    <a:pt x="54248" y="276927"/>
                  </a:lnTo>
                  <a:lnTo>
                    <a:pt x="76847" y="236962"/>
                  </a:lnTo>
                  <a:lnTo>
                    <a:pt x="102870" y="199363"/>
                  </a:lnTo>
                  <a:lnTo>
                    <a:pt x="132104" y="164340"/>
                  </a:lnTo>
                  <a:lnTo>
                    <a:pt x="164338" y="132105"/>
                  </a:lnTo>
                  <a:lnTo>
                    <a:pt x="199360" y="102871"/>
                  </a:lnTo>
                  <a:lnTo>
                    <a:pt x="236959" y="76848"/>
                  </a:lnTo>
                  <a:lnTo>
                    <a:pt x="276923" y="54248"/>
                  </a:lnTo>
                  <a:lnTo>
                    <a:pt x="319040" y="35283"/>
                  </a:lnTo>
                  <a:lnTo>
                    <a:pt x="363099" y="20164"/>
                  </a:lnTo>
                  <a:lnTo>
                    <a:pt x="408888" y="9102"/>
                  </a:lnTo>
                  <a:lnTo>
                    <a:pt x="456197" y="2310"/>
                  </a:lnTo>
                  <a:lnTo>
                    <a:pt x="504812" y="0"/>
                  </a:lnTo>
                  <a:lnTo>
                    <a:pt x="553431" y="2310"/>
                  </a:lnTo>
                  <a:lnTo>
                    <a:pt x="600743" y="9102"/>
                  </a:lnTo>
                  <a:lnTo>
                    <a:pt x="646535" y="20164"/>
                  </a:lnTo>
                  <a:lnTo>
                    <a:pt x="690596" y="35283"/>
                  </a:lnTo>
                  <a:lnTo>
                    <a:pt x="732715" y="54248"/>
                  </a:lnTo>
                  <a:lnTo>
                    <a:pt x="772680" y="76848"/>
                  </a:lnTo>
                  <a:lnTo>
                    <a:pt x="810279" y="102871"/>
                  </a:lnTo>
                  <a:lnTo>
                    <a:pt x="845302" y="132105"/>
                  </a:lnTo>
                  <a:lnTo>
                    <a:pt x="877535" y="164340"/>
                  </a:lnTo>
                  <a:lnTo>
                    <a:pt x="906769" y="199363"/>
                  </a:lnTo>
                  <a:lnTo>
                    <a:pt x="932791" y="236962"/>
                  </a:lnTo>
                  <a:lnTo>
                    <a:pt x="955391" y="276927"/>
                  </a:lnTo>
                  <a:lnTo>
                    <a:pt x="974355" y="319045"/>
                  </a:lnTo>
                  <a:lnTo>
                    <a:pt x="989474" y="363106"/>
                  </a:lnTo>
                  <a:lnTo>
                    <a:pt x="1000534" y="408897"/>
                  </a:lnTo>
                  <a:lnTo>
                    <a:pt x="1007326" y="456207"/>
                  </a:lnTo>
                  <a:lnTo>
                    <a:pt x="1009637" y="504825"/>
                  </a:lnTo>
                  <a:close/>
                </a:path>
              </a:pathLst>
            </a:custGeom>
            <a:solidFill>
              <a:schemeClr val="bg1"/>
            </a:solidFill>
            <a:ln w="12700">
              <a:solidFill>
                <a:srgbClr val="0046BA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3B3B3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76" name="object 47">
              <a:extLst>
                <a:ext uri="{FF2B5EF4-FFF2-40B4-BE49-F238E27FC236}">
                  <a16:creationId xmlns:a16="http://schemas.microsoft.com/office/drawing/2014/main" id="{66E9A941-73FB-C940-A108-9A51D7B4D583}"/>
                </a:ext>
              </a:extLst>
            </p:cNvPr>
            <p:cNvSpPr/>
            <p:nvPr userDrawn="1"/>
          </p:nvSpPr>
          <p:spPr>
            <a:xfrm>
              <a:off x="687940" y="1563967"/>
              <a:ext cx="648000" cy="648000"/>
            </a:xfrm>
            <a:custGeom>
              <a:avLst/>
              <a:gdLst/>
              <a:ahLst/>
              <a:cxnLst/>
              <a:rect l="l" t="t" r="r" b="b"/>
              <a:pathLst>
                <a:path w="836294" h="836294">
                  <a:moveTo>
                    <a:pt x="417944" y="0"/>
                  </a:moveTo>
                  <a:lnTo>
                    <a:pt x="369203" y="2811"/>
                  </a:lnTo>
                  <a:lnTo>
                    <a:pt x="322114" y="11038"/>
                  </a:lnTo>
                  <a:lnTo>
                    <a:pt x="276989" y="24365"/>
                  </a:lnTo>
                  <a:lnTo>
                    <a:pt x="234143" y="42480"/>
                  </a:lnTo>
                  <a:lnTo>
                    <a:pt x="193890" y="65069"/>
                  </a:lnTo>
                  <a:lnTo>
                    <a:pt x="156542" y="91818"/>
                  </a:lnTo>
                  <a:lnTo>
                    <a:pt x="122413" y="122413"/>
                  </a:lnTo>
                  <a:lnTo>
                    <a:pt x="91818" y="156542"/>
                  </a:lnTo>
                  <a:lnTo>
                    <a:pt x="65069" y="193890"/>
                  </a:lnTo>
                  <a:lnTo>
                    <a:pt x="42480" y="234143"/>
                  </a:lnTo>
                  <a:lnTo>
                    <a:pt x="24365" y="276989"/>
                  </a:lnTo>
                  <a:lnTo>
                    <a:pt x="11038" y="322114"/>
                  </a:lnTo>
                  <a:lnTo>
                    <a:pt x="2811" y="369203"/>
                  </a:lnTo>
                  <a:lnTo>
                    <a:pt x="0" y="417944"/>
                  </a:lnTo>
                  <a:lnTo>
                    <a:pt x="2811" y="466685"/>
                  </a:lnTo>
                  <a:lnTo>
                    <a:pt x="11038" y="513774"/>
                  </a:lnTo>
                  <a:lnTo>
                    <a:pt x="24365" y="558898"/>
                  </a:lnTo>
                  <a:lnTo>
                    <a:pt x="42480" y="601744"/>
                  </a:lnTo>
                  <a:lnTo>
                    <a:pt x="65069" y="641998"/>
                  </a:lnTo>
                  <a:lnTo>
                    <a:pt x="91818" y="679346"/>
                  </a:lnTo>
                  <a:lnTo>
                    <a:pt x="122413" y="713474"/>
                  </a:lnTo>
                  <a:lnTo>
                    <a:pt x="156542" y="744070"/>
                  </a:lnTo>
                  <a:lnTo>
                    <a:pt x="193890" y="770819"/>
                  </a:lnTo>
                  <a:lnTo>
                    <a:pt x="234143" y="793407"/>
                  </a:lnTo>
                  <a:lnTo>
                    <a:pt x="276989" y="811522"/>
                  </a:lnTo>
                  <a:lnTo>
                    <a:pt x="322114" y="824850"/>
                  </a:lnTo>
                  <a:lnTo>
                    <a:pt x="369203" y="833076"/>
                  </a:lnTo>
                  <a:lnTo>
                    <a:pt x="417944" y="835888"/>
                  </a:lnTo>
                  <a:lnTo>
                    <a:pt x="466685" y="833076"/>
                  </a:lnTo>
                  <a:lnTo>
                    <a:pt x="513774" y="824850"/>
                  </a:lnTo>
                  <a:lnTo>
                    <a:pt x="558898" y="811522"/>
                  </a:lnTo>
                  <a:lnTo>
                    <a:pt x="601744" y="793407"/>
                  </a:lnTo>
                  <a:lnTo>
                    <a:pt x="641998" y="770819"/>
                  </a:lnTo>
                  <a:lnTo>
                    <a:pt x="679346" y="744070"/>
                  </a:lnTo>
                  <a:lnTo>
                    <a:pt x="713474" y="713474"/>
                  </a:lnTo>
                  <a:lnTo>
                    <a:pt x="744070" y="679346"/>
                  </a:lnTo>
                  <a:lnTo>
                    <a:pt x="770819" y="641998"/>
                  </a:lnTo>
                  <a:lnTo>
                    <a:pt x="793407" y="601744"/>
                  </a:lnTo>
                  <a:lnTo>
                    <a:pt x="811522" y="558898"/>
                  </a:lnTo>
                  <a:lnTo>
                    <a:pt x="824850" y="513774"/>
                  </a:lnTo>
                  <a:lnTo>
                    <a:pt x="833076" y="466685"/>
                  </a:lnTo>
                  <a:lnTo>
                    <a:pt x="835888" y="417944"/>
                  </a:lnTo>
                  <a:lnTo>
                    <a:pt x="833076" y="369203"/>
                  </a:lnTo>
                  <a:lnTo>
                    <a:pt x="824850" y="322114"/>
                  </a:lnTo>
                  <a:lnTo>
                    <a:pt x="811522" y="276989"/>
                  </a:lnTo>
                  <a:lnTo>
                    <a:pt x="793407" y="234143"/>
                  </a:lnTo>
                  <a:lnTo>
                    <a:pt x="770819" y="193890"/>
                  </a:lnTo>
                  <a:lnTo>
                    <a:pt x="744070" y="156542"/>
                  </a:lnTo>
                  <a:lnTo>
                    <a:pt x="713474" y="122413"/>
                  </a:lnTo>
                  <a:lnTo>
                    <a:pt x="679346" y="91818"/>
                  </a:lnTo>
                  <a:lnTo>
                    <a:pt x="641998" y="65069"/>
                  </a:lnTo>
                  <a:lnTo>
                    <a:pt x="601744" y="42480"/>
                  </a:lnTo>
                  <a:lnTo>
                    <a:pt x="558898" y="24365"/>
                  </a:lnTo>
                  <a:lnTo>
                    <a:pt x="513774" y="11038"/>
                  </a:lnTo>
                  <a:lnTo>
                    <a:pt x="466685" y="2811"/>
                  </a:lnTo>
                  <a:lnTo>
                    <a:pt x="417944" y="0"/>
                  </a:lnTo>
                  <a:close/>
                </a:path>
              </a:pathLst>
            </a:custGeom>
            <a:solidFill>
              <a:srgbClr val="EEDC00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srgbClr val="3B3B3A"/>
                </a:solidFill>
                <a:effectLst/>
                <a:uLnTx/>
                <a:uFillTx/>
                <a:latin typeface="Avenir Next LT Pro" panose="020B0504020202020204" pitchFamily="34" charset="77"/>
                <a:ea typeface="+mn-ea"/>
                <a:cs typeface="+mn-cs"/>
              </a:endParaRPr>
            </a:p>
          </p:txBody>
        </p:sp>
      </p:grpSp>
      <p:cxnSp>
        <p:nvCxnSpPr>
          <p:cNvPr id="77" name="Connettore 1 46">
            <a:extLst>
              <a:ext uri="{FF2B5EF4-FFF2-40B4-BE49-F238E27FC236}">
                <a16:creationId xmlns:a16="http://schemas.microsoft.com/office/drawing/2014/main" id="{F4EA321C-5927-C044-998E-D94077234B74}"/>
              </a:ext>
            </a:extLst>
          </p:cNvPr>
          <p:cNvCxnSpPr>
            <a:cxnSpLocks/>
          </p:cNvCxnSpPr>
          <p:nvPr/>
        </p:nvCxnSpPr>
        <p:spPr>
          <a:xfrm>
            <a:off x="1395006" y="1889852"/>
            <a:ext cx="4140000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8" name="Gruppo 77">
            <a:extLst>
              <a:ext uri="{FF2B5EF4-FFF2-40B4-BE49-F238E27FC236}">
                <a16:creationId xmlns:a16="http://schemas.microsoft.com/office/drawing/2014/main" id="{364C0991-A5CD-024E-B8E0-551125589E03}"/>
              </a:ext>
            </a:extLst>
          </p:cNvPr>
          <p:cNvGrpSpPr/>
          <p:nvPr/>
        </p:nvGrpSpPr>
        <p:grpSpPr>
          <a:xfrm>
            <a:off x="629053" y="4156346"/>
            <a:ext cx="756000" cy="756000"/>
            <a:chOff x="633940" y="1509967"/>
            <a:chExt cx="756000" cy="756000"/>
          </a:xfrm>
        </p:grpSpPr>
        <p:sp>
          <p:nvSpPr>
            <p:cNvPr id="79" name="object 46">
              <a:extLst>
                <a:ext uri="{FF2B5EF4-FFF2-40B4-BE49-F238E27FC236}">
                  <a16:creationId xmlns:a16="http://schemas.microsoft.com/office/drawing/2014/main" id="{BE4A79C2-8592-5F48-809B-5FFFAEB0505E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33940" y="1509967"/>
              <a:ext cx="756000" cy="756000"/>
            </a:xfrm>
            <a:custGeom>
              <a:avLst/>
              <a:gdLst/>
              <a:ahLst/>
              <a:cxnLst/>
              <a:rect l="l" t="t" r="r" b="b"/>
              <a:pathLst>
                <a:path w="1009650" h="1009650">
                  <a:moveTo>
                    <a:pt x="1009637" y="504825"/>
                  </a:moveTo>
                  <a:lnTo>
                    <a:pt x="1007326" y="553440"/>
                  </a:lnTo>
                  <a:lnTo>
                    <a:pt x="1000534" y="600748"/>
                  </a:lnTo>
                  <a:lnTo>
                    <a:pt x="989474" y="646537"/>
                  </a:lnTo>
                  <a:lnTo>
                    <a:pt x="974355" y="690596"/>
                  </a:lnTo>
                  <a:lnTo>
                    <a:pt x="955391" y="732714"/>
                  </a:lnTo>
                  <a:lnTo>
                    <a:pt x="932791" y="772678"/>
                  </a:lnTo>
                  <a:lnTo>
                    <a:pt x="906769" y="810276"/>
                  </a:lnTo>
                  <a:lnTo>
                    <a:pt x="877535" y="845298"/>
                  </a:lnTo>
                  <a:lnTo>
                    <a:pt x="845302" y="877532"/>
                  </a:lnTo>
                  <a:lnTo>
                    <a:pt x="810279" y="906766"/>
                  </a:lnTo>
                  <a:lnTo>
                    <a:pt x="772680" y="932789"/>
                  </a:lnTo>
                  <a:lnTo>
                    <a:pt x="732715" y="955389"/>
                  </a:lnTo>
                  <a:lnTo>
                    <a:pt x="690596" y="974354"/>
                  </a:lnTo>
                  <a:lnTo>
                    <a:pt x="646535" y="989473"/>
                  </a:lnTo>
                  <a:lnTo>
                    <a:pt x="600743" y="1000534"/>
                  </a:lnTo>
                  <a:lnTo>
                    <a:pt x="553431" y="1007326"/>
                  </a:lnTo>
                  <a:lnTo>
                    <a:pt x="504812" y="1009637"/>
                  </a:lnTo>
                  <a:lnTo>
                    <a:pt x="456197" y="1007326"/>
                  </a:lnTo>
                  <a:lnTo>
                    <a:pt x="408888" y="1000534"/>
                  </a:lnTo>
                  <a:lnTo>
                    <a:pt x="363099" y="989473"/>
                  </a:lnTo>
                  <a:lnTo>
                    <a:pt x="319040" y="974354"/>
                  </a:lnTo>
                  <a:lnTo>
                    <a:pt x="276923" y="955389"/>
                  </a:lnTo>
                  <a:lnTo>
                    <a:pt x="236959" y="932789"/>
                  </a:lnTo>
                  <a:lnTo>
                    <a:pt x="199360" y="906766"/>
                  </a:lnTo>
                  <a:lnTo>
                    <a:pt x="164338" y="877532"/>
                  </a:lnTo>
                  <a:lnTo>
                    <a:pt x="132104" y="845298"/>
                  </a:lnTo>
                  <a:lnTo>
                    <a:pt x="102870" y="810276"/>
                  </a:lnTo>
                  <a:lnTo>
                    <a:pt x="76847" y="772678"/>
                  </a:lnTo>
                  <a:lnTo>
                    <a:pt x="54248" y="732714"/>
                  </a:lnTo>
                  <a:lnTo>
                    <a:pt x="35283" y="690596"/>
                  </a:lnTo>
                  <a:lnTo>
                    <a:pt x="20164" y="646537"/>
                  </a:lnTo>
                  <a:lnTo>
                    <a:pt x="9102" y="600748"/>
                  </a:lnTo>
                  <a:lnTo>
                    <a:pt x="2310" y="553440"/>
                  </a:lnTo>
                  <a:lnTo>
                    <a:pt x="0" y="504825"/>
                  </a:lnTo>
                  <a:lnTo>
                    <a:pt x="2310" y="456207"/>
                  </a:lnTo>
                  <a:lnTo>
                    <a:pt x="9102" y="408897"/>
                  </a:lnTo>
                  <a:lnTo>
                    <a:pt x="20164" y="363106"/>
                  </a:lnTo>
                  <a:lnTo>
                    <a:pt x="35283" y="319045"/>
                  </a:lnTo>
                  <a:lnTo>
                    <a:pt x="54248" y="276927"/>
                  </a:lnTo>
                  <a:lnTo>
                    <a:pt x="76847" y="236962"/>
                  </a:lnTo>
                  <a:lnTo>
                    <a:pt x="102870" y="199363"/>
                  </a:lnTo>
                  <a:lnTo>
                    <a:pt x="132104" y="164340"/>
                  </a:lnTo>
                  <a:lnTo>
                    <a:pt x="164338" y="132105"/>
                  </a:lnTo>
                  <a:lnTo>
                    <a:pt x="199360" y="102871"/>
                  </a:lnTo>
                  <a:lnTo>
                    <a:pt x="236959" y="76848"/>
                  </a:lnTo>
                  <a:lnTo>
                    <a:pt x="276923" y="54248"/>
                  </a:lnTo>
                  <a:lnTo>
                    <a:pt x="319040" y="35283"/>
                  </a:lnTo>
                  <a:lnTo>
                    <a:pt x="363099" y="20164"/>
                  </a:lnTo>
                  <a:lnTo>
                    <a:pt x="408888" y="9102"/>
                  </a:lnTo>
                  <a:lnTo>
                    <a:pt x="456197" y="2310"/>
                  </a:lnTo>
                  <a:lnTo>
                    <a:pt x="504812" y="0"/>
                  </a:lnTo>
                  <a:lnTo>
                    <a:pt x="553431" y="2310"/>
                  </a:lnTo>
                  <a:lnTo>
                    <a:pt x="600743" y="9102"/>
                  </a:lnTo>
                  <a:lnTo>
                    <a:pt x="646535" y="20164"/>
                  </a:lnTo>
                  <a:lnTo>
                    <a:pt x="690596" y="35283"/>
                  </a:lnTo>
                  <a:lnTo>
                    <a:pt x="732715" y="54248"/>
                  </a:lnTo>
                  <a:lnTo>
                    <a:pt x="772680" y="76848"/>
                  </a:lnTo>
                  <a:lnTo>
                    <a:pt x="810279" y="102871"/>
                  </a:lnTo>
                  <a:lnTo>
                    <a:pt x="845302" y="132105"/>
                  </a:lnTo>
                  <a:lnTo>
                    <a:pt x="877535" y="164340"/>
                  </a:lnTo>
                  <a:lnTo>
                    <a:pt x="906769" y="199363"/>
                  </a:lnTo>
                  <a:lnTo>
                    <a:pt x="932791" y="236962"/>
                  </a:lnTo>
                  <a:lnTo>
                    <a:pt x="955391" y="276927"/>
                  </a:lnTo>
                  <a:lnTo>
                    <a:pt x="974355" y="319045"/>
                  </a:lnTo>
                  <a:lnTo>
                    <a:pt x="989474" y="363106"/>
                  </a:lnTo>
                  <a:lnTo>
                    <a:pt x="1000534" y="408897"/>
                  </a:lnTo>
                  <a:lnTo>
                    <a:pt x="1007326" y="456207"/>
                  </a:lnTo>
                  <a:lnTo>
                    <a:pt x="1009637" y="504825"/>
                  </a:lnTo>
                  <a:close/>
                </a:path>
              </a:pathLst>
            </a:custGeom>
            <a:solidFill>
              <a:schemeClr val="bg1"/>
            </a:solidFill>
            <a:ln w="12700">
              <a:solidFill>
                <a:srgbClr val="0046BA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3B3B3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80" name="object 47">
              <a:extLst>
                <a:ext uri="{FF2B5EF4-FFF2-40B4-BE49-F238E27FC236}">
                  <a16:creationId xmlns:a16="http://schemas.microsoft.com/office/drawing/2014/main" id="{96375D70-9925-4F42-AEAE-8DCCCB01BD51}"/>
                </a:ext>
              </a:extLst>
            </p:cNvPr>
            <p:cNvSpPr/>
            <p:nvPr userDrawn="1"/>
          </p:nvSpPr>
          <p:spPr>
            <a:xfrm>
              <a:off x="687940" y="1563967"/>
              <a:ext cx="648000" cy="648000"/>
            </a:xfrm>
            <a:custGeom>
              <a:avLst/>
              <a:gdLst/>
              <a:ahLst/>
              <a:cxnLst/>
              <a:rect l="l" t="t" r="r" b="b"/>
              <a:pathLst>
                <a:path w="836294" h="836294">
                  <a:moveTo>
                    <a:pt x="417944" y="0"/>
                  </a:moveTo>
                  <a:lnTo>
                    <a:pt x="369203" y="2811"/>
                  </a:lnTo>
                  <a:lnTo>
                    <a:pt x="322114" y="11038"/>
                  </a:lnTo>
                  <a:lnTo>
                    <a:pt x="276989" y="24365"/>
                  </a:lnTo>
                  <a:lnTo>
                    <a:pt x="234143" y="42480"/>
                  </a:lnTo>
                  <a:lnTo>
                    <a:pt x="193890" y="65069"/>
                  </a:lnTo>
                  <a:lnTo>
                    <a:pt x="156542" y="91818"/>
                  </a:lnTo>
                  <a:lnTo>
                    <a:pt x="122413" y="122413"/>
                  </a:lnTo>
                  <a:lnTo>
                    <a:pt x="91818" y="156542"/>
                  </a:lnTo>
                  <a:lnTo>
                    <a:pt x="65069" y="193890"/>
                  </a:lnTo>
                  <a:lnTo>
                    <a:pt x="42480" y="234143"/>
                  </a:lnTo>
                  <a:lnTo>
                    <a:pt x="24365" y="276989"/>
                  </a:lnTo>
                  <a:lnTo>
                    <a:pt x="11038" y="322114"/>
                  </a:lnTo>
                  <a:lnTo>
                    <a:pt x="2811" y="369203"/>
                  </a:lnTo>
                  <a:lnTo>
                    <a:pt x="0" y="417944"/>
                  </a:lnTo>
                  <a:lnTo>
                    <a:pt x="2811" y="466685"/>
                  </a:lnTo>
                  <a:lnTo>
                    <a:pt x="11038" y="513774"/>
                  </a:lnTo>
                  <a:lnTo>
                    <a:pt x="24365" y="558898"/>
                  </a:lnTo>
                  <a:lnTo>
                    <a:pt x="42480" y="601744"/>
                  </a:lnTo>
                  <a:lnTo>
                    <a:pt x="65069" y="641998"/>
                  </a:lnTo>
                  <a:lnTo>
                    <a:pt x="91818" y="679346"/>
                  </a:lnTo>
                  <a:lnTo>
                    <a:pt x="122413" y="713474"/>
                  </a:lnTo>
                  <a:lnTo>
                    <a:pt x="156542" y="744070"/>
                  </a:lnTo>
                  <a:lnTo>
                    <a:pt x="193890" y="770819"/>
                  </a:lnTo>
                  <a:lnTo>
                    <a:pt x="234143" y="793407"/>
                  </a:lnTo>
                  <a:lnTo>
                    <a:pt x="276989" y="811522"/>
                  </a:lnTo>
                  <a:lnTo>
                    <a:pt x="322114" y="824850"/>
                  </a:lnTo>
                  <a:lnTo>
                    <a:pt x="369203" y="833076"/>
                  </a:lnTo>
                  <a:lnTo>
                    <a:pt x="417944" y="835888"/>
                  </a:lnTo>
                  <a:lnTo>
                    <a:pt x="466685" y="833076"/>
                  </a:lnTo>
                  <a:lnTo>
                    <a:pt x="513774" y="824850"/>
                  </a:lnTo>
                  <a:lnTo>
                    <a:pt x="558898" y="811522"/>
                  </a:lnTo>
                  <a:lnTo>
                    <a:pt x="601744" y="793407"/>
                  </a:lnTo>
                  <a:lnTo>
                    <a:pt x="641998" y="770819"/>
                  </a:lnTo>
                  <a:lnTo>
                    <a:pt x="679346" y="744070"/>
                  </a:lnTo>
                  <a:lnTo>
                    <a:pt x="713474" y="713474"/>
                  </a:lnTo>
                  <a:lnTo>
                    <a:pt x="744070" y="679346"/>
                  </a:lnTo>
                  <a:lnTo>
                    <a:pt x="770819" y="641998"/>
                  </a:lnTo>
                  <a:lnTo>
                    <a:pt x="793407" y="601744"/>
                  </a:lnTo>
                  <a:lnTo>
                    <a:pt x="811522" y="558898"/>
                  </a:lnTo>
                  <a:lnTo>
                    <a:pt x="824850" y="513774"/>
                  </a:lnTo>
                  <a:lnTo>
                    <a:pt x="833076" y="466685"/>
                  </a:lnTo>
                  <a:lnTo>
                    <a:pt x="835888" y="417944"/>
                  </a:lnTo>
                  <a:lnTo>
                    <a:pt x="833076" y="369203"/>
                  </a:lnTo>
                  <a:lnTo>
                    <a:pt x="824850" y="322114"/>
                  </a:lnTo>
                  <a:lnTo>
                    <a:pt x="811522" y="276989"/>
                  </a:lnTo>
                  <a:lnTo>
                    <a:pt x="793407" y="234143"/>
                  </a:lnTo>
                  <a:lnTo>
                    <a:pt x="770819" y="193890"/>
                  </a:lnTo>
                  <a:lnTo>
                    <a:pt x="744070" y="156542"/>
                  </a:lnTo>
                  <a:lnTo>
                    <a:pt x="713474" y="122413"/>
                  </a:lnTo>
                  <a:lnTo>
                    <a:pt x="679346" y="91818"/>
                  </a:lnTo>
                  <a:lnTo>
                    <a:pt x="641998" y="65069"/>
                  </a:lnTo>
                  <a:lnTo>
                    <a:pt x="601744" y="42480"/>
                  </a:lnTo>
                  <a:lnTo>
                    <a:pt x="558898" y="24365"/>
                  </a:lnTo>
                  <a:lnTo>
                    <a:pt x="513774" y="11038"/>
                  </a:lnTo>
                  <a:lnTo>
                    <a:pt x="466685" y="2811"/>
                  </a:lnTo>
                  <a:lnTo>
                    <a:pt x="417944" y="0"/>
                  </a:lnTo>
                  <a:close/>
                </a:path>
              </a:pathLst>
            </a:custGeom>
            <a:solidFill>
              <a:srgbClr val="EEDC00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srgbClr val="3B3B3A"/>
                </a:solidFill>
                <a:effectLst/>
                <a:uLnTx/>
                <a:uFillTx/>
                <a:latin typeface="Avenir Next LT Pro" panose="020B0504020202020204" pitchFamily="34" charset="77"/>
                <a:ea typeface="+mn-ea"/>
                <a:cs typeface="+mn-cs"/>
              </a:endParaRPr>
            </a:p>
          </p:txBody>
        </p:sp>
      </p:grpSp>
      <p:cxnSp>
        <p:nvCxnSpPr>
          <p:cNvPr id="81" name="Connettore 1 46">
            <a:extLst>
              <a:ext uri="{FF2B5EF4-FFF2-40B4-BE49-F238E27FC236}">
                <a16:creationId xmlns:a16="http://schemas.microsoft.com/office/drawing/2014/main" id="{6C47996B-507E-1D4F-9901-B49634A11943}"/>
              </a:ext>
            </a:extLst>
          </p:cNvPr>
          <p:cNvCxnSpPr>
            <a:cxnSpLocks/>
          </p:cNvCxnSpPr>
          <p:nvPr/>
        </p:nvCxnSpPr>
        <p:spPr>
          <a:xfrm>
            <a:off x="1390119" y="4536231"/>
            <a:ext cx="4140000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Segnaposto titolo 1">
            <a:extLst>
              <a:ext uri="{FF2B5EF4-FFF2-40B4-BE49-F238E27FC236}">
                <a16:creationId xmlns:a16="http://schemas.microsoft.com/office/drawing/2014/main" id="{88A8C36C-2150-F544-BA82-1CBB3B23ACC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7394" y="504194"/>
            <a:ext cx="10515600" cy="725421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it-IT"/>
              <a:t>Fare clic per modificare lo stile del titolo dello schema</a:t>
            </a:r>
            <a:endParaRPr lang="it-IT" dirty="0"/>
          </a:p>
        </p:txBody>
      </p:sp>
      <p:sp>
        <p:nvSpPr>
          <p:cNvPr id="2" name="CasellaDiTesto 1">
            <a:extLst>
              <a:ext uri="{FF2B5EF4-FFF2-40B4-BE49-F238E27FC236}">
                <a16:creationId xmlns:a16="http://schemas.microsoft.com/office/drawing/2014/main" id="{BB25D38C-E3F1-4CD1-C788-B37176A61846}"/>
              </a:ext>
            </a:extLst>
          </p:cNvPr>
          <p:cNvSpPr txBox="1"/>
          <p:nvPr userDrawn="1"/>
        </p:nvSpPr>
        <p:spPr>
          <a:xfrm>
            <a:off x="3916392" y="6623540"/>
            <a:ext cx="739499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it-IT" sz="800" i="1" dirty="0"/>
              <a:t>Documento ad uso esclusivamente interno, da intendersi come strettamente riservato; non è autorizzata la trasmissione ad altri e la divulgazione all’esterno.</a:t>
            </a:r>
            <a:endParaRPr lang="en-US" sz="800" i="1" dirty="0"/>
          </a:p>
        </p:txBody>
      </p:sp>
    </p:spTree>
    <p:extLst>
      <p:ext uri="{BB962C8B-B14F-4D97-AF65-F5344CB8AC3E}">
        <p14:creationId xmlns:p14="http://schemas.microsoft.com/office/powerpoint/2010/main" val="2201050649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ezione">
    <p:bg>
      <p:bgPr>
        <a:solidFill>
          <a:srgbClr val="F7DA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object 28">
            <a:extLst>
              <a:ext uri="{FF2B5EF4-FFF2-40B4-BE49-F238E27FC236}">
                <a16:creationId xmlns:a16="http://schemas.microsoft.com/office/drawing/2014/main" id="{A758824C-3E00-2367-9337-E3CBE42C9243}"/>
              </a:ext>
            </a:extLst>
          </p:cNvPr>
          <p:cNvSpPr/>
          <p:nvPr userDrawn="1"/>
        </p:nvSpPr>
        <p:spPr>
          <a:xfrm>
            <a:off x="9270644" y="0"/>
            <a:ext cx="2324735" cy="464820"/>
          </a:xfrm>
          <a:custGeom>
            <a:avLst/>
            <a:gdLst/>
            <a:ahLst/>
            <a:cxnLst/>
            <a:rect l="l" t="t" r="r" b="b"/>
            <a:pathLst>
              <a:path w="2324734" h="464820">
                <a:moveTo>
                  <a:pt x="0" y="464743"/>
                </a:moveTo>
                <a:lnTo>
                  <a:pt x="2324519" y="464743"/>
                </a:lnTo>
                <a:lnTo>
                  <a:pt x="2324519" y="0"/>
                </a:lnTo>
                <a:lnTo>
                  <a:pt x="0" y="0"/>
                </a:lnTo>
                <a:lnTo>
                  <a:pt x="0" y="464743"/>
                </a:lnTo>
                <a:close/>
              </a:path>
            </a:pathLst>
          </a:custGeom>
          <a:solidFill>
            <a:srgbClr val="F7DA00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venir Next LT Pro" pitchFamily="2" charset="0"/>
              <a:ea typeface="+mn-ea"/>
              <a:cs typeface="+mn-cs"/>
            </a:endParaRPr>
          </a:p>
        </p:txBody>
      </p:sp>
      <p:sp>
        <p:nvSpPr>
          <p:cNvPr id="48" name="object 29">
            <a:extLst>
              <a:ext uri="{FF2B5EF4-FFF2-40B4-BE49-F238E27FC236}">
                <a16:creationId xmlns:a16="http://schemas.microsoft.com/office/drawing/2014/main" id="{00257BFB-1996-00B4-9890-8FBF531386EE}"/>
              </a:ext>
            </a:extLst>
          </p:cNvPr>
          <p:cNvSpPr/>
          <p:nvPr userDrawn="1"/>
        </p:nvSpPr>
        <p:spPr>
          <a:xfrm>
            <a:off x="9609109" y="121182"/>
            <a:ext cx="1671320" cy="220979"/>
          </a:xfrm>
          <a:custGeom>
            <a:avLst/>
            <a:gdLst/>
            <a:ahLst/>
            <a:cxnLst/>
            <a:rect l="l" t="t" r="r" b="b"/>
            <a:pathLst>
              <a:path w="1671320" h="220979">
                <a:moveTo>
                  <a:pt x="1604911" y="61328"/>
                </a:moveTo>
                <a:lnTo>
                  <a:pt x="1573965" y="67762"/>
                </a:lnTo>
                <a:lnTo>
                  <a:pt x="1552244" y="85215"/>
                </a:lnTo>
                <a:lnTo>
                  <a:pt x="1539439" y="110914"/>
                </a:lnTo>
                <a:lnTo>
                  <a:pt x="1535239" y="142087"/>
                </a:lnTo>
                <a:lnTo>
                  <a:pt x="1538978" y="173008"/>
                </a:lnTo>
                <a:lnTo>
                  <a:pt x="1550817" y="197869"/>
                </a:lnTo>
                <a:lnTo>
                  <a:pt x="1571688" y="214428"/>
                </a:lnTo>
                <a:lnTo>
                  <a:pt x="1602524" y="220446"/>
                </a:lnTo>
                <a:lnTo>
                  <a:pt x="1627461" y="217251"/>
                </a:lnTo>
                <a:lnTo>
                  <a:pt x="1647651" y="207665"/>
                </a:lnTo>
                <a:lnTo>
                  <a:pt x="1654658" y="199834"/>
                </a:lnTo>
                <a:lnTo>
                  <a:pt x="1602841" y="199834"/>
                </a:lnTo>
                <a:lnTo>
                  <a:pt x="1584419" y="195165"/>
                </a:lnTo>
                <a:lnTo>
                  <a:pt x="1572329" y="182919"/>
                </a:lnTo>
                <a:lnTo>
                  <a:pt x="1566069" y="165742"/>
                </a:lnTo>
                <a:lnTo>
                  <a:pt x="1565135" y="146278"/>
                </a:lnTo>
                <a:lnTo>
                  <a:pt x="1671002" y="146278"/>
                </a:lnTo>
                <a:lnTo>
                  <a:pt x="1671002" y="132245"/>
                </a:lnTo>
                <a:lnTo>
                  <a:pt x="1670198" y="126542"/>
                </a:lnTo>
                <a:lnTo>
                  <a:pt x="1565135" y="126542"/>
                </a:lnTo>
                <a:lnTo>
                  <a:pt x="1567697" y="109219"/>
                </a:lnTo>
                <a:lnTo>
                  <a:pt x="1575111" y="95056"/>
                </a:lnTo>
                <a:lnTo>
                  <a:pt x="1586963" y="85498"/>
                </a:lnTo>
                <a:lnTo>
                  <a:pt x="1602841" y="81991"/>
                </a:lnTo>
                <a:lnTo>
                  <a:pt x="1655030" y="81991"/>
                </a:lnTo>
                <a:lnTo>
                  <a:pt x="1654778" y="81532"/>
                </a:lnTo>
                <a:lnTo>
                  <a:pt x="1634162" y="66949"/>
                </a:lnTo>
                <a:lnTo>
                  <a:pt x="1604911" y="61328"/>
                </a:lnTo>
                <a:close/>
              </a:path>
              <a:path w="1671320" h="220979">
                <a:moveTo>
                  <a:pt x="1669186" y="169329"/>
                </a:moveTo>
                <a:lnTo>
                  <a:pt x="1639303" y="169329"/>
                </a:lnTo>
                <a:lnTo>
                  <a:pt x="1635317" y="183294"/>
                </a:lnTo>
                <a:lnTo>
                  <a:pt x="1628120" y="192759"/>
                </a:lnTo>
                <a:lnTo>
                  <a:pt x="1617400" y="198134"/>
                </a:lnTo>
                <a:lnTo>
                  <a:pt x="1602841" y="199834"/>
                </a:lnTo>
                <a:lnTo>
                  <a:pt x="1654658" y="199834"/>
                </a:lnTo>
                <a:lnTo>
                  <a:pt x="1661944" y="191691"/>
                </a:lnTo>
                <a:lnTo>
                  <a:pt x="1669186" y="169329"/>
                </a:lnTo>
                <a:close/>
              </a:path>
              <a:path w="1671320" h="220979">
                <a:moveTo>
                  <a:pt x="1655030" y="81991"/>
                </a:moveTo>
                <a:lnTo>
                  <a:pt x="1602841" y="81991"/>
                </a:lnTo>
                <a:lnTo>
                  <a:pt x="1620507" y="85419"/>
                </a:lnTo>
                <a:lnTo>
                  <a:pt x="1632510" y="94846"/>
                </a:lnTo>
                <a:lnTo>
                  <a:pt x="1639247" y="108983"/>
                </a:lnTo>
                <a:lnTo>
                  <a:pt x="1641119" y="126542"/>
                </a:lnTo>
                <a:lnTo>
                  <a:pt x="1670198" y="126542"/>
                </a:lnTo>
                <a:lnTo>
                  <a:pt x="1666983" y="103742"/>
                </a:lnTo>
                <a:lnTo>
                  <a:pt x="1655030" y="81991"/>
                </a:lnTo>
                <a:close/>
              </a:path>
              <a:path w="1671320" h="220979">
                <a:moveTo>
                  <a:pt x="1415910" y="65836"/>
                </a:moveTo>
                <a:lnTo>
                  <a:pt x="1388097" y="65836"/>
                </a:lnTo>
                <a:lnTo>
                  <a:pt x="1388097" y="215988"/>
                </a:lnTo>
                <a:lnTo>
                  <a:pt x="1416469" y="215988"/>
                </a:lnTo>
                <a:lnTo>
                  <a:pt x="1416469" y="134315"/>
                </a:lnTo>
                <a:lnTo>
                  <a:pt x="1417749" y="116268"/>
                </a:lnTo>
                <a:lnTo>
                  <a:pt x="1420880" y="104843"/>
                </a:lnTo>
                <a:lnTo>
                  <a:pt x="1424800" y="98130"/>
                </a:lnTo>
                <a:lnTo>
                  <a:pt x="1428445" y="94221"/>
                </a:lnTo>
                <a:lnTo>
                  <a:pt x="1437109" y="87947"/>
                </a:lnTo>
                <a:lnTo>
                  <a:pt x="1415910" y="87947"/>
                </a:lnTo>
                <a:lnTo>
                  <a:pt x="1415910" y="65836"/>
                </a:lnTo>
                <a:close/>
              </a:path>
              <a:path w="1671320" h="220979">
                <a:moveTo>
                  <a:pt x="1510544" y="83185"/>
                </a:moveTo>
                <a:lnTo>
                  <a:pt x="1455991" y="83185"/>
                </a:lnTo>
                <a:lnTo>
                  <a:pt x="1471435" y="85676"/>
                </a:lnTo>
                <a:lnTo>
                  <a:pt x="1482120" y="93017"/>
                </a:lnTo>
                <a:lnTo>
                  <a:pt x="1488325" y="105012"/>
                </a:lnTo>
                <a:lnTo>
                  <a:pt x="1490332" y="121462"/>
                </a:lnTo>
                <a:lnTo>
                  <a:pt x="1490332" y="215988"/>
                </a:lnTo>
                <a:lnTo>
                  <a:pt x="1518780" y="215988"/>
                </a:lnTo>
                <a:lnTo>
                  <a:pt x="1518780" y="112191"/>
                </a:lnTo>
                <a:lnTo>
                  <a:pt x="1511371" y="83922"/>
                </a:lnTo>
                <a:lnTo>
                  <a:pt x="1510544" y="83185"/>
                </a:lnTo>
                <a:close/>
              </a:path>
              <a:path w="1671320" h="220979">
                <a:moveTo>
                  <a:pt x="1461947" y="61328"/>
                </a:moveTo>
                <a:lnTo>
                  <a:pt x="1449878" y="62844"/>
                </a:lnTo>
                <a:lnTo>
                  <a:pt x="1437193" y="67589"/>
                </a:lnTo>
                <a:lnTo>
                  <a:pt x="1425516" y="75858"/>
                </a:lnTo>
                <a:lnTo>
                  <a:pt x="1416469" y="87947"/>
                </a:lnTo>
                <a:lnTo>
                  <a:pt x="1437109" y="87947"/>
                </a:lnTo>
                <a:lnTo>
                  <a:pt x="1437796" y="87449"/>
                </a:lnTo>
                <a:lnTo>
                  <a:pt x="1446704" y="84216"/>
                </a:lnTo>
                <a:lnTo>
                  <a:pt x="1453369" y="83227"/>
                </a:lnTo>
                <a:lnTo>
                  <a:pt x="1455991" y="83185"/>
                </a:lnTo>
                <a:lnTo>
                  <a:pt x="1510544" y="83185"/>
                </a:lnTo>
                <a:lnTo>
                  <a:pt x="1494288" y="68695"/>
                </a:lnTo>
                <a:lnTo>
                  <a:pt x="1475242" y="62501"/>
                </a:lnTo>
                <a:lnTo>
                  <a:pt x="1461947" y="61328"/>
                </a:lnTo>
                <a:close/>
              </a:path>
              <a:path w="1671320" h="220979">
                <a:moveTo>
                  <a:pt x="1352240" y="81991"/>
                </a:moveTo>
                <a:lnTo>
                  <a:pt x="1301635" y="81991"/>
                </a:lnTo>
                <a:lnTo>
                  <a:pt x="1319331" y="84777"/>
                </a:lnTo>
                <a:lnTo>
                  <a:pt x="1328816" y="92862"/>
                </a:lnTo>
                <a:lnTo>
                  <a:pt x="1332641" y="105879"/>
                </a:lnTo>
                <a:lnTo>
                  <a:pt x="1333347" y="123278"/>
                </a:lnTo>
                <a:lnTo>
                  <a:pt x="1307604" y="123278"/>
                </a:lnTo>
                <a:lnTo>
                  <a:pt x="1281182" y="125848"/>
                </a:lnTo>
                <a:lnTo>
                  <a:pt x="1257761" y="134662"/>
                </a:lnTo>
                <a:lnTo>
                  <a:pt x="1241016" y="151380"/>
                </a:lnTo>
                <a:lnTo>
                  <a:pt x="1234617" y="177660"/>
                </a:lnTo>
                <a:lnTo>
                  <a:pt x="1239143" y="196711"/>
                </a:lnTo>
                <a:lnTo>
                  <a:pt x="1251050" y="210045"/>
                </a:lnTo>
                <a:lnTo>
                  <a:pt x="1267830" y="217883"/>
                </a:lnTo>
                <a:lnTo>
                  <a:pt x="1286979" y="220446"/>
                </a:lnTo>
                <a:lnTo>
                  <a:pt x="1301669" y="218889"/>
                </a:lnTo>
                <a:lnTo>
                  <a:pt x="1314573" y="214050"/>
                </a:lnTo>
                <a:lnTo>
                  <a:pt x="1325348" y="205675"/>
                </a:lnTo>
                <a:lnTo>
                  <a:pt x="1329335" y="199834"/>
                </a:lnTo>
                <a:lnTo>
                  <a:pt x="1294193" y="199834"/>
                </a:lnTo>
                <a:lnTo>
                  <a:pt x="1282480" y="198096"/>
                </a:lnTo>
                <a:lnTo>
                  <a:pt x="1273082" y="192881"/>
                </a:lnTo>
                <a:lnTo>
                  <a:pt x="1266832" y="184189"/>
                </a:lnTo>
                <a:lnTo>
                  <a:pt x="1264564" y="172021"/>
                </a:lnTo>
                <a:lnTo>
                  <a:pt x="1268435" y="158391"/>
                </a:lnTo>
                <a:lnTo>
                  <a:pt x="1278253" y="149650"/>
                </a:lnTo>
                <a:lnTo>
                  <a:pt x="1291326" y="144843"/>
                </a:lnTo>
                <a:lnTo>
                  <a:pt x="1304963" y="143014"/>
                </a:lnTo>
                <a:lnTo>
                  <a:pt x="1361782" y="143014"/>
                </a:lnTo>
                <a:lnTo>
                  <a:pt x="1361782" y="112509"/>
                </a:lnTo>
                <a:lnTo>
                  <a:pt x="1356533" y="86831"/>
                </a:lnTo>
                <a:lnTo>
                  <a:pt x="1352240" y="81991"/>
                </a:lnTo>
                <a:close/>
              </a:path>
              <a:path w="1671320" h="220979">
                <a:moveTo>
                  <a:pt x="1361919" y="193509"/>
                </a:moveTo>
                <a:lnTo>
                  <a:pt x="1334223" y="193509"/>
                </a:lnTo>
                <a:lnTo>
                  <a:pt x="1334528" y="200406"/>
                </a:lnTo>
                <a:lnTo>
                  <a:pt x="1335163" y="206971"/>
                </a:lnTo>
                <a:lnTo>
                  <a:pt x="1336027" y="217449"/>
                </a:lnTo>
                <a:lnTo>
                  <a:pt x="1341107" y="215988"/>
                </a:lnTo>
                <a:lnTo>
                  <a:pt x="1362976" y="215988"/>
                </a:lnTo>
                <a:lnTo>
                  <a:pt x="1362414" y="206971"/>
                </a:lnTo>
                <a:lnTo>
                  <a:pt x="1362027" y="197866"/>
                </a:lnTo>
                <a:lnTo>
                  <a:pt x="1361919" y="193509"/>
                </a:lnTo>
                <a:close/>
              </a:path>
              <a:path w="1671320" h="220979">
                <a:moveTo>
                  <a:pt x="1361782" y="143014"/>
                </a:moveTo>
                <a:lnTo>
                  <a:pt x="1333347" y="143014"/>
                </a:lnTo>
                <a:lnTo>
                  <a:pt x="1332169" y="163626"/>
                </a:lnTo>
                <a:lnTo>
                  <a:pt x="1326524" y="181854"/>
                </a:lnTo>
                <a:lnTo>
                  <a:pt x="1314502" y="194867"/>
                </a:lnTo>
                <a:lnTo>
                  <a:pt x="1294193" y="199834"/>
                </a:lnTo>
                <a:lnTo>
                  <a:pt x="1329335" y="199834"/>
                </a:lnTo>
                <a:lnTo>
                  <a:pt x="1333652" y="193509"/>
                </a:lnTo>
                <a:lnTo>
                  <a:pt x="1361919" y="193509"/>
                </a:lnTo>
                <a:lnTo>
                  <a:pt x="1361837" y="190210"/>
                </a:lnTo>
                <a:lnTo>
                  <a:pt x="1361782" y="143014"/>
                </a:lnTo>
                <a:close/>
              </a:path>
              <a:path w="1671320" h="220979">
                <a:moveTo>
                  <a:pt x="1300454" y="61328"/>
                </a:moveTo>
                <a:lnTo>
                  <a:pt x="1279280" y="63663"/>
                </a:lnTo>
                <a:lnTo>
                  <a:pt x="1261476" y="71269"/>
                </a:lnTo>
                <a:lnTo>
                  <a:pt x="1248957" y="85041"/>
                </a:lnTo>
                <a:lnTo>
                  <a:pt x="1243634" y="105879"/>
                </a:lnTo>
                <a:lnTo>
                  <a:pt x="1273517" y="105879"/>
                </a:lnTo>
                <a:lnTo>
                  <a:pt x="1276028" y="95589"/>
                </a:lnTo>
                <a:lnTo>
                  <a:pt x="1282319" y="88106"/>
                </a:lnTo>
                <a:lnTo>
                  <a:pt x="1291237" y="83537"/>
                </a:lnTo>
                <a:lnTo>
                  <a:pt x="1301635" y="81991"/>
                </a:lnTo>
                <a:lnTo>
                  <a:pt x="1352240" y="81991"/>
                </a:lnTo>
                <a:lnTo>
                  <a:pt x="1342672" y="71202"/>
                </a:lnTo>
                <a:lnTo>
                  <a:pt x="1323035" y="63431"/>
                </a:lnTo>
                <a:lnTo>
                  <a:pt x="1300454" y="61328"/>
                </a:lnTo>
                <a:close/>
              </a:path>
              <a:path w="1671320" h="220979">
                <a:moveTo>
                  <a:pt x="1218196" y="0"/>
                </a:moveTo>
                <a:lnTo>
                  <a:pt x="1184427" y="0"/>
                </a:lnTo>
                <a:lnTo>
                  <a:pt x="1184427" y="30822"/>
                </a:lnTo>
                <a:lnTo>
                  <a:pt x="1218196" y="30822"/>
                </a:lnTo>
                <a:lnTo>
                  <a:pt x="1218196" y="0"/>
                </a:lnTo>
                <a:close/>
              </a:path>
              <a:path w="1671320" h="220979">
                <a:moveTo>
                  <a:pt x="1215504" y="65836"/>
                </a:moveTo>
                <a:lnTo>
                  <a:pt x="1187069" y="65836"/>
                </a:lnTo>
                <a:lnTo>
                  <a:pt x="1187069" y="216001"/>
                </a:lnTo>
                <a:lnTo>
                  <a:pt x="1215504" y="216001"/>
                </a:lnTo>
                <a:lnTo>
                  <a:pt x="1215504" y="65836"/>
                </a:lnTo>
                <a:close/>
              </a:path>
              <a:path w="1671320" h="220979">
                <a:moveTo>
                  <a:pt x="1164844" y="0"/>
                </a:moveTo>
                <a:lnTo>
                  <a:pt x="1136408" y="0"/>
                </a:lnTo>
                <a:lnTo>
                  <a:pt x="1136408" y="215938"/>
                </a:lnTo>
                <a:lnTo>
                  <a:pt x="1164844" y="215938"/>
                </a:lnTo>
                <a:lnTo>
                  <a:pt x="1164844" y="0"/>
                </a:lnTo>
                <a:close/>
              </a:path>
              <a:path w="1671320" h="220979">
                <a:moveTo>
                  <a:pt x="1096363" y="81991"/>
                </a:moveTo>
                <a:lnTo>
                  <a:pt x="1045819" y="81991"/>
                </a:lnTo>
                <a:lnTo>
                  <a:pt x="1063513" y="84777"/>
                </a:lnTo>
                <a:lnTo>
                  <a:pt x="1072994" y="92862"/>
                </a:lnTo>
                <a:lnTo>
                  <a:pt x="1076814" y="105879"/>
                </a:lnTo>
                <a:lnTo>
                  <a:pt x="1077518" y="123278"/>
                </a:lnTo>
                <a:lnTo>
                  <a:pt x="1051775" y="123278"/>
                </a:lnTo>
                <a:lnTo>
                  <a:pt x="1025361" y="125848"/>
                </a:lnTo>
                <a:lnTo>
                  <a:pt x="1001944" y="134662"/>
                </a:lnTo>
                <a:lnTo>
                  <a:pt x="985199" y="151380"/>
                </a:lnTo>
                <a:lnTo>
                  <a:pt x="978801" y="177660"/>
                </a:lnTo>
                <a:lnTo>
                  <a:pt x="983317" y="196711"/>
                </a:lnTo>
                <a:lnTo>
                  <a:pt x="995203" y="210045"/>
                </a:lnTo>
                <a:lnTo>
                  <a:pt x="1011966" y="217883"/>
                </a:lnTo>
                <a:lnTo>
                  <a:pt x="1031113" y="220446"/>
                </a:lnTo>
                <a:lnTo>
                  <a:pt x="1045818" y="218889"/>
                </a:lnTo>
                <a:lnTo>
                  <a:pt x="1058719" y="214050"/>
                </a:lnTo>
                <a:lnTo>
                  <a:pt x="1069482" y="205675"/>
                </a:lnTo>
                <a:lnTo>
                  <a:pt x="1073462" y="199834"/>
                </a:lnTo>
                <a:lnTo>
                  <a:pt x="1038313" y="199834"/>
                </a:lnTo>
                <a:lnTo>
                  <a:pt x="1026630" y="198096"/>
                </a:lnTo>
                <a:lnTo>
                  <a:pt x="1017247" y="192881"/>
                </a:lnTo>
                <a:lnTo>
                  <a:pt x="1011003" y="184189"/>
                </a:lnTo>
                <a:lnTo>
                  <a:pt x="1008735" y="172021"/>
                </a:lnTo>
                <a:lnTo>
                  <a:pt x="1012600" y="158391"/>
                </a:lnTo>
                <a:lnTo>
                  <a:pt x="1022403" y="149650"/>
                </a:lnTo>
                <a:lnTo>
                  <a:pt x="1035460" y="144843"/>
                </a:lnTo>
                <a:lnTo>
                  <a:pt x="1049083" y="143014"/>
                </a:lnTo>
                <a:lnTo>
                  <a:pt x="1105903" y="143014"/>
                </a:lnTo>
                <a:lnTo>
                  <a:pt x="1105903" y="112509"/>
                </a:lnTo>
                <a:lnTo>
                  <a:pt x="1100655" y="86831"/>
                </a:lnTo>
                <a:lnTo>
                  <a:pt x="1096363" y="81991"/>
                </a:lnTo>
                <a:close/>
              </a:path>
              <a:path w="1671320" h="220979">
                <a:moveTo>
                  <a:pt x="1106051" y="193509"/>
                </a:moveTo>
                <a:lnTo>
                  <a:pt x="1078395" y="193509"/>
                </a:lnTo>
                <a:lnTo>
                  <a:pt x="1078712" y="200406"/>
                </a:lnTo>
                <a:lnTo>
                  <a:pt x="1080211" y="217449"/>
                </a:lnTo>
                <a:lnTo>
                  <a:pt x="1085291" y="215988"/>
                </a:lnTo>
                <a:lnTo>
                  <a:pt x="1107097" y="215988"/>
                </a:lnTo>
                <a:lnTo>
                  <a:pt x="1106535" y="206645"/>
                </a:lnTo>
                <a:lnTo>
                  <a:pt x="1106166" y="197866"/>
                </a:lnTo>
                <a:lnTo>
                  <a:pt x="1106051" y="193509"/>
                </a:lnTo>
                <a:close/>
              </a:path>
              <a:path w="1671320" h="220979">
                <a:moveTo>
                  <a:pt x="1105903" y="143014"/>
                </a:moveTo>
                <a:lnTo>
                  <a:pt x="1077518" y="143014"/>
                </a:lnTo>
                <a:lnTo>
                  <a:pt x="1076345" y="163626"/>
                </a:lnTo>
                <a:lnTo>
                  <a:pt x="1070694" y="181854"/>
                </a:lnTo>
                <a:lnTo>
                  <a:pt x="1058653" y="194867"/>
                </a:lnTo>
                <a:lnTo>
                  <a:pt x="1038313" y="199834"/>
                </a:lnTo>
                <a:lnTo>
                  <a:pt x="1073462" y="199834"/>
                </a:lnTo>
                <a:lnTo>
                  <a:pt x="1077772" y="193509"/>
                </a:lnTo>
                <a:lnTo>
                  <a:pt x="1106051" y="193509"/>
                </a:lnTo>
                <a:lnTo>
                  <a:pt x="1105964" y="190210"/>
                </a:lnTo>
                <a:lnTo>
                  <a:pt x="1105903" y="143014"/>
                </a:lnTo>
                <a:close/>
              </a:path>
              <a:path w="1671320" h="220979">
                <a:moveTo>
                  <a:pt x="1044575" y="61328"/>
                </a:moveTo>
                <a:lnTo>
                  <a:pt x="1023434" y="63663"/>
                </a:lnTo>
                <a:lnTo>
                  <a:pt x="1005639" y="71269"/>
                </a:lnTo>
                <a:lnTo>
                  <a:pt x="993107" y="85041"/>
                </a:lnTo>
                <a:lnTo>
                  <a:pt x="987755" y="105879"/>
                </a:lnTo>
                <a:lnTo>
                  <a:pt x="1017701" y="105879"/>
                </a:lnTo>
                <a:lnTo>
                  <a:pt x="1020198" y="95589"/>
                </a:lnTo>
                <a:lnTo>
                  <a:pt x="1026474" y="88106"/>
                </a:lnTo>
                <a:lnTo>
                  <a:pt x="1035393" y="83537"/>
                </a:lnTo>
                <a:lnTo>
                  <a:pt x="1045819" y="81991"/>
                </a:lnTo>
                <a:lnTo>
                  <a:pt x="1096363" y="81991"/>
                </a:lnTo>
                <a:lnTo>
                  <a:pt x="1086797" y="71202"/>
                </a:lnTo>
                <a:lnTo>
                  <a:pt x="1067160" y="63431"/>
                </a:lnTo>
                <a:lnTo>
                  <a:pt x="1044575" y="61328"/>
                </a:lnTo>
                <a:close/>
              </a:path>
              <a:path w="1671320" h="220979">
                <a:moveTo>
                  <a:pt x="936218" y="85877"/>
                </a:moveTo>
                <a:lnTo>
                  <a:pt x="907783" y="85877"/>
                </a:lnTo>
                <a:lnTo>
                  <a:pt x="907783" y="181292"/>
                </a:lnTo>
                <a:lnTo>
                  <a:pt x="926642" y="218071"/>
                </a:lnTo>
                <a:lnTo>
                  <a:pt x="943368" y="220446"/>
                </a:lnTo>
                <a:lnTo>
                  <a:pt x="956843" y="220446"/>
                </a:lnTo>
                <a:lnTo>
                  <a:pt x="963155" y="218948"/>
                </a:lnTo>
                <a:lnTo>
                  <a:pt x="969683" y="218630"/>
                </a:lnTo>
                <a:lnTo>
                  <a:pt x="969683" y="198640"/>
                </a:lnTo>
                <a:lnTo>
                  <a:pt x="944562" y="198640"/>
                </a:lnTo>
                <a:lnTo>
                  <a:pt x="936218" y="193509"/>
                </a:lnTo>
                <a:lnTo>
                  <a:pt x="936218" y="85877"/>
                </a:lnTo>
                <a:close/>
              </a:path>
              <a:path w="1671320" h="220979">
                <a:moveTo>
                  <a:pt x="969683" y="196824"/>
                </a:moveTo>
                <a:lnTo>
                  <a:pt x="965225" y="198018"/>
                </a:lnTo>
                <a:lnTo>
                  <a:pt x="959218" y="198640"/>
                </a:lnTo>
                <a:lnTo>
                  <a:pt x="969683" y="198640"/>
                </a:lnTo>
                <a:lnTo>
                  <a:pt x="969683" y="196824"/>
                </a:lnTo>
                <a:close/>
              </a:path>
              <a:path w="1671320" h="220979">
                <a:moveTo>
                  <a:pt x="882091" y="64960"/>
                </a:moveTo>
                <a:lnTo>
                  <a:pt x="882091" y="86144"/>
                </a:lnTo>
                <a:lnTo>
                  <a:pt x="907783" y="85877"/>
                </a:lnTo>
                <a:lnTo>
                  <a:pt x="970915" y="85877"/>
                </a:lnTo>
                <a:lnTo>
                  <a:pt x="970915" y="65836"/>
                </a:lnTo>
                <a:lnTo>
                  <a:pt x="907783" y="65836"/>
                </a:lnTo>
                <a:lnTo>
                  <a:pt x="882091" y="64960"/>
                </a:lnTo>
                <a:close/>
              </a:path>
              <a:path w="1671320" h="220979">
                <a:moveTo>
                  <a:pt x="970915" y="85877"/>
                </a:moveTo>
                <a:lnTo>
                  <a:pt x="936218" y="85877"/>
                </a:lnTo>
                <a:lnTo>
                  <a:pt x="970915" y="86144"/>
                </a:lnTo>
                <a:lnTo>
                  <a:pt x="970915" y="85877"/>
                </a:lnTo>
                <a:close/>
              </a:path>
              <a:path w="1671320" h="220979">
                <a:moveTo>
                  <a:pt x="936218" y="24866"/>
                </a:moveTo>
                <a:lnTo>
                  <a:pt x="907783" y="33832"/>
                </a:lnTo>
                <a:lnTo>
                  <a:pt x="907783" y="65836"/>
                </a:lnTo>
                <a:lnTo>
                  <a:pt x="936218" y="65836"/>
                </a:lnTo>
                <a:lnTo>
                  <a:pt x="936218" y="24866"/>
                </a:lnTo>
                <a:close/>
              </a:path>
              <a:path w="1671320" h="220979">
                <a:moveTo>
                  <a:pt x="970915" y="64960"/>
                </a:moveTo>
                <a:lnTo>
                  <a:pt x="936218" y="65836"/>
                </a:lnTo>
                <a:lnTo>
                  <a:pt x="970915" y="65836"/>
                </a:lnTo>
                <a:lnTo>
                  <a:pt x="970915" y="64960"/>
                </a:lnTo>
                <a:close/>
              </a:path>
              <a:path w="1671320" h="220979">
                <a:moveTo>
                  <a:pt x="870902" y="0"/>
                </a:moveTo>
                <a:lnTo>
                  <a:pt x="837082" y="0"/>
                </a:lnTo>
                <a:lnTo>
                  <a:pt x="837082" y="30822"/>
                </a:lnTo>
                <a:lnTo>
                  <a:pt x="870902" y="30822"/>
                </a:lnTo>
                <a:lnTo>
                  <a:pt x="870902" y="0"/>
                </a:lnTo>
                <a:close/>
              </a:path>
              <a:path w="1671320" h="220979">
                <a:moveTo>
                  <a:pt x="868159" y="65836"/>
                </a:moveTo>
                <a:lnTo>
                  <a:pt x="839724" y="65836"/>
                </a:lnTo>
                <a:lnTo>
                  <a:pt x="839724" y="216001"/>
                </a:lnTo>
                <a:lnTo>
                  <a:pt x="868159" y="216001"/>
                </a:lnTo>
                <a:lnTo>
                  <a:pt x="868159" y="65836"/>
                </a:lnTo>
                <a:close/>
              </a:path>
              <a:path w="1671320" h="220979">
                <a:moveTo>
                  <a:pt x="732243" y="61328"/>
                </a:moveTo>
                <a:lnTo>
                  <a:pt x="700574" y="66280"/>
                </a:lnTo>
                <a:lnTo>
                  <a:pt x="674935" y="80740"/>
                </a:lnTo>
                <a:lnTo>
                  <a:pt x="657763" y="104115"/>
                </a:lnTo>
                <a:lnTo>
                  <a:pt x="651497" y="135813"/>
                </a:lnTo>
                <a:lnTo>
                  <a:pt x="656174" y="173903"/>
                </a:lnTo>
                <a:lnTo>
                  <a:pt x="670971" y="200232"/>
                </a:lnTo>
                <a:lnTo>
                  <a:pt x="697033" y="215511"/>
                </a:lnTo>
                <a:lnTo>
                  <a:pt x="735507" y="220446"/>
                </a:lnTo>
                <a:lnTo>
                  <a:pt x="748539" y="219805"/>
                </a:lnTo>
                <a:lnTo>
                  <a:pt x="793321" y="201449"/>
                </a:lnTo>
                <a:lnTo>
                  <a:pt x="803952" y="188442"/>
                </a:lnTo>
                <a:lnTo>
                  <a:pt x="731050" y="188442"/>
                </a:lnTo>
                <a:lnTo>
                  <a:pt x="717984" y="185523"/>
                </a:lnTo>
                <a:lnTo>
                  <a:pt x="709963" y="177646"/>
                </a:lnTo>
                <a:lnTo>
                  <a:pt x="705973" y="166127"/>
                </a:lnTo>
                <a:lnTo>
                  <a:pt x="705002" y="152285"/>
                </a:lnTo>
                <a:lnTo>
                  <a:pt x="812685" y="152285"/>
                </a:lnTo>
                <a:lnTo>
                  <a:pt x="809468" y="121780"/>
                </a:lnTo>
                <a:lnTo>
                  <a:pt x="706196" y="121780"/>
                </a:lnTo>
                <a:lnTo>
                  <a:pt x="708123" y="109710"/>
                </a:lnTo>
                <a:lnTo>
                  <a:pt x="712381" y="99709"/>
                </a:lnTo>
                <a:lnTo>
                  <a:pt x="720058" y="92739"/>
                </a:lnTo>
                <a:lnTo>
                  <a:pt x="732243" y="89763"/>
                </a:lnTo>
                <a:lnTo>
                  <a:pt x="740892" y="89141"/>
                </a:lnTo>
                <a:lnTo>
                  <a:pt x="796892" y="89141"/>
                </a:lnTo>
                <a:lnTo>
                  <a:pt x="795348" y="85828"/>
                </a:lnTo>
                <a:lnTo>
                  <a:pt x="770557" y="67673"/>
                </a:lnTo>
                <a:lnTo>
                  <a:pt x="732243" y="61328"/>
                </a:lnTo>
                <a:close/>
              </a:path>
              <a:path w="1671320" h="220979">
                <a:moveTo>
                  <a:pt x="811491" y="166941"/>
                </a:moveTo>
                <a:lnTo>
                  <a:pt x="758863" y="166941"/>
                </a:lnTo>
                <a:lnTo>
                  <a:pt x="755851" y="176226"/>
                </a:lnTo>
                <a:lnTo>
                  <a:pt x="750104" y="182959"/>
                </a:lnTo>
                <a:lnTo>
                  <a:pt x="741784" y="187058"/>
                </a:lnTo>
                <a:lnTo>
                  <a:pt x="731050" y="188442"/>
                </a:lnTo>
                <a:lnTo>
                  <a:pt x="803952" y="188442"/>
                </a:lnTo>
                <a:lnTo>
                  <a:pt x="808313" y="180493"/>
                </a:lnTo>
                <a:lnTo>
                  <a:pt x="811491" y="166941"/>
                </a:lnTo>
                <a:close/>
              </a:path>
              <a:path w="1671320" h="220979">
                <a:moveTo>
                  <a:pt x="796892" y="89141"/>
                </a:moveTo>
                <a:lnTo>
                  <a:pt x="740892" y="89141"/>
                </a:lnTo>
                <a:lnTo>
                  <a:pt x="747471" y="93027"/>
                </a:lnTo>
                <a:lnTo>
                  <a:pt x="756437" y="105613"/>
                </a:lnTo>
                <a:lnTo>
                  <a:pt x="758863" y="113690"/>
                </a:lnTo>
                <a:lnTo>
                  <a:pt x="758863" y="121780"/>
                </a:lnTo>
                <a:lnTo>
                  <a:pt x="809468" y="121780"/>
                </a:lnTo>
                <a:lnTo>
                  <a:pt x="808698" y="114472"/>
                </a:lnTo>
                <a:lnTo>
                  <a:pt x="796892" y="89141"/>
                </a:lnTo>
                <a:close/>
              </a:path>
              <a:path w="1671320" h="220979">
                <a:moveTo>
                  <a:pt x="606018" y="101727"/>
                </a:moveTo>
                <a:lnTo>
                  <a:pt x="549198" y="101727"/>
                </a:lnTo>
                <a:lnTo>
                  <a:pt x="549198" y="169011"/>
                </a:lnTo>
                <a:lnTo>
                  <a:pt x="551712" y="196475"/>
                </a:lnTo>
                <a:lnTo>
                  <a:pt x="563065" y="211997"/>
                </a:lnTo>
                <a:lnTo>
                  <a:pt x="582208" y="218885"/>
                </a:lnTo>
                <a:lnTo>
                  <a:pt x="608088" y="220446"/>
                </a:lnTo>
                <a:lnTo>
                  <a:pt x="614591" y="220319"/>
                </a:lnTo>
                <a:lnTo>
                  <a:pt x="621680" y="219857"/>
                </a:lnTo>
                <a:lnTo>
                  <a:pt x="629612" y="218941"/>
                </a:lnTo>
                <a:lnTo>
                  <a:pt x="638644" y="217449"/>
                </a:lnTo>
                <a:lnTo>
                  <a:pt x="638644" y="184556"/>
                </a:lnTo>
                <a:lnTo>
                  <a:pt x="616788" y="184556"/>
                </a:lnTo>
                <a:lnTo>
                  <a:pt x="609554" y="181461"/>
                </a:lnTo>
                <a:lnTo>
                  <a:pt x="606469" y="174359"/>
                </a:lnTo>
                <a:lnTo>
                  <a:pt x="605851" y="166527"/>
                </a:lnTo>
                <a:lnTo>
                  <a:pt x="606018" y="161239"/>
                </a:lnTo>
                <a:lnTo>
                  <a:pt x="606018" y="101727"/>
                </a:lnTo>
                <a:close/>
              </a:path>
              <a:path w="1671320" h="220979">
                <a:moveTo>
                  <a:pt x="638644" y="183680"/>
                </a:moveTo>
                <a:lnTo>
                  <a:pt x="632066" y="184556"/>
                </a:lnTo>
                <a:lnTo>
                  <a:pt x="638644" y="184556"/>
                </a:lnTo>
                <a:lnTo>
                  <a:pt x="638644" y="183680"/>
                </a:lnTo>
                <a:close/>
              </a:path>
              <a:path w="1671320" h="220979">
                <a:moveTo>
                  <a:pt x="638911" y="65836"/>
                </a:moveTo>
                <a:lnTo>
                  <a:pt x="519874" y="65836"/>
                </a:lnTo>
                <a:lnTo>
                  <a:pt x="519874" y="101727"/>
                </a:lnTo>
                <a:lnTo>
                  <a:pt x="638911" y="101727"/>
                </a:lnTo>
                <a:lnTo>
                  <a:pt x="638911" y="65836"/>
                </a:lnTo>
                <a:close/>
              </a:path>
              <a:path w="1671320" h="220979">
                <a:moveTo>
                  <a:pt x="606018" y="21551"/>
                </a:moveTo>
                <a:lnTo>
                  <a:pt x="549198" y="43103"/>
                </a:lnTo>
                <a:lnTo>
                  <a:pt x="549198" y="65836"/>
                </a:lnTo>
                <a:lnTo>
                  <a:pt x="606018" y="65836"/>
                </a:lnTo>
                <a:lnTo>
                  <a:pt x="606018" y="21551"/>
                </a:lnTo>
                <a:close/>
              </a:path>
              <a:path w="1671320" h="220979">
                <a:moveTo>
                  <a:pt x="422084" y="167208"/>
                </a:moveTo>
                <a:lnTo>
                  <a:pt x="368274" y="167208"/>
                </a:lnTo>
                <a:lnTo>
                  <a:pt x="374275" y="194841"/>
                </a:lnTo>
                <a:lnTo>
                  <a:pt x="390545" y="210996"/>
                </a:lnTo>
                <a:lnTo>
                  <a:pt x="413771" y="218566"/>
                </a:lnTo>
                <a:lnTo>
                  <a:pt x="440639" y="220446"/>
                </a:lnTo>
                <a:lnTo>
                  <a:pt x="466363" y="218239"/>
                </a:lnTo>
                <a:lnTo>
                  <a:pt x="489426" y="210399"/>
                </a:lnTo>
                <a:lnTo>
                  <a:pt x="506040" y="195098"/>
                </a:lnTo>
                <a:lnTo>
                  <a:pt x="507997" y="187553"/>
                </a:lnTo>
                <a:lnTo>
                  <a:pt x="434047" y="187553"/>
                </a:lnTo>
                <a:lnTo>
                  <a:pt x="429234" y="184556"/>
                </a:lnTo>
                <a:lnTo>
                  <a:pt x="422706" y="176784"/>
                </a:lnTo>
                <a:lnTo>
                  <a:pt x="421208" y="171704"/>
                </a:lnTo>
                <a:lnTo>
                  <a:pt x="422084" y="167208"/>
                </a:lnTo>
                <a:close/>
              </a:path>
              <a:path w="1671320" h="220979">
                <a:moveTo>
                  <a:pt x="439127" y="61328"/>
                </a:moveTo>
                <a:lnTo>
                  <a:pt x="415684" y="63503"/>
                </a:lnTo>
                <a:lnTo>
                  <a:pt x="393244" y="71069"/>
                </a:lnTo>
                <a:lnTo>
                  <a:pt x="376407" y="85588"/>
                </a:lnTo>
                <a:lnTo>
                  <a:pt x="369773" y="108623"/>
                </a:lnTo>
                <a:lnTo>
                  <a:pt x="383645" y="138030"/>
                </a:lnTo>
                <a:lnTo>
                  <a:pt x="414166" y="151647"/>
                </a:lnTo>
                <a:lnTo>
                  <a:pt x="444686" y="160040"/>
                </a:lnTo>
                <a:lnTo>
                  <a:pt x="458558" y="173774"/>
                </a:lnTo>
                <a:lnTo>
                  <a:pt x="458558" y="183362"/>
                </a:lnTo>
                <a:lnTo>
                  <a:pt x="450519" y="187553"/>
                </a:lnTo>
                <a:lnTo>
                  <a:pt x="507997" y="187553"/>
                </a:lnTo>
                <a:lnTo>
                  <a:pt x="512419" y="170510"/>
                </a:lnTo>
                <a:lnTo>
                  <a:pt x="510222" y="154506"/>
                </a:lnTo>
                <a:lnTo>
                  <a:pt x="504043" y="142805"/>
                </a:lnTo>
                <a:lnTo>
                  <a:pt x="494503" y="134637"/>
                </a:lnTo>
                <a:lnTo>
                  <a:pt x="482219" y="129235"/>
                </a:lnTo>
                <a:lnTo>
                  <a:pt x="458025" y="122749"/>
                </a:lnTo>
                <a:lnTo>
                  <a:pt x="439543" y="118460"/>
                </a:lnTo>
                <a:lnTo>
                  <a:pt x="427744" y="114174"/>
                </a:lnTo>
                <a:lnTo>
                  <a:pt x="423595" y="107696"/>
                </a:lnTo>
                <a:lnTo>
                  <a:pt x="423595" y="99034"/>
                </a:lnTo>
                <a:lnTo>
                  <a:pt x="428663" y="94221"/>
                </a:lnTo>
                <a:lnTo>
                  <a:pt x="505043" y="94221"/>
                </a:lnTo>
                <a:lnTo>
                  <a:pt x="502955" y="86697"/>
                </a:lnTo>
                <a:lnTo>
                  <a:pt x="487033" y="71162"/>
                </a:lnTo>
                <a:lnTo>
                  <a:pt x="464885" y="63426"/>
                </a:lnTo>
                <a:lnTo>
                  <a:pt x="439127" y="61328"/>
                </a:lnTo>
                <a:close/>
              </a:path>
              <a:path w="1671320" h="220979">
                <a:moveTo>
                  <a:pt x="505043" y="94221"/>
                </a:moveTo>
                <a:lnTo>
                  <a:pt x="444830" y="94221"/>
                </a:lnTo>
                <a:lnTo>
                  <a:pt x="449592" y="96342"/>
                </a:lnTo>
                <a:lnTo>
                  <a:pt x="452589" y="99606"/>
                </a:lnTo>
                <a:lnTo>
                  <a:pt x="455295" y="102616"/>
                </a:lnTo>
                <a:lnTo>
                  <a:pt x="456171" y="107111"/>
                </a:lnTo>
                <a:lnTo>
                  <a:pt x="456171" y="112191"/>
                </a:lnTo>
                <a:lnTo>
                  <a:pt x="510032" y="112191"/>
                </a:lnTo>
                <a:lnTo>
                  <a:pt x="505043" y="94221"/>
                </a:lnTo>
                <a:close/>
              </a:path>
              <a:path w="1671320" h="220979">
                <a:moveTo>
                  <a:pt x="273646" y="61328"/>
                </a:moveTo>
                <a:lnTo>
                  <a:pt x="240176" y="65980"/>
                </a:lnTo>
                <a:lnTo>
                  <a:pt x="212356" y="80365"/>
                </a:lnTo>
                <a:lnTo>
                  <a:pt x="193347" y="105123"/>
                </a:lnTo>
                <a:lnTo>
                  <a:pt x="186309" y="140893"/>
                </a:lnTo>
                <a:lnTo>
                  <a:pt x="193347" y="176657"/>
                </a:lnTo>
                <a:lnTo>
                  <a:pt x="212356" y="201410"/>
                </a:lnTo>
                <a:lnTo>
                  <a:pt x="240176" y="215794"/>
                </a:lnTo>
                <a:lnTo>
                  <a:pt x="273646" y="220446"/>
                </a:lnTo>
                <a:lnTo>
                  <a:pt x="307083" y="215794"/>
                </a:lnTo>
                <a:lnTo>
                  <a:pt x="334902" y="201410"/>
                </a:lnTo>
                <a:lnTo>
                  <a:pt x="345551" y="187553"/>
                </a:lnTo>
                <a:lnTo>
                  <a:pt x="273646" y="187553"/>
                </a:lnTo>
                <a:lnTo>
                  <a:pt x="259005" y="183249"/>
                </a:lnTo>
                <a:lnTo>
                  <a:pt x="250134" y="172186"/>
                </a:lnTo>
                <a:lnTo>
                  <a:pt x="245752" y="157142"/>
                </a:lnTo>
                <a:lnTo>
                  <a:pt x="244576" y="140893"/>
                </a:lnTo>
                <a:lnTo>
                  <a:pt x="245752" y="124642"/>
                </a:lnTo>
                <a:lnTo>
                  <a:pt x="250134" y="109594"/>
                </a:lnTo>
                <a:lnTo>
                  <a:pt x="259005" y="98527"/>
                </a:lnTo>
                <a:lnTo>
                  <a:pt x="273646" y="94221"/>
                </a:lnTo>
                <a:lnTo>
                  <a:pt x="345548" y="94221"/>
                </a:lnTo>
                <a:lnTo>
                  <a:pt x="334902" y="80365"/>
                </a:lnTo>
                <a:lnTo>
                  <a:pt x="307083" y="65980"/>
                </a:lnTo>
                <a:lnTo>
                  <a:pt x="273646" y="61328"/>
                </a:lnTo>
                <a:close/>
              </a:path>
              <a:path w="1671320" h="220979">
                <a:moveTo>
                  <a:pt x="99288" y="0"/>
                </a:moveTo>
                <a:lnTo>
                  <a:pt x="0" y="0"/>
                </a:lnTo>
                <a:lnTo>
                  <a:pt x="0" y="215988"/>
                </a:lnTo>
                <a:lnTo>
                  <a:pt x="59766" y="215988"/>
                </a:lnTo>
                <a:lnTo>
                  <a:pt x="59766" y="138823"/>
                </a:lnTo>
                <a:lnTo>
                  <a:pt x="99288" y="138823"/>
                </a:lnTo>
                <a:lnTo>
                  <a:pt x="135284" y="135342"/>
                </a:lnTo>
                <a:lnTo>
                  <a:pt x="162915" y="123755"/>
                </a:lnTo>
                <a:lnTo>
                  <a:pt x="180630" y="102347"/>
                </a:lnTo>
                <a:lnTo>
                  <a:pt x="181661" y="96913"/>
                </a:lnTo>
                <a:lnTo>
                  <a:pt x="59766" y="96913"/>
                </a:lnTo>
                <a:lnTo>
                  <a:pt x="59766" y="41910"/>
                </a:lnTo>
                <a:lnTo>
                  <a:pt x="181659" y="41910"/>
                </a:lnTo>
                <a:lnTo>
                  <a:pt x="180630" y="36492"/>
                </a:lnTo>
                <a:lnTo>
                  <a:pt x="162915" y="15086"/>
                </a:lnTo>
                <a:lnTo>
                  <a:pt x="135284" y="3488"/>
                </a:lnTo>
                <a:lnTo>
                  <a:pt x="99288" y="0"/>
                </a:lnTo>
                <a:close/>
              </a:path>
              <a:path w="1671320" h="220979">
                <a:moveTo>
                  <a:pt x="345548" y="94221"/>
                </a:moveTo>
                <a:lnTo>
                  <a:pt x="273646" y="94221"/>
                </a:lnTo>
                <a:lnTo>
                  <a:pt x="288265" y="98527"/>
                </a:lnTo>
                <a:lnTo>
                  <a:pt x="297111" y="109594"/>
                </a:lnTo>
                <a:lnTo>
                  <a:pt x="301473" y="124642"/>
                </a:lnTo>
                <a:lnTo>
                  <a:pt x="302641" y="140893"/>
                </a:lnTo>
                <a:lnTo>
                  <a:pt x="301473" y="157142"/>
                </a:lnTo>
                <a:lnTo>
                  <a:pt x="297111" y="172186"/>
                </a:lnTo>
                <a:lnTo>
                  <a:pt x="288265" y="183249"/>
                </a:lnTo>
                <a:lnTo>
                  <a:pt x="273646" y="187553"/>
                </a:lnTo>
                <a:lnTo>
                  <a:pt x="345551" y="187553"/>
                </a:lnTo>
                <a:lnTo>
                  <a:pt x="353924" y="176657"/>
                </a:lnTo>
                <a:lnTo>
                  <a:pt x="360972" y="140893"/>
                </a:lnTo>
                <a:lnTo>
                  <a:pt x="353924" y="105123"/>
                </a:lnTo>
                <a:lnTo>
                  <a:pt x="345548" y="94221"/>
                </a:lnTo>
                <a:close/>
              </a:path>
              <a:path w="1671320" h="220979">
                <a:moveTo>
                  <a:pt x="181659" y="41910"/>
                </a:moveTo>
                <a:lnTo>
                  <a:pt x="90589" y="41910"/>
                </a:lnTo>
                <a:lnTo>
                  <a:pt x="105791" y="44347"/>
                </a:lnTo>
                <a:lnTo>
                  <a:pt x="116205" y="50042"/>
                </a:lnTo>
                <a:lnTo>
                  <a:pt x="122189" y="58546"/>
                </a:lnTo>
                <a:lnTo>
                  <a:pt x="124104" y="69405"/>
                </a:lnTo>
                <a:lnTo>
                  <a:pt x="122189" y="80272"/>
                </a:lnTo>
                <a:lnTo>
                  <a:pt x="116205" y="88779"/>
                </a:lnTo>
                <a:lnTo>
                  <a:pt x="105791" y="94476"/>
                </a:lnTo>
                <a:lnTo>
                  <a:pt x="90589" y="96913"/>
                </a:lnTo>
                <a:lnTo>
                  <a:pt x="181661" y="96913"/>
                </a:lnTo>
                <a:lnTo>
                  <a:pt x="186880" y="69405"/>
                </a:lnTo>
                <a:lnTo>
                  <a:pt x="181659" y="41910"/>
                </a:lnTo>
                <a:close/>
              </a:path>
            </a:pathLst>
          </a:custGeom>
          <a:solidFill>
            <a:srgbClr val="004BBA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venir Next LT Pro" pitchFamily="2" charset="0"/>
              <a:ea typeface="+mn-ea"/>
              <a:cs typeface="+mn-cs"/>
            </a:endParaRPr>
          </a:p>
        </p:txBody>
      </p:sp>
      <p:sp>
        <p:nvSpPr>
          <p:cNvPr id="55" name="Segnaposto testo 14">
            <a:extLst>
              <a:ext uri="{FF2B5EF4-FFF2-40B4-BE49-F238E27FC236}">
                <a16:creationId xmlns:a16="http://schemas.microsoft.com/office/drawing/2014/main" id="{0804B4FD-CB00-D73E-8217-65CAFF83A7E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58813" y="1030324"/>
            <a:ext cx="11161712" cy="253202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4800" b="0" i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5100" b="0" i="0">
                <a:solidFill>
                  <a:schemeClr val="bg1"/>
                </a:solidFill>
                <a:latin typeface="Avenir Next LT Pro" panose="020B0504020202020204" pitchFamily="34" charset="77"/>
              </a:defRPr>
            </a:lvl2pPr>
            <a:lvl3pPr marL="914400" indent="0">
              <a:buNone/>
              <a:defRPr sz="5100" b="0" i="0">
                <a:solidFill>
                  <a:schemeClr val="bg1"/>
                </a:solidFill>
                <a:latin typeface="Avenir Next LT Pro" panose="020B0504020202020204" pitchFamily="34" charset="77"/>
              </a:defRPr>
            </a:lvl3pPr>
            <a:lvl4pPr marL="1371600" indent="0">
              <a:buNone/>
              <a:defRPr sz="5100" b="0" i="0">
                <a:solidFill>
                  <a:schemeClr val="bg1"/>
                </a:solidFill>
                <a:latin typeface="Avenir Next LT Pro" panose="020B0504020202020204" pitchFamily="34" charset="77"/>
              </a:defRPr>
            </a:lvl4pPr>
            <a:lvl5pPr marL="1828800" indent="0">
              <a:buNone/>
              <a:defRPr sz="5100" b="0" i="0">
                <a:solidFill>
                  <a:schemeClr val="bg1"/>
                </a:solidFill>
                <a:latin typeface="Avenir Next LT Pro" panose="020B0504020202020204" pitchFamily="34" charset="77"/>
              </a:defRPr>
            </a:lvl5pPr>
          </a:lstStyle>
          <a:p>
            <a:pPr lvl="0"/>
            <a:r>
              <a:rPr lang="it-IT" dirty="0"/>
              <a:t>FARE CLIC PER MODIFICARE IL TITOLO</a:t>
            </a:r>
          </a:p>
        </p:txBody>
      </p:sp>
      <p:sp>
        <p:nvSpPr>
          <p:cNvPr id="56" name="Segnaposto testo 2">
            <a:extLst>
              <a:ext uri="{FF2B5EF4-FFF2-40B4-BE49-F238E27FC236}">
                <a16:creationId xmlns:a16="http://schemas.microsoft.com/office/drawing/2014/main" id="{332B5452-BC6A-689B-4BCC-A40D0630FF3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58813" y="4705921"/>
            <a:ext cx="11161712" cy="139858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lang="it-IT" sz="4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it-IT" dirty="0"/>
          </a:p>
        </p:txBody>
      </p:sp>
      <p:sp>
        <p:nvSpPr>
          <p:cNvPr id="57" name="Segnaposto testo 2">
            <a:extLst>
              <a:ext uri="{FF2B5EF4-FFF2-40B4-BE49-F238E27FC236}">
                <a16:creationId xmlns:a16="http://schemas.microsoft.com/office/drawing/2014/main" id="{94047AA7-1668-C38E-E78C-1201EFEA402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58813" y="3562350"/>
            <a:ext cx="5819775" cy="40481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it-IT" dirty="0"/>
              <a:t>Fare clic per modificare la Data</a:t>
            </a:r>
          </a:p>
        </p:txBody>
      </p:sp>
      <p:sp>
        <p:nvSpPr>
          <p:cNvPr id="3" name="object 16">
            <a:extLst>
              <a:ext uri="{FF2B5EF4-FFF2-40B4-BE49-F238E27FC236}">
                <a16:creationId xmlns:a16="http://schemas.microsoft.com/office/drawing/2014/main" id="{B979C4BB-41A3-D818-C8F7-6F5D896CFF2B}"/>
              </a:ext>
            </a:extLst>
          </p:cNvPr>
          <p:cNvSpPr/>
          <p:nvPr/>
        </p:nvSpPr>
        <p:spPr>
          <a:xfrm>
            <a:off x="-6350" y="0"/>
            <a:ext cx="12204700" cy="68707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object 28">
            <a:extLst>
              <a:ext uri="{FF2B5EF4-FFF2-40B4-BE49-F238E27FC236}">
                <a16:creationId xmlns:a16="http://schemas.microsoft.com/office/drawing/2014/main" id="{30324C61-B536-7E5F-E849-7010C76670CA}"/>
              </a:ext>
            </a:extLst>
          </p:cNvPr>
          <p:cNvSpPr/>
          <p:nvPr/>
        </p:nvSpPr>
        <p:spPr>
          <a:xfrm>
            <a:off x="5404573" y="0"/>
            <a:ext cx="6793777" cy="6870700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779575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Pagina Due colonn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Segnaposto testo 4">
            <a:extLst>
              <a:ext uri="{FF2B5EF4-FFF2-40B4-BE49-F238E27FC236}">
                <a16:creationId xmlns:a16="http://schemas.microsoft.com/office/drawing/2014/main" id="{597E06C8-CAFB-E24B-A154-8EA093E0C54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49834" y="5917932"/>
            <a:ext cx="9402763" cy="573088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900" b="0" i="0">
                <a:latin typeface="Avenir Next LT Pro" panose="020B0504020202020204" pitchFamily="34" charset="77"/>
              </a:defRPr>
            </a:lvl1pPr>
            <a:lvl2pPr marL="457200" indent="0">
              <a:buNone/>
              <a:defRPr sz="900" b="0" i="0">
                <a:latin typeface="Avenir Next LT Pro" panose="020B0504020202020204" pitchFamily="34" charset="77"/>
              </a:defRPr>
            </a:lvl2pPr>
            <a:lvl3pPr marL="914400" indent="0">
              <a:buNone/>
              <a:defRPr sz="900" b="0" i="0">
                <a:latin typeface="Avenir Next LT Pro" panose="020B0504020202020204" pitchFamily="34" charset="77"/>
              </a:defRPr>
            </a:lvl3pPr>
            <a:lvl4pPr marL="1371600" indent="0">
              <a:buNone/>
              <a:defRPr sz="900" b="0" i="0">
                <a:latin typeface="Avenir Next LT Pro" panose="020B0504020202020204" pitchFamily="34" charset="77"/>
              </a:defRPr>
            </a:lvl4pPr>
            <a:lvl5pPr marL="1828800" indent="0">
              <a:buNone/>
              <a:defRPr sz="900" b="0" i="0">
                <a:latin typeface="Avenir Next LT Pro" panose="020B0504020202020204" pitchFamily="34" charset="77"/>
              </a:defRPr>
            </a:lvl5pPr>
          </a:lstStyle>
          <a:p>
            <a:pPr lvl="0"/>
            <a:r>
              <a:rPr lang="it-IT" dirty="0"/>
              <a:t>1. Fare clic per modificare le note 2. Fare clic per modificare le note 3. Fare clic per modificare le note </a:t>
            </a:r>
          </a:p>
        </p:txBody>
      </p:sp>
      <p:sp>
        <p:nvSpPr>
          <p:cNvPr id="42" name="Segnaposto testo 46">
            <a:extLst>
              <a:ext uri="{FF2B5EF4-FFF2-40B4-BE49-F238E27FC236}">
                <a16:creationId xmlns:a16="http://schemas.microsoft.com/office/drawing/2014/main" id="{00BC452B-C9F6-486C-8B6F-1CA1B2145E8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457282" y="1158675"/>
            <a:ext cx="4140000" cy="746498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 b="0" i="0">
                <a:solidFill>
                  <a:srgbClr val="0047BB"/>
                </a:solidFill>
                <a:latin typeface="Avenir Next LT Pro" panose="020B0504020202020204" pitchFamily="34" charset="77"/>
              </a:defRPr>
            </a:lvl1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46" name="Segnaposto testo 46">
            <a:extLst>
              <a:ext uri="{FF2B5EF4-FFF2-40B4-BE49-F238E27FC236}">
                <a16:creationId xmlns:a16="http://schemas.microsoft.com/office/drawing/2014/main" id="{3C0AD768-2B71-45C7-935D-C6BEA3E0C3C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749601" y="1159611"/>
            <a:ext cx="4117982" cy="746498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 b="0" i="0">
                <a:solidFill>
                  <a:srgbClr val="0047BB"/>
                </a:solidFill>
                <a:latin typeface="Avenir Next LT Pro" panose="020B0504020202020204" pitchFamily="34" charset="77"/>
              </a:defRPr>
            </a:lvl1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53" name="Segnaposto contenuto 3">
            <a:extLst>
              <a:ext uri="{FF2B5EF4-FFF2-40B4-BE49-F238E27FC236}">
                <a16:creationId xmlns:a16="http://schemas.microsoft.com/office/drawing/2014/main" id="{17CDF894-BE8F-4807-9180-E036A0572D47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15939" y="2783022"/>
            <a:ext cx="5580062" cy="3146291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i="1">
                <a:solidFill>
                  <a:schemeClr val="tx1"/>
                </a:solidFill>
              </a:defRPr>
            </a:lvl1pPr>
            <a:lvl2pPr>
              <a:buClr>
                <a:schemeClr val="tx1"/>
              </a:buClr>
              <a:defRPr/>
            </a:lvl2pPr>
            <a:lvl3pPr marL="1143000" indent="-228600">
              <a:buClr>
                <a:schemeClr val="accent2"/>
              </a:buClr>
              <a:buFont typeface="Wingdings" panose="05000000000000000000" pitchFamily="2" charset="2"/>
              <a:buChar char="§"/>
              <a:defRPr/>
            </a:lvl3pPr>
            <a:lvl4pPr marL="1600200" indent="-228600">
              <a:buClr>
                <a:schemeClr val="accent2"/>
              </a:buClr>
              <a:buFont typeface="Courier New" panose="02070309020205020404" pitchFamily="49" charset="0"/>
              <a:buChar char="o"/>
              <a:defRPr/>
            </a:lvl4pPr>
          </a:lstStyle>
          <a:p>
            <a:pPr lvl="0"/>
            <a:r>
              <a:rPr lang="it-IT" sz="1400"/>
              <a:t>Fare clic per modificare gli stili del testo dello schema</a:t>
            </a:r>
          </a:p>
          <a:p>
            <a:pPr lvl="1"/>
            <a:r>
              <a:rPr lang="it-IT" sz="1400"/>
              <a:t>Secondo livello</a:t>
            </a:r>
          </a:p>
          <a:p>
            <a:pPr lvl="2"/>
            <a:r>
              <a:rPr lang="it-IT" sz="1400"/>
              <a:t>Terzo livello</a:t>
            </a:r>
          </a:p>
          <a:p>
            <a:pPr lvl="3"/>
            <a:r>
              <a:rPr lang="it-IT" sz="1400"/>
              <a:t>Quarto livello</a:t>
            </a:r>
          </a:p>
        </p:txBody>
      </p:sp>
      <p:sp>
        <p:nvSpPr>
          <p:cNvPr id="54" name="Segnaposto testo 28">
            <a:extLst>
              <a:ext uri="{FF2B5EF4-FFF2-40B4-BE49-F238E27FC236}">
                <a16:creationId xmlns:a16="http://schemas.microsoft.com/office/drawing/2014/main" id="{6B7C7CD3-E585-4050-A460-CB557B782DD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15938" y="2349500"/>
            <a:ext cx="5580062" cy="4222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 marL="914400" indent="0">
              <a:buNone/>
              <a:defRPr sz="14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</a:lstStyle>
          <a:p>
            <a:pPr lvl="0"/>
            <a:r>
              <a:rPr lang="it-IT" dirty="0"/>
              <a:t>Inserimento testo</a:t>
            </a:r>
          </a:p>
        </p:txBody>
      </p:sp>
      <p:sp>
        <p:nvSpPr>
          <p:cNvPr id="55" name="Segnaposto contenuto 3">
            <a:extLst>
              <a:ext uri="{FF2B5EF4-FFF2-40B4-BE49-F238E27FC236}">
                <a16:creationId xmlns:a16="http://schemas.microsoft.com/office/drawing/2014/main" id="{1EB93BAA-B8E3-48DA-B204-CB040A79A94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6096001" y="2789850"/>
            <a:ext cx="5580062" cy="3146291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i="1">
                <a:solidFill>
                  <a:schemeClr val="tx1"/>
                </a:solidFill>
              </a:defRPr>
            </a:lvl1pPr>
            <a:lvl2pPr>
              <a:buClr>
                <a:schemeClr val="tx1"/>
              </a:buClr>
              <a:defRPr/>
            </a:lvl2pPr>
            <a:lvl3pPr marL="1143000" indent="-228600">
              <a:buClr>
                <a:schemeClr val="accent2"/>
              </a:buClr>
              <a:buFont typeface="Wingdings" panose="05000000000000000000" pitchFamily="2" charset="2"/>
              <a:buChar char="§"/>
              <a:defRPr/>
            </a:lvl3pPr>
            <a:lvl4pPr marL="1600200" indent="-228600">
              <a:buClr>
                <a:schemeClr val="accent2"/>
              </a:buClr>
              <a:buFont typeface="Courier New" panose="02070309020205020404" pitchFamily="49" charset="0"/>
              <a:buChar char="o"/>
              <a:defRPr/>
            </a:lvl4pPr>
          </a:lstStyle>
          <a:p>
            <a:pPr lvl="0"/>
            <a:r>
              <a:rPr lang="it-IT" sz="1400"/>
              <a:t>Fare clic per modificare gli stili del testo dello schema</a:t>
            </a:r>
          </a:p>
          <a:p>
            <a:pPr lvl="1"/>
            <a:r>
              <a:rPr lang="it-IT" sz="1400"/>
              <a:t>Secondo livello</a:t>
            </a:r>
          </a:p>
          <a:p>
            <a:pPr lvl="2"/>
            <a:r>
              <a:rPr lang="it-IT" sz="1400"/>
              <a:t>Terzo livello</a:t>
            </a:r>
          </a:p>
          <a:p>
            <a:pPr lvl="3"/>
            <a:r>
              <a:rPr lang="it-IT" sz="1400"/>
              <a:t>Quarto livello</a:t>
            </a:r>
          </a:p>
        </p:txBody>
      </p:sp>
      <p:sp>
        <p:nvSpPr>
          <p:cNvPr id="56" name="Segnaposto testo 28">
            <a:extLst>
              <a:ext uri="{FF2B5EF4-FFF2-40B4-BE49-F238E27FC236}">
                <a16:creationId xmlns:a16="http://schemas.microsoft.com/office/drawing/2014/main" id="{FE5C7DB5-3E36-488B-A836-D04F353B51D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096000" y="2356328"/>
            <a:ext cx="5580062" cy="4222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 marL="914400" indent="0">
              <a:buNone/>
              <a:defRPr sz="14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</a:lstStyle>
          <a:p>
            <a:pPr lvl="0"/>
            <a:r>
              <a:rPr lang="it-IT" dirty="0"/>
              <a:t>Inserimento testo</a:t>
            </a:r>
          </a:p>
        </p:txBody>
      </p:sp>
      <p:sp>
        <p:nvSpPr>
          <p:cNvPr id="47" name="bg object 16">
            <a:extLst>
              <a:ext uri="{FF2B5EF4-FFF2-40B4-BE49-F238E27FC236}">
                <a16:creationId xmlns:a16="http://schemas.microsoft.com/office/drawing/2014/main" id="{C63BEB93-E927-7940-99E0-736031E938A2}"/>
              </a:ext>
            </a:extLst>
          </p:cNvPr>
          <p:cNvSpPr/>
          <p:nvPr/>
        </p:nvSpPr>
        <p:spPr>
          <a:xfrm>
            <a:off x="11330381" y="6448615"/>
            <a:ext cx="311785" cy="410845"/>
          </a:xfrm>
          <a:custGeom>
            <a:avLst/>
            <a:gdLst/>
            <a:ahLst/>
            <a:cxnLst/>
            <a:rect l="l" t="t" r="r" b="b"/>
            <a:pathLst>
              <a:path w="311784" h="410845">
                <a:moveTo>
                  <a:pt x="311645" y="0"/>
                </a:moveTo>
                <a:lnTo>
                  <a:pt x="0" y="0"/>
                </a:lnTo>
                <a:lnTo>
                  <a:pt x="0" y="410438"/>
                </a:lnTo>
                <a:lnTo>
                  <a:pt x="311645" y="410438"/>
                </a:lnTo>
                <a:lnTo>
                  <a:pt x="311645" y="0"/>
                </a:lnTo>
                <a:close/>
              </a:path>
            </a:pathLst>
          </a:custGeom>
          <a:solidFill>
            <a:srgbClr val="0047B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8" name="Holder 7">
            <a:extLst>
              <a:ext uri="{FF2B5EF4-FFF2-40B4-BE49-F238E27FC236}">
                <a16:creationId xmlns:a16="http://schemas.microsoft.com/office/drawing/2014/main" id="{A989B6EE-2513-8149-8081-00ED9F9DCDA5}"/>
              </a:ext>
            </a:extLst>
          </p:cNvPr>
          <p:cNvSpPr txBox="1">
            <a:spLocks/>
          </p:cNvSpPr>
          <p:nvPr/>
        </p:nvSpPr>
        <p:spPr>
          <a:xfrm>
            <a:off x="11342726" y="6520516"/>
            <a:ext cx="256044" cy="16158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it-IT"/>
            </a:defPPr>
            <a:lvl1pPr marL="0" algn="l" defTabSz="914400" rtl="0" eaLnBrk="1" latinLnBrk="0" hangingPunct="1">
              <a:defRPr sz="850" b="1" i="0" kern="1200">
                <a:solidFill>
                  <a:schemeClr val="bg1"/>
                </a:solidFill>
                <a:latin typeface="Verdana"/>
                <a:ea typeface="+mn-ea"/>
                <a:cs typeface="Verdana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8100" algn="ctr">
              <a:spcBef>
                <a:spcPts val="105"/>
              </a:spcBef>
            </a:pPr>
            <a:fld id="{81D60167-4931-47E6-BA6A-407CBD079E47}" type="slidenum">
              <a:rPr lang="it-IT" sz="1050" b="0" i="0" spc="5" smtClean="0">
                <a:latin typeface="Avenir Next LT Pro" pitchFamily="2" charset="0"/>
              </a:rPr>
              <a:pPr marL="38100" algn="ctr">
                <a:spcBef>
                  <a:spcPts val="105"/>
                </a:spcBef>
              </a:pPr>
              <a:t>‹N›</a:t>
            </a:fld>
            <a:endParaRPr lang="it-IT" sz="1050" b="0" i="0" spc="5" dirty="0">
              <a:latin typeface="Avenir Next LT Pro" pitchFamily="2" charset="0"/>
            </a:endParaRPr>
          </a:p>
        </p:txBody>
      </p:sp>
      <p:sp>
        <p:nvSpPr>
          <p:cNvPr id="51" name="Triangolo isoscele 16">
            <a:extLst>
              <a:ext uri="{FF2B5EF4-FFF2-40B4-BE49-F238E27FC236}">
                <a16:creationId xmlns:a16="http://schemas.microsoft.com/office/drawing/2014/main" id="{1A1B494C-547A-EE4E-AE26-0D42E863F9E0}"/>
              </a:ext>
            </a:extLst>
          </p:cNvPr>
          <p:cNvSpPr/>
          <p:nvPr/>
        </p:nvSpPr>
        <p:spPr>
          <a:xfrm rot="10800000">
            <a:off x="303127" y="-324737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52" name="Triangolo isoscele 17">
            <a:extLst>
              <a:ext uri="{FF2B5EF4-FFF2-40B4-BE49-F238E27FC236}">
                <a16:creationId xmlns:a16="http://schemas.microsoft.com/office/drawing/2014/main" id="{F36352A9-7864-044B-A1E8-0568AC18926A}"/>
              </a:ext>
            </a:extLst>
          </p:cNvPr>
          <p:cNvSpPr/>
          <p:nvPr/>
        </p:nvSpPr>
        <p:spPr>
          <a:xfrm rot="10800000">
            <a:off x="11756536" y="-324737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57" name="Triangolo isoscele 18">
            <a:extLst>
              <a:ext uri="{FF2B5EF4-FFF2-40B4-BE49-F238E27FC236}">
                <a16:creationId xmlns:a16="http://schemas.microsoft.com/office/drawing/2014/main" id="{000B4E47-FCA7-6A4D-BE7A-EB3306DF8B22}"/>
              </a:ext>
            </a:extLst>
          </p:cNvPr>
          <p:cNvSpPr/>
          <p:nvPr/>
        </p:nvSpPr>
        <p:spPr>
          <a:xfrm>
            <a:off x="303127" y="6950754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58" name="Triangolo isoscele 19">
            <a:extLst>
              <a:ext uri="{FF2B5EF4-FFF2-40B4-BE49-F238E27FC236}">
                <a16:creationId xmlns:a16="http://schemas.microsoft.com/office/drawing/2014/main" id="{0F09A6BD-5E18-4B48-BD46-DBCB3DED3EE8}"/>
              </a:ext>
            </a:extLst>
          </p:cNvPr>
          <p:cNvSpPr/>
          <p:nvPr/>
        </p:nvSpPr>
        <p:spPr>
          <a:xfrm>
            <a:off x="11756536" y="6950754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59" name="Triangolo isoscele 20">
            <a:extLst>
              <a:ext uri="{FF2B5EF4-FFF2-40B4-BE49-F238E27FC236}">
                <a16:creationId xmlns:a16="http://schemas.microsoft.com/office/drawing/2014/main" id="{4127A3D1-7455-0941-AE7B-0A9B992F3D33}"/>
              </a:ext>
            </a:extLst>
          </p:cNvPr>
          <p:cNvSpPr/>
          <p:nvPr/>
        </p:nvSpPr>
        <p:spPr>
          <a:xfrm rot="5400000">
            <a:off x="-276040" y="885372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60" name="Triangolo isoscele 21">
            <a:extLst>
              <a:ext uri="{FF2B5EF4-FFF2-40B4-BE49-F238E27FC236}">
                <a16:creationId xmlns:a16="http://schemas.microsoft.com/office/drawing/2014/main" id="{6D4C13A2-CD22-A641-9234-74AF03792564}"/>
              </a:ext>
            </a:extLst>
          </p:cNvPr>
          <p:cNvSpPr/>
          <p:nvPr/>
        </p:nvSpPr>
        <p:spPr>
          <a:xfrm rot="5400000">
            <a:off x="-276039" y="5982836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61" name="Triangolo isoscele 22">
            <a:extLst>
              <a:ext uri="{FF2B5EF4-FFF2-40B4-BE49-F238E27FC236}">
                <a16:creationId xmlns:a16="http://schemas.microsoft.com/office/drawing/2014/main" id="{17FF3D8A-9BAA-8544-A789-D7FAB1EE093D}"/>
              </a:ext>
            </a:extLst>
          </p:cNvPr>
          <p:cNvSpPr/>
          <p:nvPr/>
        </p:nvSpPr>
        <p:spPr>
          <a:xfrm rot="16200000">
            <a:off x="12331119" y="885372"/>
            <a:ext cx="132336" cy="261257"/>
          </a:xfrm>
          <a:prstGeom prst="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62" name="Triangolo isoscele 23">
            <a:extLst>
              <a:ext uri="{FF2B5EF4-FFF2-40B4-BE49-F238E27FC236}">
                <a16:creationId xmlns:a16="http://schemas.microsoft.com/office/drawing/2014/main" id="{FD03E863-76A8-4B42-A3EC-E8E9DFEEC21D}"/>
              </a:ext>
            </a:extLst>
          </p:cNvPr>
          <p:cNvSpPr/>
          <p:nvPr/>
        </p:nvSpPr>
        <p:spPr>
          <a:xfrm rot="16200000">
            <a:off x="12331120" y="5982836"/>
            <a:ext cx="132336" cy="261257"/>
          </a:xfrm>
          <a:prstGeom prst="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63" name="Triangolo isoscele 31">
            <a:extLst>
              <a:ext uri="{FF2B5EF4-FFF2-40B4-BE49-F238E27FC236}">
                <a16:creationId xmlns:a16="http://schemas.microsoft.com/office/drawing/2014/main" id="{DF66F9C8-4564-F14A-8E9F-902B365EE2ED}"/>
              </a:ext>
            </a:extLst>
          </p:cNvPr>
          <p:cNvSpPr/>
          <p:nvPr/>
        </p:nvSpPr>
        <p:spPr>
          <a:xfrm rot="10800000">
            <a:off x="303127" y="-324737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64" name="Triangolo isoscele 32">
            <a:extLst>
              <a:ext uri="{FF2B5EF4-FFF2-40B4-BE49-F238E27FC236}">
                <a16:creationId xmlns:a16="http://schemas.microsoft.com/office/drawing/2014/main" id="{933E922A-B98C-894D-A6A8-29EC63FA0852}"/>
              </a:ext>
            </a:extLst>
          </p:cNvPr>
          <p:cNvSpPr/>
          <p:nvPr/>
        </p:nvSpPr>
        <p:spPr>
          <a:xfrm rot="10800000">
            <a:off x="11756536" y="-324737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65" name="Triangolo isoscele 33">
            <a:extLst>
              <a:ext uri="{FF2B5EF4-FFF2-40B4-BE49-F238E27FC236}">
                <a16:creationId xmlns:a16="http://schemas.microsoft.com/office/drawing/2014/main" id="{CDABA905-1E1A-784D-89A9-709CC27F4BA4}"/>
              </a:ext>
            </a:extLst>
          </p:cNvPr>
          <p:cNvSpPr/>
          <p:nvPr/>
        </p:nvSpPr>
        <p:spPr>
          <a:xfrm>
            <a:off x="303127" y="6950754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66" name="Triangolo isoscele 34">
            <a:extLst>
              <a:ext uri="{FF2B5EF4-FFF2-40B4-BE49-F238E27FC236}">
                <a16:creationId xmlns:a16="http://schemas.microsoft.com/office/drawing/2014/main" id="{56242FF4-FD8E-EB40-8158-C32ACFBC084B}"/>
              </a:ext>
            </a:extLst>
          </p:cNvPr>
          <p:cNvSpPr/>
          <p:nvPr/>
        </p:nvSpPr>
        <p:spPr>
          <a:xfrm>
            <a:off x="11756536" y="6950754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67" name="Triangolo isoscele 35">
            <a:extLst>
              <a:ext uri="{FF2B5EF4-FFF2-40B4-BE49-F238E27FC236}">
                <a16:creationId xmlns:a16="http://schemas.microsoft.com/office/drawing/2014/main" id="{C1852283-DC48-FF41-95AD-B95BCFDDF8E0}"/>
              </a:ext>
            </a:extLst>
          </p:cNvPr>
          <p:cNvSpPr/>
          <p:nvPr/>
        </p:nvSpPr>
        <p:spPr>
          <a:xfrm rot="5400000">
            <a:off x="-276040" y="885372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68" name="Triangolo isoscele 36">
            <a:extLst>
              <a:ext uri="{FF2B5EF4-FFF2-40B4-BE49-F238E27FC236}">
                <a16:creationId xmlns:a16="http://schemas.microsoft.com/office/drawing/2014/main" id="{C9F64E30-206E-1041-B631-926FB3996A13}"/>
              </a:ext>
            </a:extLst>
          </p:cNvPr>
          <p:cNvSpPr/>
          <p:nvPr/>
        </p:nvSpPr>
        <p:spPr>
          <a:xfrm rot="5400000">
            <a:off x="-276039" y="5982836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69" name="Triangolo isoscele 37">
            <a:extLst>
              <a:ext uri="{FF2B5EF4-FFF2-40B4-BE49-F238E27FC236}">
                <a16:creationId xmlns:a16="http://schemas.microsoft.com/office/drawing/2014/main" id="{198AB516-2023-0B49-B9AA-73A132CA4FEC}"/>
              </a:ext>
            </a:extLst>
          </p:cNvPr>
          <p:cNvSpPr/>
          <p:nvPr/>
        </p:nvSpPr>
        <p:spPr>
          <a:xfrm rot="16200000">
            <a:off x="12331119" y="885372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70" name="Triangolo isoscele 38">
            <a:extLst>
              <a:ext uri="{FF2B5EF4-FFF2-40B4-BE49-F238E27FC236}">
                <a16:creationId xmlns:a16="http://schemas.microsoft.com/office/drawing/2014/main" id="{5F65A803-BC9E-0541-A75C-FADDF5233DBF}"/>
              </a:ext>
            </a:extLst>
          </p:cNvPr>
          <p:cNvSpPr/>
          <p:nvPr/>
        </p:nvSpPr>
        <p:spPr>
          <a:xfrm rot="16200000">
            <a:off x="12331120" y="5982836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pic>
        <p:nvPicPr>
          <p:cNvPr id="71" name="Elemento grafico 70">
            <a:extLst>
              <a:ext uri="{FF2B5EF4-FFF2-40B4-BE49-F238E27FC236}">
                <a16:creationId xmlns:a16="http://schemas.microsoft.com/office/drawing/2014/main" id="{AC284E83-FB57-CF4B-8195-72480A0D0EE8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081892" y="-5080"/>
            <a:ext cx="1560273" cy="309880"/>
          </a:xfrm>
          <a:prstGeom prst="rect">
            <a:avLst/>
          </a:prstGeom>
        </p:spPr>
      </p:pic>
      <p:sp>
        <p:nvSpPr>
          <p:cNvPr id="72" name="object 267">
            <a:extLst>
              <a:ext uri="{FF2B5EF4-FFF2-40B4-BE49-F238E27FC236}">
                <a16:creationId xmlns:a16="http://schemas.microsoft.com/office/drawing/2014/main" id="{FFE14C75-D03C-5548-B376-E962D457D000}"/>
              </a:ext>
            </a:extLst>
          </p:cNvPr>
          <p:cNvSpPr/>
          <p:nvPr/>
        </p:nvSpPr>
        <p:spPr>
          <a:xfrm>
            <a:off x="0" y="1251482"/>
            <a:ext cx="675518" cy="45719"/>
          </a:xfrm>
          <a:custGeom>
            <a:avLst/>
            <a:gdLst/>
            <a:ahLst/>
            <a:cxnLst/>
            <a:rect l="l" t="t" r="r" b="b"/>
            <a:pathLst>
              <a:path w="657225">
                <a:moveTo>
                  <a:pt x="0" y="0"/>
                </a:moveTo>
                <a:lnTo>
                  <a:pt x="656678" y="0"/>
                </a:lnTo>
              </a:path>
            </a:pathLst>
          </a:custGeom>
          <a:ln w="76200">
            <a:solidFill>
              <a:srgbClr val="EEDC00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JhengHei UI Light" panose="020B0304030504040204" pitchFamily="34" charset="-120"/>
              <a:ea typeface="Microsoft JhengHei UI Light" panose="020B0304030504040204" pitchFamily="34" charset="-120"/>
              <a:cs typeface="+mn-cs"/>
            </a:endParaRPr>
          </a:p>
        </p:txBody>
      </p:sp>
      <p:sp>
        <p:nvSpPr>
          <p:cNvPr id="73" name="Estrai 72">
            <a:extLst>
              <a:ext uri="{FF2B5EF4-FFF2-40B4-BE49-F238E27FC236}">
                <a16:creationId xmlns:a16="http://schemas.microsoft.com/office/drawing/2014/main" id="{D8500D37-F878-A34F-9926-C99397BE6D26}"/>
              </a:ext>
            </a:extLst>
          </p:cNvPr>
          <p:cNvSpPr/>
          <p:nvPr/>
        </p:nvSpPr>
        <p:spPr>
          <a:xfrm rot="5400000">
            <a:off x="4866310" y="3733335"/>
            <a:ext cx="2809993" cy="350613"/>
          </a:xfrm>
          <a:prstGeom prst="flowChartExtract">
            <a:avLst/>
          </a:prstGeom>
          <a:gradFill flip="none" rotWithShape="1">
            <a:gsLst>
              <a:gs pos="0">
                <a:srgbClr val="0047BB">
                  <a:alpha val="0"/>
                </a:srgbClr>
              </a:gs>
              <a:gs pos="100000">
                <a:srgbClr val="0047BB">
                  <a:alpha val="31000"/>
                </a:srgb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venir Next LT Pro" panose="020B0504020202020204" pitchFamily="34" charset="77"/>
              <a:ea typeface="+mn-ea"/>
              <a:cs typeface="+mn-cs"/>
            </a:endParaRPr>
          </a:p>
        </p:txBody>
      </p:sp>
      <p:grpSp>
        <p:nvGrpSpPr>
          <p:cNvPr id="74" name="Gruppo 73">
            <a:extLst>
              <a:ext uri="{FF2B5EF4-FFF2-40B4-BE49-F238E27FC236}">
                <a16:creationId xmlns:a16="http://schemas.microsoft.com/office/drawing/2014/main" id="{D17C0745-661B-3048-9BF5-098E4CAB432B}"/>
              </a:ext>
            </a:extLst>
          </p:cNvPr>
          <p:cNvGrpSpPr/>
          <p:nvPr/>
        </p:nvGrpSpPr>
        <p:grpSpPr>
          <a:xfrm>
            <a:off x="633940" y="1509967"/>
            <a:ext cx="756000" cy="756000"/>
            <a:chOff x="633940" y="1509967"/>
            <a:chExt cx="756000" cy="756000"/>
          </a:xfrm>
        </p:grpSpPr>
        <p:sp>
          <p:nvSpPr>
            <p:cNvPr id="75" name="object 46">
              <a:extLst>
                <a:ext uri="{FF2B5EF4-FFF2-40B4-BE49-F238E27FC236}">
                  <a16:creationId xmlns:a16="http://schemas.microsoft.com/office/drawing/2014/main" id="{BAE3DDF4-C066-DC47-95C9-C59666A49CFD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33940" y="1509967"/>
              <a:ext cx="756000" cy="756000"/>
            </a:xfrm>
            <a:custGeom>
              <a:avLst/>
              <a:gdLst/>
              <a:ahLst/>
              <a:cxnLst/>
              <a:rect l="l" t="t" r="r" b="b"/>
              <a:pathLst>
                <a:path w="1009650" h="1009650">
                  <a:moveTo>
                    <a:pt x="1009637" y="504825"/>
                  </a:moveTo>
                  <a:lnTo>
                    <a:pt x="1007326" y="553440"/>
                  </a:lnTo>
                  <a:lnTo>
                    <a:pt x="1000534" y="600748"/>
                  </a:lnTo>
                  <a:lnTo>
                    <a:pt x="989474" y="646537"/>
                  </a:lnTo>
                  <a:lnTo>
                    <a:pt x="974355" y="690596"/>
                  </a:lnTo>
                  <a:lnTo>
                    <a:pt x="955391" y="732714"/>
                  </a:lnTo>
                  <a:lnTo>
                    <a:pt x="932791" y="772678"/>
                  </a:lnTo>
                  <a:lnTo>
                    <a:pt x="906769" y="810276"/>
                  </a:lnTo>
                  <a:lnTo>
                    <a:pt x="877535" y="845298"/>
                  </a:lnTo>
                  <a:lnTo>
                    <a:pt x="845302" y="877532"/>
                  </a:lnTo>
                  <a:lnTo>
                    <a:pt x="810279" y="906766"/>
                  </a:lnTo>
                  <a:lnTo>
                    <a:pt x="772680" y="932789"/>
                  </a:lnTo>
                  <a:lnTo>
                    <a:pt x="732715" y="955389"/>
                  </a:lnTo>
                  <a:lnTo>
                    <a:pt x="690596" y="974354"/>
                  </a:lnTo>
                  <a:lnTo>
                    <a:pt x="646535" y="989473"/>
                  </a:lnTo>
                  <a:lnTo>
                    <a:pt x="600743" y="1000534"/>
                  </a:lnTo>
                  <a:lnTo>
                    <a:pt x="553431" y="1007326"/>
                  </a:lnTo>
                  <a:lnTo>
                    <a:pt x="504812" y="1009637"/>
                  </a:lnTo>
                  <a:lnTo>
                    <a:pt x="456197" y="1007326"/>
                  </a:lnTo>
                  <a:lnTo>
                    <a:pt x="408888" y="1000534"/>
                  </a:lnTo>
                  <a:lnTo>
                    <a:pt x="363099" y="989473"/>
                  </a:lnTo>
                  <a:lnTo>
                    <a:pt x="319040" y="974354"/>
                  </a:lnTo>
                  <a:lnTo>
                    <a:pt x="276923" y="955389"/>
                  </a:lnTo>
                  <a:lnTo>
                    <a:pt x="236959" y="932789"/>
                  </a:lnTo>
                  <a:lnTo>
                    <a:pt x="199360" y="906766"/>
                  </a:lnTo>
                  <a:lnTo>
                    <a:pt x="164338" y="877532"/>
                  </a:lnTo>
                  <a:lnTo>
                    <a:pt x="132104" y="845298"/>
                  </a:lnTo>
                  <a:lnTo>
                    <a:pt x="102870" y="810276"/>
                  </a:lnTo>
                  <a:lnTo>
                    <a:pt x="76847" y="772678"/>
                  </a:lnTo>
                  <a:lnTo>
                    <a:pt x="54248" y="732714"/>
                  </a:lnTo>
                  <a:lnTo>
                    <a:pt x="35283" y="690596"/>
                  </a:lnTo>
                  <a:lnTo>
                    <a:pt x="20164" y="646537"/>
                  </a:lnTo>
                  <a:lnTo>
                    <a:pt x="9102" y="600748"/>
                  </a:lnTo>
                  <a:lnTo>
                    <a:pt x="2310" y="553440"/>
                  </a:lnTo>
                  <a:lnTo>
                    <a:pt x="0" y="504825"/>
                  </a:lnTo>
                  <a:lnTo>
                    <a:pt x="2310" y="456207"/>
                  </a:lnTo>
                  <a:lnTo>
                    <a:pt x="9102" y="408897"/>
                  </a:lnTo>
                  <a:lnTo>
                    <a:pt x="20164" y="363106"/>
                  </a:lnTo>
                  <a:lnTo>
                    <a:pt x="35283" y="319045"/>
                  </a:lnTo>
                  <a:lnTo>
                    <a:pt x="54248" y="276927"/>
                  </a:lnTo>
                  <a:lnTo>
                    <a:pt x="76847" y="236962"/>
                  </a:lnTo>
                  <a:lnTo>
                    <a:pt x="102870" y="199363"/>
                  </a:lnTo>
                  <a:lnTo>
                    <a:pt x="132104" y="164340"/>
                  </a:lnTo>
                  <a:lnTo>
                    <a:pt x="164338" y="132105"/>
                  </a:lnTo>
                  <a:lnTo>
                    <a:pt x="199360" y="102871"/>
                  </a:lnTo>
                  <a:lnTo>
                    <a:pt x="236959" y="76848"/>
                  </a:lnTo>
                  <a:lnTo>
                    <a:pt x="276923" y="54248"/>
                  </a:lnTo>
                  <a:lnTo>
                    <a:pt x="319040" y="35283"/>
                  </a:lnTo>
                  <a:lnTo>
                    <a:pt x="363099" y="20164"/>
                  </a:lnTo>
                  <a:lnTo>
                    <a:pt x="408888" y="9102"/>
                  </a:lnTo>
                  <a:lnTo>
                    <a:pt x="456197" y="2310"/>
                  </a:lnTo>
                  <a:lnTo>
                    <a:pt x="504812" y="0"/>
                  </a:lnTo>
                  <a:lnTo>
                    <a:pt x="553431" y="2310"/>
                  </a:lnTo>
                  <a:lnTo>
                    <a:pt x="600743" y="9102"/>
                  </a:lnTo>
                  <a:lnTo>
                    <a:pt x="646535" y="20164"/>
                  </a:lnTo>
                  <a:lnTo>
                    <a:pt x="690596" y="35283"/>
                  </a:lnTo>
                  <a:lnTo>
                    <a:pt x="732715" y="54248"/>
                  </a:lnTo>
                  <a:lnTo>
                    <a:pt x="772680" y="76848"/>
                  </a:lnTo>
                  <a:lnTo>
                    <a:pt x="810279" y="102871"/>
                  </a:lnTo>
                  <a:lnTo>
                    <a:pt x="845302" y="132105"/>
                  </a:lnTo>
                  <a:lnTo>
                    <a:pt x="877535" y="164340"/>
                  </a:lnTo>
                  <a:lnTo>
                    <a:pt x="906769" y="199363"/>
                  </a:lnTo>
                  <a:lnTo>
                    <a:pt x="932791" y="236962"/>
                  </a:lnTo>
                  <a:lnTo>
                    <a:pt x="955391" y="276927"/>
                  </a:lnTo>
                  <a:lnTo>
                    <a:pt x="974355" y="319045"/>
                  </a:lnTo>
                  <a:lnTo>
                    <a:pt x="989474" y="363106"/>
                  </a:lnTo>
                  <a:lnTo>
                    <a:pt x="1000534" y="408897"/>
                  </a:lnTo>
                  <a:lnTo>
                    <a:pt x="1007326" y="456207"/>
                  </a:lnTo>
                  <a:lnTo>
                    <a:pt x="1009637" y="504825"/>
                  </a:lnTo>
                  <a:close/>
                </a:path>
              </a:pathLst>
            </a:custGeom>
            <a:solidFill>
              <a:schemeClr val="bg1"/>
            </a:solidFill>
            <a:ln w="12700">
              <a:solidFill>
                <a:srgbClr val="0046BA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3B3B3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76" name="object 47">
              <a:extLst>
                <a:ext uri="{FF2B5EF4-FFF2-40B4-BE49-F238E27FC236}">
                  <a16:creationId xmlns:a16="http://schemas.microsoft.com/office/drawing/2014/main" id="{9F54BC70-3C0C-1E40-A6D5-81B8834B81A1}"/>
                </a:ext>
              </a:extLst>
            </p:cNvPr>
            <p:cNvSpPr/>
            <p:nvPr userDrawn="1"/>
          </p:nvSpPr>
          <p:spPr>
            <a:xfrm>
              <a:off x="687940" y="1563967"/>
              <a:ext cx="648000" cy="648000"/>
            </a:xfrm>
            <a:custGeom>
              <a:avLst/>
              <a:gdLst/>
              <a:ahLst/>
              <a:cxnLst/>
              <a:rect l="l" t="t" r="r" b="b"/>
              <a:pathLst>
                <a:path w="836294" h="836294">
                  <a:moveTo>
                    <a:pt x="417944" y="0"/>
                  </a:moveTo>
                  <a:lnTo>
                    <a:pt x="369203" y="2811"/>
                  </a:lnTo>
                  <a:lnTo>
                    <a:pt x="322114" y="11038"/>
                  </a:lnTo>
                  <a:lnTo>
                    <a:pt x="276989" y="24365"/>
                  </a:lnTo>
                  <a:lnTo>
                    <a:pt x="234143" y="42480"/>
                  </a:lnTo>
                  <a:lnTo>
                    <a:pt x="193890" y="65069"/>
                  </a:lnTo>
                  <a:lnTo>
                    <a:pt x="156542" y="91818"/>
                  </a:lnTo>
                  <a:lnTo>
                    <a:pt x="122413" y="122413"/>
                  </a:lnTo>
                  <a:lnTo>
                    <a:pt x="91818" y="156542"/>
                  </a:lnTo>
                  <a:lnTo>
                    <a:pt x="65069" y="193890"/>
                  </a:lnTo>
                  <a:lnTo>
                    <a:pt x="42480" y="234143"/>
                  </a:lnTo>
                  <a:lnTo>
                    <a:pt x="24365" y="276989"/>
                  </a:lnTo>
                  <a:lnTo>
                    <a:pt x="11038" y="322114"/>
                  </a:lnTo>
                  <a:lnTo>
                    <a:pt x="2811" y="369203"/>
                  </a:lnTo>
                  <a:lnTo>
                    <a:pt x="0" y="417944"/>
                  </a:lnTo>
                  <a:lnTo>
                    <a:pt x="2811" y="466685"/>
                  </a:lnTo>
                  <a:lnTo>
                    <a:pt x="11038" y="513774"/>
                  </a:lnTo>
                  <a:lnTo>
                    <a:pt x="24365" y="558898"/>
                  </a:lnTo>
                  <a:lnTo>
                    <a:pt x="42480" y="601744"/>
                  </a:lnTo>
                  <a:lnTo>
                    <a:pt x="65069" y="641998"/>
                  </a:lnTo>
                  <a:lnTo>
                    <a:pt x="91818" y="679346"/>
                  </a:lnTo>
                  <a:lnTo>
                    <a:pt x="122413" y="713474"/>
                  </a:lnTo>
                  <a:lnTo>
                    <a:pt x="156542" y="744070"/>
                  </a:lnTo>
                  <a:lnTo>
                    <a:pt x="193890" y="770819"/>
                  </a:lnTo>
                  <a:lnTo>
                    <a:pt x="234143" y="793407"/>
                  </a:lnTo>
                  <a:lnTo>
                    <a:pt x="276989" y="811522"/>
                  </a:lnTo>
                  <a:lnTo>
                    <a:pt x="322114" y="824850"/>
                  </a:lnTo>
                  <a:lnTo>
                    <a:pt x="369203" y="833076"/>
                  </a:lnTo>
                  <a:lnTo>
                    <a:pt x="417944" y="835888"/>
                  </a:lnTo>
                  <a:lnTo>
                    <a:pt x="466685" y="833076"/>
                  </a:lnTo>
                  <a:lnTo>
                    <a:pt x="513774" y="824850"/>
                  </a:lnTo>
                  <a:lnTo>
                    <a:pt x="558898" y="811522"/>
                  </a:lnTo>
                  <a:lnTo>
                    <a:pt x="601744" y="793407"/>
                  </a:lnTo>
                  <a:lnTo>
                    <a:pt x="641998" y="770819"/>
                  </a:lnTo>
                  <a:lnTo>
                    <a:pt x="679346" y="744070"/>
                  </a:lnTo>
                  <a:lnTo>
                    <a:pt x="713474" y="713474"/>
                  </a:lnTo>
                  <a:lnTo>
                    <a:pt x="744070" y="679346"/>
                  </a:lnTo>
                  <a:lnTo>
                    <a:pt x="770819" y="641998"/>
                  </a:lnTo>
                  <a:lnTo>
                    <a:pt x="793407" y="601744"/>
                  </a:lnTo>
                  <a:lnTo>
                    <a:pt x="811522" y="558898"/>
                  </a:lnTo>
                  <a:lnTo>
                    <a:pt x="824850" y="513774"/>
                  </a:lnTo>
                  <a:lnTo>
                    <a:pt x="833076" y="466685"/>
                  </a:lnTo>
                  <a:lnTo>
                    <a:pt x="835888" y="417944"/>
                  </a:lnTo>
                  <a:lnTo>
                    <a:pt x="833076" y="369203"/>
                  </a:lnTo>
                  <a:lnTo>
                    <a:pt x="824850" y="322114"/>
                  </a:lnTo>
                  <a:lnTo>
                    <a:pt x="811522" y="276989"/>
                  </a:lnTo>
                  <a:lnTo>
                    <a:pt x="793407" y="234143"/>
                  </a:lnTo>
                  <a:lnTo>
                    <a:pt x="770819" y="193890"/>
                  </a:lnTo>
                  <a:lnTo>
                    <a:pt x="744070" y="156542"/>
                  </a:lnTo>
                  <a:lnTo>
                    <a:pt x="713474" y="122413"/>
                  </a:lnTo>
                  <a:lnTo>
                    <a:pt x="679346" y="91818"/>
                  </a:lnTo>
                  <a:lnTo>
                    <a:pt x="641998" y="65069"/>
                  </a:lnTo>
                  <a:lnTo>
                    <a:pt x="601744" y="42480"/>
                  </a:lnTo>
                  <a:lnTo>
                    <a:pt x="558898" y="24365"/>
                  </a:lnTo>
                  <a:lnTo>
                    <a:pt x="513774" y="11038"/>
                  </a:lnTo>
                  <a:lnTo>
                    <a:pt x="466685" y="2811"/>
                  </a:lnTo>
                  <a:lnTo>
                    <a:pt x="417944" y="0"/>
                  </a:lnTo>
                  <a:close/>
                </a:path>
              </a:pathLst>
            </a:custGeom>
            <a:solidFill>
              <a:srgbClr val="EEDC00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srgbClr val="3B3B3A"/>
                </a:solidFill>
                <a:effectLst/>
                <a:uLnTx/>
                <a:uFillTx/>
                <a:latin typeface="Avenir Next LT Pro" panose="020B0504020202020204" pitchFamily="34" charset="77"/>
                <a:ea typeface="+mn-ea"/>
                <a:cs typeface="+mn-cs"/>
              </a:endParaRPr>
            </a:p>
          </p:txBody>
        </p:sp>
      </p:grpSp>
      <p:cxnSp>
        <p:nvCxnSpPr>
          <p:cNvPr id="77" name="Connettore 1 46">
            <a:extLst>
              <a:ext uri="{FF2B5EF4-FFF2-40B4-BE49-F238E27FC236}">
                <a16:creationId xmlns:a16="http://schemas.microsoft.com/office/drawing/2014/main" id="{02165530-D638-8941-B9CF-FBD6D651120C}"/>
              </a:ext>
            </a:extLst>
          </p:cNvPr>
          <p:cNvCxnSpPr>
            <a:cxnSpLocks/>
          </p:cNvCxnSpPr>
          <p:nvPr/>
        </p:nvCxnSpPr>
        <p:spPr>
          <a:xfrm>
            <a:off x="1395006" y="1889852"/>
            <a:ext cx="4140000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8" name="Gruppo 77">
            <a:extLst>
              <a:ext uri="{FF2B5EF4-FFF2-40B4-BE49-F238E27FC236}">
                <a16:creationId xmlns:a16="http://schemas.microsoft.com/office/drawing/2014/main" id="{9AE2DC79-77C8-CE46-8BDF-6F875D3DCC40}"/>
              </a:ext>
            </a:extLst>
          </p:cNvPr>
          <p:cNvGrpSpPr/>
          <p:nvPr/>
        </p:nvGrpSpPr>
        <p:grpSpPr>
          <a:xfrm>
            <a:off x="10882811" y="1509967"/>
            <a:ext cx="756000" cy="756000"/>
            <a:chOff x="10885138" y="1455967"/>
            <a:chExt cx="756000" cy="756000"/>
          </a:xfrm>
        </p:grpSpPr>
        <p:sp>
          <p:nvSpPr>
            <p:cNvPr id="79" name="object 46">
              <a:extLst>
                <a:ext uri="{FF2B5EF4-FFF2-40B4-BE49-F238E27FC236}">
                  <a16:creationId xmlns:a16="http://schemas.microsoft.com/office/drawing/2014/main" id="{FDE662A0-70D9-7740-9093-6C036DDCC8CC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885138" y="1455967"/>
              <a:ext cx="756000" cy="756000"/>
            </a:xfrm>
            <a:custGeom>
              <a:avLst/>
              <a:gdLst/>
              <a:ahLst/>
              <a:cxnLst/>
              <a:rect l="l" t="t" r="r" b="b"/>
              <a:pathLst>
                <a:path w="1009650" h="1009650">
                  <a:moveTo>
                    <a:pt x="1009637" y="504825"/>
                  </a:moveTo>
                  <a:lnTo>
                    <a:pt x="1007326" y="553440"/>
                  </a:lnTo>
                  <a:lnTo>
                    <a:pt x="1000534" y="600748"/>
                  </a:lnTo>
                  <a:lnTo>
                    <a:pt x="989474" y="646537"/>
                  </a:lnTo>
                  <a:lnTo>
                    <a:pt x="974355" y="690596"/>
                  </a:lnTo>
                  <a:lnTo>
                    <a:pt x="955391" y="732714"/>
                  </a:lnTo>
                  <a:lnTo>
                    <a:pt x="932791" y="772678"/>
                  </a:lnTo>
                  <a:lnTo>
                    <a:pt x="906769" y="810276"/>
                  </a:lnTo>
                  <a:lnTo>
                    <a:pt x="877535" y="845298"/>
                  </a:lnTo>
                  <a:lnTo>
                    <a:pt x="845302" y="877532"/>
                  </a:lnTo>
                  <a:lnTo>
                    <a:pt x="810279" y="906766"/>
                  </a:lnTo>
                  <a:lnTo>
                    <a:pt x="772680" y="932789"/>
                  </a:lnTo>
                  <a:lnTo>
                    <a:pt x="732715" y="955389"/>
                  </a:lnTo>
                  <a:lnTo>
                    <a:pt x="690596" y="974354"/>
                  </a:lnTo>
                  <a:lnTo>
                    <a:pt x="646535" y="989473"/>
                  </a:lnTo>
                  <a:lnTo>
                    <a:pt x="600743" y="1000534"/>
                  </a:lnTo>
                  <a:lnTo>
                    <a:pt x="553431" y="1007326"/>
                  </a:lnTo>
                  <a:lnTo>
                    <a:pt x="504812" y="1009637"/>
                  </a:lnTo>
                  <a:lnTo>
                    <a:pt x="456197" y="1007326"/>
                  </a:lnTo>
                  <a:lnTo>
                    <a:pt x="408888" y="1000534"/>
                  </a:lnTo>
                  <a:lnTo>
                    <a:pt x="363099" y="989473"/>
                  </a:lnTo>
                  <a:lnTo>
                    <a:pt x="319040" y="974354"/>
                  </a:lnTo>
                  <a:lnTo>
                    <a:pt x="276923" y="955389"/>
                  </a:lnTo>
                  <a:lnTo>
                    <a:pt x="236959" y="932789"/>
                  </a:lnTo>
                  <a:lnTo>
                    <a:pt x="199360" y="906766"/>
                  </a:lnTo>
                  <a:lnTo>
                    <a:pt x="164338" y="877532"/>
                  </a:lnTo>
                  <a:lnTo>
                    <a:pt x="132104" y="845298"/>
                  </a:lnTo>
                  <a:lnTo>
                    <a:pt x="102870" y="810276"/>
                  </a:lnTo>
                  <a:lnTo>
                    <a:pt x="76847" y="772678"/>
                  </a:lnTo>
                  <a:lnTo>
                    <a:pt x="54248" y="732714"/>
                  </a:lnTo>
                  <a:lnTo>
                    <a:pt x="35283" y="690596"/>
                  </a:lnTo>
                  <a:lnTo>
                    <a:pt x="20164" y="646537"/>
                  </a:lnTo>
                  <a:lnTo>
                    <a:pt x="9102" y="600748"/>
                  </a:lnTo>
                  <a:lnTo>
                    <a:pt x="2310" y="553440"/>
                  </a:lnTo>
                  <a:lnTo>
                    <a:pt x="0" y="504825"/>
                  </a:lnTo>
                  <a:lnTo>
                    <a:pt x="2310" y="456207"/>
                  </a:lnTo>
                  <a:lnTo>
                    <a:pt x="9102" y="408897"/>
                  </a:lnTo>
                  <a:lnTo>
                    <a:pt x="20164" y="363106"/>
                  </a:lnTo>
                  <a:lnTo>
                    <a:pt x="35283" y="319045"/>
                  </a:lnTo>
                  <a:lnTo>
                    <a:pt x="54248" y="276927"/>
                  </a:lnTo>
                  <a:lnTo>
                    <a:pt x="76847" y="236962"/>
                  </a:lnTo>
                  <a:lnTo>
                    <a:pt x="102870" y="199363"/>
                  </a:lnTo>
                  <a:lnTo>
                    <a:pt x="132104" y="164340"/>
                  </a:lnTo>
                  <a:lnTo>
                    <a:pt x="164338" y="132105"/>
                  </a:lnTo>
                  <a:lnTo>
                    <a:pt x="199360" y="102871"/>
                  </a:lnTo>
                  <a:lnTo>
                    <a:pt x="236959" y="76848"/>
                  </a:lnTo>
                  <a:lnTo>
                    <a:pt x="276923" y="54248"/>
                  </a:lnTo>
                  <a:lnTo>
                    <a:pt x="319040" y="35283"/>
                  </a:lnTo>
                  <a:lnTo>
                    <a:pt x="363099" y="20164"/>
                  </a:lnTo>
                  <a:lnTo>
                    <a:pt x="408888" y="9102"/>
                  </a:lnTo>
                  <a:lnTo>
                    <a:pt x="456197" y="2310"/>
                  </a:lnTo>
                  <a:lnTo>
                    <a:pt x="504812" y="0"/>
                  </a:lnTo>
                  <a:lnTo>
                    <a:pt x="553431" y="2310"/>
                  </a:lnTo>
                  <a:lnTo>
                    <a:pt x="600743" y="9102"/>
                  </a:lnTo>
                  <a:lnTo>
                    <a:pt x="646535" y="20164"/>
                  </a:lnTo>
                  <a:lnTo>
                    <a:pt x="690596" y="35283"/>
                  </a:lnTo>
                  <a:lnTo>
                    <a:pt x="732715" y="54248"/>
                  </a:lnTo>
                  <a:lnTo>
                    <a:pt x="772680" y="76848"/>
                  </a:lnTo>
                  <a:lnTo>
                    <a:pt x="810279" y="102871"/>
                  </a:lnTo>
                  <a:lnTo>
                    <a:pt x="845302" y="132105"/>
                  </a:lnTo>
                  <a:lnTo>
                    <a:pt x="877535" y="164340"/>
                  </a:lnTo>
                  <a:lnTo>
                    <a:pt x="906769" y="199363"/>
                  </a:lnTo>
                  <a:lnTo>
                    <a:pt x="932791" y="236962"/>
                  </a:lnTo>
                  <a:lnTo>
                    <a:pt x="955391" y="276927"/>
                  </a:lnTo>
                  <a:lnTo>
                    <a:pt x="974355" y="319045"/>
                  </a:lnTo>
                  <a:lnTo>
                    <a:pt x="989474" y="363106"/>
                  </a:lnTo>
                  <a:lnTo>
                    <a:pt x="1000534" y="408897"/>
                  </a:lnTo>
                  <a:lnTo>
                    <a:pt x="1007326" y="456207"/>
                  </a:lnTo>
                  <a:lnTo>
                    <a:pt x="1009637" y="504825"/>
                  </a:lnTo>
                  <a:close/>
                </a:path>
              </a:pathLst>
            </a:custGeom>
            <a:solidFill>
              <a:schemeClr val="bg1"/>
            </a:solidFill>
            <a:ln w="12700">
              <a:solidFill>
                <a:srgbClr val="0046BA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3B3B3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80" name="object 47">
              <a:extLst>
                <a:ext uri="{FF2B5EF4-FFF2-40B4-BE49-F238E27FC236}">
                  <a16:creationId xmlns:a16="http://schemas.microsoft.com/office/drawing/2014/main" id="{E2331473-83A3-0640-821D-C2FF11C51AEE}"/>
                </a:ext>
              </a:extLst>
            </p:cNvPr>
            <p:cNvSpPr/>
            <p:nvPr userDrawn="1"/>
          </p:nvSpPr>
          <p:spPr>
            <a:xfrm>
              <a:off x="10939138" y="1509967"/>
              <a:ext cx="648000" cy="648000"/>
            </a:xfrm>
            <a:custGeom>
              <a:avLst/>
              <a:gdLst/>
              <a:ahLst/>
              <a:cxnLst/>
              <a:rect l="l" t="t" r="r" b="b"/>
              <a:pathLst>
                <a:path w="836294" h="836294">
                  <a:moveTo>
                    <a:pt x="417944" y="0"/>
                  </a:moveTo>
                  <a:lnTo>
                    <a:pt x="369203" y="2811"/>
                  </a:lnTo>
                  <a:lnTo>
                    <a:pt x="322114" y="11038"/>
                  </a:lnTo>
                  <a:lnTo>
                    <a:pt x="276989" y="24365"/>
                  </a:lnTo>
                  <a:lnTo>
                    <a:pt x="234143" y="42480"/>
                  </a:lnTo>
                  <a:lnTo>
                    <a:pt x="193890" y="65069"/>
                  </a:lnTo>
                  <a:lnTo>
                    <a:pt x="156542" y="91818"/>
                  </a:lnTo>
                  <a:lnTo>
                    <a:pt x="122413" y="122413"/>
                  </a:lnTo>
                  <a:lnTo>
                    <a:pt x="91818" y="156542"/>
                  </a:lnTo>
                  <a:lnTo>
                    <a:pt x="65069" y="193890"/>
                  </a:lnTo>
                  <a:lnTo>
                    <a:pt x="42480" y="234143"/>
                  </a:lnTo>
                  <a:lnTo>
                    <a:pt x="24365" y="276989"/>
                  </a:lnTo>
                  <a:lnTo>
                    <a:pt x="11038" y="322114"/>
                  </a:lnTo>
                  <a:lnTo>
                    <a:pt x="2811" y="369203"/>
                  </a:lnTo>
                  <a:lnTo>
                    <a:pt x="0" y="417944"/>
                  </a:lnTo>
                  <a:lnTo>
                    <a:pt x="2811" y="466685"/>
                  </a:lnTo>
                  <a:lnTo>
                    <a:pt x="11038" y="513774"/>
                  </a:lnTo>
                  <a:lnTo>
                    <a:pt x="24365" y="558898"/>
                  </a:lnTo>
                  <a:lnTo>
                    <a:pt x="42480" y="601744"/>
                  </a:lnTo>
                  <a:lnTo>
                    <a:pt x="65069" y="641998"/>
                  </a:lnTo>
                  <a:lnTo>
                    <a:pt x="91818" y="679346"/>
                  </a:lnTo>
                  <a:lnTo>
                    <a:pt x="122413" y="713474"/>
                  </a:lnTo>
                  <a:lnTo>
                    <a:pt x="156542" y="744070"/>
                  </a:lnTo>
                  <a:lnTo>
                    <a:pt x="193890" y="770819"/>
                  </a:lnTo>
                  <a:lnTo>
                    <a:pt x="234143" y="793407"/>
                  </a:lnTo>
                  <a:lnTo>
                    <a:pt x="276989" y="811522"/>
                  </a:lnTo>
                  <a:lnTo>
                    <a:pt x="322114" y="824850"/>
                  </a:lnTo>
                  <a:lnTo>
                    <a:pt x="369203" y="833076"/>
                  </a:lnTo>
                  <a:lnTo>
                    <a:pt x="417944" y="835888"/>
                  </a:lnTo>
                  <a:lnTo>
                    <a:pt x="466685" y="833076"/>
                  </a:lnTo>
                  <a:lnTo>
                    <a:pt x="513774" y="824850"/>
                  </a:lnTo>
                  <a:lnTo>
                    <a:pt x="558898" y="811522"/>
                  </a:lnTo>
                  <a:lnTo>
                    <a:pt x="601744" y="793407"/>
                  </a:lnTo>
                  <a:lnTo>
                    <a:pt x="641998" y="770819"/>
                  </a:lnTo>
                  <a:lnTo>
                    <a:pt x="679346" y="744070"/>
                  </a:lnTo>
                  <a:lnTo>
                    <a:pt x="713474" y="713474"/>
                  </a:lnTo>
                  <a:lnTo>
                    <a:pt x="744070" y="679346"/>
                  </a:lnTo>
                  <a:lnTo>
                    <a:pt x="770819" y="641998"/>
                  </a:lnTo>
                  <a:lnTo>
                    <a:pt x="793407" y="601744"/>
                  </a:lnTo>
                  <a:lnTo>
                    <a:pt x="811522" y="558898"/>
                  </a:lnTo>
                  <a:lnTo>
                    <a:pt x="824850" y="513774"/>
                  </a:lnTo>
                  <a:lnTo>
                    <a:pt x="833076" y="466685"/>
                  </a:lnTo>
                  <a:lnTo>
                    <a:pt x="835888" y="417944"/>
                  </a:lnTo>
                  <a:lnTo>
                    <a:pt x="833076" y="369203"/>
                  </a:lnTo>
                  <a:lnTo>
                    <a:pt x="824850" y="322114"/>
                  </a:lnTo>
                  <a:lnTo>
                    <a:pt x="811522" y="276989"/>
                  </a:lnTo>
                  <a:lnTo>
                    <a:pt x="793407" y="234143"/>
                  </a:lnTo>
                  <a:lnTo>
                    <a:pt x="770819" y="193890"/>
                  </a:lnTo>
                  <a:lnTo>
                    <a:pt x="744070" y="156542"/>
                  </a:lnTo>
                  <a:lnTo>
                    <a:pt x="713474" y="122413"/>
                  </a:lnTo>
                  <a:lnTo>
                    <a:pt x="679346" y="91818"/>
                  </a:lnTo>
                  <a:lnTo>
                    <a:pt x="641998" y="65069"/>
                  </a:lnTo>
                  <a:lnTo>
                    <a:pt x="601744" y="42480"/>
                  </a:lnTo>
                  <a:lnTo>
                    <a:pt x="558898" y="24365"/>
                  </a:lnTo>
                  <a:lnTo>
                    <a:pt x="513774" y="11038"/>
                  </a:lnTo>
                  <a:lnTo>
                    <a:pt x="466685" y="2811"/>
                  </a:lnTo>
                  <a:lnTo>
                    <a:pt x="417944" y="0"/>
                  </a:lnTo>
                  <a:close/>
                </a:path>
              </a:pathLst>
            </a:custGeom>
            <a:solidFill>
              <a:srgbClr val="EEDC00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srgbClr val="3B3B3A"/>
                </a:solidFill>
                <a:effectLst/>
                <a:uLnTx/>
                <a:uFillTx/>
                <a:latin typeface="Avenir Next LT Pro" panose="020B0504020202020204" pitchFamily="34" charset="77"/>
                <a:ea typeface="+mn-ea"/>
                <a:cs typeface="+mn-cs"/>
              </a:endParaRPr>
            </a:p>
          </p:txBody>
        </p:sp>
      </p:grpSp>
      <p:cxnSp>
        <p:nvCxnSpPr>
          <p:cNvPr id="81" name="Connettore 1 46">
            <a:extLst>
              <a:ext uri="{FF2B5EF4-FFF2-40B4-BE49-F238E27FC236}">
                <a16:creationId xmlns:a16="http://schemas.microsoft.com/office/drawing/2014/main" id="{2FA7C8DF-525A-C541-A3A7-6525EE0C879C}"/>
              </a:ext>
            </a:extLst>
          </p:cNvPr>
          <p:cNvCxnSpPr>
            <a:cxnSpLocks/>
          </p:cNvCxnSpPr>
          <p:nvPr/>
        </p:nvCxnSpPr>
        <p:spPr>
          <a:xfrm>
            <a:off x="6727582" y="1890788"/>
            <a:ext cx="4140000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Segnaposto titolo 1">
            <a:extLst>
              <a:ext uri="{FF2B5EF4-FFF2-40B4-BE49-F238E27FC236}">
                <a16:creationId xmlns:a16="http://schemas.microsoft.com/office/drawing/2014/main" id="{24ED688E-6689-2E42-A930-4E93667714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7394" y="504194"/>
            <a:ext cx="10515600" cy="725421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it-IT"/>
              <a:t>Fare clic per modificare lo stile del titolo dello schema</a:t>
            </a:r>
            <a:endParaRPr lang="it-IT" dirty="0"/>
          </a:p>
        </p:txBody>
      </p:sp>
      <p:sp>
        <p:nvSpPr>
          <p:cNvPr id="2" name="CasellaDiTesto 1">
            <a:extLst>
              <a:ext uri="{FF2B5EF4-FFF2-40B4-BE49-F238E27FC236}">
                <a16:creationId xmlns:a16="http://schemas.microsoft.com/office/drawing/2014/main" id="{2C6BBF28-3E40-3D9F-2667-9920B3FB12B1}"/>
              </a:ext>
            </a:extLst>
          </p:cNvPr>
          <p:cNvSpPr txBox="1"/>
          <p:nvPr userDrawn="1"/>
        </p:nvSpPr>
        <p:spPr>
          <a:xfrm>
            <a:off x="3916392" y="6623540"/>
            <a:ext cx="739499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it-IT" sz="800" i="1" dirty="0"/>
              <a:t>Documento ad uso esclusivamente interno, da intendersi come strettamente riservato; non è autorizzata la trasmissione ad altri e la divulgazione all’esterno.</a:t>
            </a:r>
            <a:endParaRPr lang="en-US" sz="800" i="1" dirty="0"/>
          </a:p>
        </p:txBody>
      </p:sp>
    </p:spTree>
    <p:extLst>
      <p:ext uri="{BB962C8B-B14F-4D97-AF65-F5344CB8AC3E}">
        <p14:creationId xmlns:p14="http://schemas.microsoft.com/office/powerpoint/2010/main" val="870093973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agina gereric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object 46">
            <a:extLst>
              <a:ext uri="{FF2B5EF4-FFF2-40B4-BE49-F238E27FC236}">
                <a16:creationId xmlns:a16="http://schemas.microsoft.com/office/drawing/2014/main" id="{99828EB8-DC33-4D2E-AB16-2B234973DAE2}"/>
              </a:ext>
            </a:extLst>
          </p:cNvPr>
          <p:cNvSpPr>
            <a:spLocks noChangeAspect="1"/>
          </p:cNvSpPr>
          <p:nvPr/>
        </p:nvSpPr>
        <p:spPr>
          <a:xfrm>
            <a:off x="633940" y="1509967"/>
            <a:ext cx="756000" cy="756000"/>
          </a:xfrm>
          <a:custGeom>
            <a:avLst/>
            <a:gdLst/>
            <a:ahLst/>
            <a:cxnLst/>
            <a:rect l="l" t="t" r="r" b="b"/>
            <a:pathLst>
              <a:path w="1009650" h="1009650">
                <a:moveTo>
                  <a:pt x="1009637" y="504825"/>
                </a:moveTo>
                <a:lnTo>
                  <a:pt x="1007326" y="553440"/>
                </a:lnTo>
                <a:lnTo>
                  <a:pt x="1000534" y="600748"/>
                </a:lnTo>
                <a:lnTo>
                  <a:pt x="989474" y="646537"/>
                </a:lnTo>
                <a:lnTo>
                  <a:pt x="974355" y="690596"/>
                </a:lnTo>
                <a:lnTo>
                  <a:pt x="955391" y="732714"/>
                </a:lnTo>
                <a:lnTo>
                  <a:pt x="932791" y="772678"/>
                </a:lnTo>
                <a:lnTo>
                  <a:pt x="906769" y="810276"/>
                </a:lnTo>
                <a:lnTo>
                  <a:pt x="877535" y="845298"/>
                </a:lnTo>
                <a:lnTo>
                  <a:pt x="845302" y="877532"/>
                </a:lnTo>
                <a:lnTo>
                  <a:pt x="810279" y="906766"/>
                </a:lnTo>
                <a:lnTo>
                  <a:pt x="772680" y="932789"/>
                </a:lnTo>
                <a:lnTo>
                  <a:pt x="732715" y="955389"/>
                </a:lnTo>
                <a:lnTo>
                  <a:pt x="690596" y="974354"/>
                </a:lnTo>
                <a:lnTo>
                  <a:pt x="646535" y="989473"/>
                </a:lnTo>
                <a:lnTo>
                  <a:pt x="600743" y="1000534"/>
                </a:lnTo>
                <a:lnTo>
                  <a:pt x="553431" y="1007326"/>
                </a:lnTo>
                <a:lnTo>
                  <a:pt x="504812" y="1009637"/>
                </a:lnTo>
                <a:lnTo>
                  <a:pt x="456197" y="1007326"/>
                </a:lnTo>
                <a:lnTo>
                  <a:pt x="408888" y="1000534"/>
                </a:lnTo>
                <a:lnTo>
                  <a:pt x="363099" y="989473"/>
                </a:lnTo>
                <a:lnTo>
                  <a:pt x="319040" y="974354"/>
                </a:lnTo>
                <a:lnTo>
                  <a:pt x="276923" y="955389"/>
                </a:lnTo>
                <a:lnTo>
                  <a:pt x="236959" y="932789"/>
                </a:lnTo>
                <a:lnTo>
                  <a:pt x="199360" y="906766"/>
                </a:lnTo>
                <a:lnTo>
                  <a:pt x="164338" y="877532"/>
                </a:lnTo>
                <a:lnTo>
                  <a:pt x="132104" y="845298"/>
                </a:lnTo>
                <a:lnTo>
                  <a:pt x="102870" y="810276"/>
                </a:lnTo>
                <a:lnTo>
                  <a:pt x="76847" y="772678"/>
                </a:lnTo>
                <a:lnTo>
                  <a:pt x="54248" y="732714"/>
                </a:lnTo>
                <a:lnTo>
                  <a:pt x="35283" y="690596"/>
                </a:lnTo>
                <a:lnTo>
                  <a:pt x="20164" y="646537"/>
                </a:lnTo>
                <a:lnTo>
                  <a:pt x="9102" y="600748"/>
                </a:lnTo>
                <a:lnTo>
                  <a:pt x="2310" y="553440"/>
                </a:lnTo>
                <a:lnTo>
                  <a:pt x="0" y="504825"/>
                </a:lnTo>
                <a:lnTo>
                  <a:pt x="2310" y="456207"/>
                </a:lnTo>
                <a:lnTo>
                  <a:pt x="9102" y="408897"/>
                </a:lnTo>
                <a:lnTo>
                  <a:pt x="20164" y="363106"/>
                </a:lnTo>
                <a:lnTo>
                  <a:pt x="35283" y="319045"/>
                </a:lnTo>
                <a:lnTo>
                  <a:pt x="54248" y="276927"/>
                </a:lnTo>
                <a:lnTo>
                  <a:pt x="76847" y="236962"/>
                </a:lnTo>
                <a:lnTo>
                  <a:pt x="102870" y="199363"/>
                </a:lnTo>
                <a:lnTo>
                  <a:pt x="132104" y="164340"/>
                </a:lnTo>
                <a:lnTo>
                  <a:pt x="164338" y="132105"/>
                </a:lnTo>
                <a:lnTo>
                  <a:pt x="199360" y="102871"/>
                </a:lnTo>
                <a:lnTo>
                  <a:pt x="236959" y="76848"/>
                </a:lnTo>
                <a:lnTo>
                  <a:pt x="276923" y="54248"/>
                </a:lnTo>
                <a:lnTo>
                  <a:pt x="319040" y="35283"/>
                </a:lnTo>
                <a:lnTo>
                  <a:pt x="363099" y="20164"/>
                </a:lnTo>
                <a:lnTo>
                  <a:pt x="408888" y="9102"/>
                </a:lnTo>
                <a:lnTo>
                  <a:pt x="456197" y="2310"/>
                </a:lnTo>
                <a:lnTo>
                  <a:pt x="504812" y="0"/>
                </a:lnTo>
                <a:lnTo>
                  <a:pt x="553431" y="2310"/>
                </a:lnTo>
                <a:lnTo>
                  <a:pt x="600743" y="9102"/>
                </a:lnTo>
                <a:lnTo>
                  <a:pt x="646535" y="20164"/>
                </a:lnTo>
                <a:lnTo>
                  <a:pt x="690596" y="35283"/>
                </a:lnTo>
                <a:lnTo>
                  <a:pt x="732715" y="54248"/>
                </a:lnTo>
                <a:lnTo>
                  <a:pt x="772680" y="76848"/>
                </a:lnTo>
                <a:lnTo>
                  <a:pt x="810279" y="102871"/>
                </a:lnTo>
                <a:lnTo>
                  <a:pt x="845302" y="132105"/>
                </a:lnTo>
                <a:lnTo>
                  <a:pt x="877535" y="164340"/>
                </a:lnTo>
                <a:lnTo>
                  <a:pt x="906769" y="199363"/>
                </a:lnTo>
                <a:lnTo>
                  <a:pt x="932791" y="236962"/>
                </a:lnTo>
                <a:lnTo>
                  <a:pt x="955391" y="276927"/>
                </a:lnTo>
                <a:lnTo>
                  <a:pt x="974355" y="319045"/>
                </a:lnTo>
                <a:lnTo>
                  <a:pt x="989474" y="363106"/>
                </a:lnTo>
                <a:lnTo>
                  <a:pt x="1000534" y="408897"/>
                </a:lnTo>
                <a:lnTo>
                  <a:pt x="1007326" y="456207"/>
                </a:lnTo>
                <a:lnTo>
                  <a:pt x="1009637" y="504825"/>
                </a:lnTo>
                <a:close/>
              </a:path>
            </a:pathLst>
          </a:custGeom>
          <a:solidFill>
            <a:schemeClr val="bg1"/>
          </a:solidFill>
          <a:ln w="12700">
            <a:solidFill>
              <a:srgbClr val="0046BA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3B3B3A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7" name="bg object 16">
            <a:extLst>
              <a:ext uri="{FF2B5EF4-FFF2-40B4-BE49-F238E27FC236}">
                <a16:creationId xmlns:a16="http://schemas.microsoft.com/office/drawing/2014/main" id="{BCFAEBF8-790C-A54A-9E47-3E3639BCC461}"/>
              </a:ext>
            </a:extLst>
          </p:cNvPr>
          <p:cNvSpPr/>
          <p:nvPr/>
        </p:nvSpPr>
        <p:spPr>
          <a:xfrm>
            <a:off x="11330381" y="6448615"/>
            <a:ext cx="311785" cy="410845"/>
          </a:xfrm>
          <a:custGeom>
            <a:avLst/>
            <a:gdLst/>
            <a:ahLst/>
            <a:cxnLst/>
            <a:rect l="l" t="t" r="r" b="b"/>
            <a:pathLst>
              <a:path w="311784" h="410845">
                <a:moveTo>
                  <a:pt x="311645" y="0"/>
                </a:moveTo>
                <a:lnTo>
                  <a:pt x="0" y="0"/>
                </a:lnTo>
                <a:lnTo>
                  <a:pt x="0" y="410438"/>
                </a:lnTo>
                <a:lnTo>
                  <a:pt x="311645" y="410438"/>
                </a:lnTo>
                <a:lnTo>
                  <a:pt x="311645" y="0"/>
                </a:lnTo>
                <a:close/>
              </a:path>
            </a:pathLst>
          </a:custGeom>
          <a:solidFill>
            <a:srgbClr val="0047B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" name="Holder 7">
            <a:extLst>
              <a:ext uri="{FF2B5EF4-FFF2-40B4-BE49-F238E27FC236}">
                <a16:creationId xmlns:a16="http://schemas.microsoft.com/office/drawing/2014/main" id="{EADEFA5D-780C-4841-8968-F8DA8FB77458}"/>
              </a:ext>
            </a:extLst>
          </p:cNvPr>
          <p:cNvSpPr txBox="1">
            <a:spLocks/>
          </p:cNvSpPr>
          <p:nvPr/>
        </p:nvSpPr>
        <p:spPr>
          <a:xfrm>
            <a:off x="11342726" y="6520516"/>
            <a:ext cx="256044" cy="16158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it-IT"/>
            </a:defPPr>
            <a:lvl1pPr marL="0" algn="l" defTabSz="914400" rtl="0" eaLnBrk="1" latinLnBrk="0" hangingPunct="1">
              <a:defRPr sz="850" b="1" i="0" kern="1200">
                <a:solidFill>
                  <a:schemeClr val="bg1"/>
                </a:solidFill>
                <a:latin typeface="Verdana"/>
                <a:ea typeface="+mn-ea"/>
                <a:cs typeface="Verdana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8100" algn="ctr">
              <a:spcBef>
                <a:spcPts val="105"/>
              </a:spcBef>
            </a:pPr>
            <a:fld id="{81D60167-4931-47E6-BA6A-407CBD079E47}" type="slidenum">
              <a:rPr lang="it-IT" sz="1050" b="0" i="0" spc="5" smtClean="0">
                <a:latin typeface="Avenir Next LT Pro" pitchFamily="2" charset="0"/>
              </a:rPr>
              <a:pPr marL="38100" algn="ctr">
                <a:spcBef>
                  <a:spcPts val="105"/>
                </a:spcBef>
              </a:pPr>
              <a:t>‹N›</a:t>
            </a:fld>
            <a:endParaRPr lang="it-IT" sz="1050" b="0" i="0" spc="5" dirty="0">
              <a:latin typeface="Avenir Next LT Pro" pitchFamily="2" charset="0"/>
            </a:endParaRPr>
          </a:p>
        </p:txBody>
      </p:sp>
      <p:sp>
        <p:nvSpPr>
          <p:cNvPr id="6" name="Triangolo isoscele 16">
            <a:extLst>
              <a:ext uri="{FF2B5EF4-FFF2-40B4-BE49-F238E27FC236}">
                <a16:creationId xmlns:a16="http://schemas.microsoft.com/office/drawing/2014/main" id="{8A368720-335F-0F45-860A-0606EE42684C}"/>
              </a:ext>
            </a:extLst>
          </p:cNvPr>
          <p:cNvSpPr/>
          <p:nvPr/>
        </p:nvSpPr>
        <p:spPr>
          <a:xfrm rot="10800000">
            <a:off x="303127" y="-324737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7" name="Triangolo isoscele 17">
            <a:extLst>
              <a:ext uri="{FF2B5EF4-FFF2-40B4-BE49-F238E27FC236}">
                <a16:creationId xmlns:a16="http://schemas.microsoft.com/office/drawing/2014/main" id="{E2772AA6-60C9-0B42-835F-13797EE9ED3C}"/>
              </a:ext>
            </a:extLst>
          </p:cNvPr>
          <p:cNvSpPr/>
          <p:nvPr/>
        </p:nvSpPr>
        <p:spPr>
          <a:xfrm rot="10800000">
            <a:off x="11756536" y="-324737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8" name="Triangolo isoscele 18">
            <a:extLst>
              <a:ext uri="{FF2B5EF4-FFF2-40B4-BE49-F238E27FC236}">
                <a16:creationId xmlns:a16="http://schemas.microsoft.com/office/drawing/2014/main" id="{C7BF371F-A6F2-FD41-82B8-D9B554CACAF1}"/>
              </a:ext>
            </a:extLst>
          </p:cNvPr>
          <p:cNvSpPr/>
          <p:nvPr/>
        </p:nvSpPr>
        <p:spPr>
          <a:xfrm>
            <a:off x="303127" y="6950754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9" name="Triangolo isoscele 19">
            <a:extLst>
              <a:ext uri="{FF2B5EF4-FFF2-40B4-BE49-F238E27FC236}">
                <a16:creationId xmlns:a16="http://schemas.microsoft.com/office/drawing/2014/main" id="{FCEF8EFB-88B6-D747-9382-15136CFCC56E}"/>
              </a:ext>
            </a:extLst>
          </p:cNvPr>
          <p:cNvSpPr/>
          <p:nvPr/>
        </p:nvSpPr>
        <p:spPr>
          <a:xfrm>
            <a:off x="11756536" y="6950754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10" name="Triangolo isoscele 20">
            <a:extLst>
              <a:ext uri="{FF2B5EF4-FFF2-40B4-BE49-F238E27FC236}">
                <a16:creationId xmlns:a16="http://schemas.microsoft.com/office/drawing/2014/main" id="{47007676-0BFD-5F42-846B-AA823A1BFA60}"/>
              </a:ext>
            </a:extLst>
          </p:cNvPr>
          <p:cNvSpPr/>
          <p:nvPr/>
        </p:nvSpPr>
        <p:spPr>
          <a:xfrm rot="5400000">
            <a:off x="-276040" y="885372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11" name="Triangolo isoscele 21">
            <a:extLst>
              <a:ext uri="{FF2B5EF4-FFF2-40B4-BE49-F238E27FC236}">
                <a16:creationId xmlns:a16="http://schemas.microsoft.com/office/drawing/2014/main" id="{9F8B8967-D8B7-EF40-A160-9FD75894783B}"/>
              </a:ext>
            </a:extLst>
          </p:cNvPr>
          <p:cNvSpPr/>
          <p:nvPr/>
        </p:nvSpPr>
        <p:spPr>
          <a:xfrm rot="5400000">
            <a:off x="-276039" y="5982836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12" name="Triangolo isoscele 22">
            <a:extLst>
              <a:ext uri="{FF2B5EF4-FFF2-40B4-BE49-F238E27FC236}">
                <a16:creationId xmlns:a16="http://schemas.microsoft.com/office/drawing/2014/main" id="{58B46DE6-6338-7140-8CA8-25EC1DE4AEB7}"/>
              </a:ext>
            </a:extLst>
          </p:cNvPr>
          <p:cNvSpPr/>
          <p:nvPr/>
        </p:nvSpPr>
        <p:spPr>
          <a:xfrm rot="16200000">
            <a:off x="12331119" y="885372"/>
            <a:ext cx="132336" cy="261257"/>
          </a:xfrm>
          <a:prstGeom prst="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13" name="Triangolo isoscele 23">
            <a:extLst>
              <a:ext uri="{FF2B5EF4-FFF2-40B4-BE49-F238E27FC236}">
                <a16:creationId xmlns:a16="http://schemas.microsoft.com/office/drawing/2014/main" id="{BA951F18-3E6B-F245-B833-D4E6A22CAE34}"/>
              </a:ext>
            </a:extLst>
          </p:cNvPr>
          <p:cNvSpPr/>
          <p:nvPr/>
        </p:nvSpPr>
        <p:spPr>
          <a:xfrm rot="16200000">
            <a:off x="12331120" y="5982836"/>
            <a:ext cx="132336" cy="261257"/>
          </a:xfrm>
          <a:prstGeom prst="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14" name="Triangolo isoscele 31">
            <a:extLst>
              <a:ext uri="{FF2B5EF4-FFF2-40B4-BE49-F238E27FC236}">
                <a16:creationId xmlns:a16="http://schemas.microsoft.com/office/drawing/2014/main" id="{07246241-C678-DB48-84D0-2C7143C6A157}"/>
              </a:ext>
            </a:extLst>
          </p:cNvPr>
          <p:cNvSpPr/>
          <p:nvPr/>
        </p:nvSpPr>
        <p:spPr>
          <a:xfrm rot="10800000">
            <a:off x="303127" y="-324737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15" name="Triangolo isoscele 32">
            <a:extLst>
              <a:ext uri="{FF2B5EF4-FFF2-40B4-BE49-F238E27FC236}">
                <a16:creationId xmlns:a16="http://schemas.microsoft.com/office/drawing/2014/main" id="{A3BC8E3A-7E5D-BE49-8DBD-35856251134F}"/>
              </a:ext>
            </a:extLst>
          </p:cNvPr>
          <p:cNvSpPr/>
          <p:nvPr/>
        </p:nvSpPr>
        <p:spPr>
          <a:xfrm rot="10800000">
            <a:off x="11756536" y="-324737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16" name="Triangolo isoscele 33">
            <a:extLst>
              <a:ext uri="{FF2B5EF4-FFF2-40B4-BE49-F238E27FC236}">
                <a16:creationId xmlns:a16="http://schemas.microsoft.com/office/drawing/2014/main" id="{E9B5EA53-1DC4-1940-8594-3256ADD5AE0C}"/>
              </a:ext>
            </a:extLst>
          </p:cNvPr>
          <p:cNvSpPr/>
          <p:nvPr/>
        </p:nvSpPr>
        <p:spPr>
          <a:xfrm>
            <a:off x="303127" y="6950754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21" name="Triangolo isoscele 34">
            <a:extLst>
              <a:ext uri="{FF2B5EF4-FFF2-40B4-BE49-F238E27FC236}">
                <a16:creationId xmlns:a16="http://schemas.microsoft.com/office/drawing/2014/main" id="{749E0E17-FFD8-164C-B560-1DFF3FBB41DF}"/>
              </a:ext>
            </a:extLst>
          </p:cNvPr>
          <p:cNvSpPr/>
          <p:nvPr/>
        </p:nvSpPr>
        <p:spPr>
          <a:xfrm>
            <a:off x="11756536" y="6950754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22" name="Triangolo isoscele 35">
            <a:extLst>
              <a:ext uri="{FF2B5EF4-FFF2-40B4-BE49-F238E27FC236}">
                <a16:creationId xmlns:a16="http://schemas.microsoft.com/office/drawing/2014/main" id="{2449D32D-31E9-1E41-8135-CF757AF1ADCB}"/>
              </a:ext>
            </a:extLst>
          </p:cNvPr>
          <p:cNvSpPr/>
          <p:nvPr/>
        </p:nvSpPr>
        <p:spPr>
          <a:xfrm rot="5400000">
            <a:off x="-276040" y="885372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23" name="Triangolo isoscele 36">
            <a:extLst>
              <a:ext uri="{FF2B5EF4-FFF2-40B4-BE49-F238E27FC236}">
                <a16:creationId xmlns:a16="http://schemas.microsoft.com/office/drawing/2014/main" id="{92505FB0-1068-1143-AB9B-F5A849D826DE}"/>
              </a:ext>
            </a:extLst>
          </p:cNvPr>
          <p:cNvSpPr/>
          <p:nvPr/>
        </p:nvSpPr>
        <p:spPr>
          <a:xfrm rot="5400000">
            <a:off x="-276039" y="5982836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24" name="Triangolo isoscele 37">
            <a:extLst>
              <a:ext uri="{FF2B5EF4-FFF2-40B4-BE49-F238E27FC236}">
                <a16:creationId xmlns:a16="http://schemas.microsoft.com/office/drawing/2014/main" id="{D60FCBF0-3D48-CF40-ABA6-F53B703D88CA}"/>
              </a:ext>
            </a:extLst>
          </p:cNvPr>
          <p:cNvSpPr/>
          <p:nvPr/>
        </p:nvSpPr>
        <p:spPr>
          <a:xfrm rot="16200000">
            <a:off x="12331119" y="885372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25" name="Triangolo isoscele 38">
            <a:extLst>
              <a:ext uri="{FF2B5EF4-FFF2-40B4-BE49-F238E27FC236}">
                <a16:creationId xmlns:a16="http://schemas.microsoft.com/office/drawing/2014/main" id="{95E14022-E59F-9F4C-998B-8575096AA6A0}"/>
              </a:ext>
            </a:extLst>
          </p:cNvPr>
          <p:cNvSpPr/>
          <p:nvPr/>
        </p:nvSpPr>
        <p:spPr>
          <a:xfrm rot="16200000">
            <a:off x="12331120" y="5982836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pic>
        <p:nvPicPr>
          <p:cNvPr id="36" name="Elemento grafico 35">
            <a:extLst>
              <a:ext uri="{FF2B5EF4-FFF2-40B4-BE49-F238E27FC236}">
                <a16:creationId xmlns:a16="http://schemas.microsoft.com/office/drawing/2014/main" id="{9531B5A1-7BA2-E141-B54D-FEC62D4B762E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081892" y="-5080"/>
            <a:ext cx="1560273" cy="309880"/>
          </a:xfrm>
          <a:prstGeom prst="rect">
            <a:avLst/>
          </a:prstGeom>
        </p:spPr>
      </p:pic>
      <p:sp>
        <p:nvSpPr>
          <p:cNvPr id="37" name="object 267">
            <a:extLst>
              <a:ext uri="{FF2B5EF4-FFF2-40B4-BE49-F238E27FC236}">
                <a16:creationId xmlns:a16="http://schemas.microsoft.com/office/drawing/2014/main" id="{1A701277-6B82-924C-9434-545B7977906E}"/>
              </a:ext>
            </a:extLst>
          </p:cNvPr>
          <p:cNvSpPr/>
          <p:nvPr/>
        </p:nvSpPr>
        <p:spPr>
          <a:xfrm>
            <a:off x="0" y="1251482"/>
            <a:ext cx="675518" cy="45719"/>
          </a:xfrm>
          <a:custGeom>
            <a:avLst/>
            <a:gdLst/>
            <a:ahLst/>
            <a:cxnLst/>
            <a:rect l="l" t="t" r="r" b="b"/>
            <a:pathLst>
              <a:path w="657225">
                <a:moveTo>
                  <a:pt x="0" y="0"/>
                </a:moveTo>
                <a:lnTo>
                  <a:pt x="656678" y="0"/>
                </a:lnTo>
              </a:path>
            </a:pathLst>
          </a:custGeom>
          <a:ln w="76200">
            <a:solidFill>
              <a:srgbClr val="EEDC00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JhengHei UI Light" panose="020B0304030504040204" pitchFamily="34" charset="-120"/>
              <a:ea typeface="Microsoft JhengHei UI Light" panose="020B0304030504040204" pitchFamily="34" charset="-120"/>
              <a:cs typeface="+mn-cs"/>
            </a:endParaRPr>
          </a:p>
        </p:txBody>
      </p:sp>
      <p:sp>
        <p:nvSpPr>
          <p:cNvPr id="34" name="Segnaposto testo 2">
            <a:extLst>
              <a:ext uri="{FF2B5EF4-FFF2-40B4-BE49-F238E27FC236}">
                <a16:creationId xmlns:a16="http://schemas.microsoft.com/office/drawing/2014/main" id="{1B74C236-B652-4041-99ED-254A64385C7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49834" y="503037"/>
            <a:ext cx="10412412" cy="655637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 b="0" i="0">
                <a:solidFill>
                  <a:srgbClr val="0047BB"/>
                </a:solidFill>
                <a:latin typeface="Avenir Next LT Pro" panose="020B0504020202020204" pitchFamily="34" charset="77"/>
              </a:defRPr>
            </a:lvl1pPr>
            <a:lvl2pPr marL="457200" indent="0">
              <a:buNone/>
              <a:defRPr sz="4000" b="0" i="0">
                <a:latin typeface="Avenir Next LT Pro" panose="020B0504020202020204" pitchFamily="34" charset="77"/>
              </a:defRPr>
            </a:lvl2pPr>
            <a:lvl3pPr marL="914400" indent="0">
              <a:buNone/>
              <a:defRPr sz="4000" b="0" i="0">
                <a:latin typeface="Avenir Next LT Pro" panose="020B0504020202020204" pitchFamily="34" charset="77"/>
              </a:defRPr>
            </a:lvl3pPr>
            <a:lvl4pPr marL="1371600" indent="0">
              <a:buNone/>
              <a:defRPr sz="4000" b="0" i="0">
                <a:latin typeface="Avenir Next LT Pro" panose="020B0504020202020204" pitchFamily="34" charset="77"/>
              </a:defRPr>
            </a:lvl4pPr>
            <a:lvl5pPr marL="1828800" indent="0">
              <a:buNone/>
              <a:defRPr sz="4000" b="0" i="0">
                <a:latin typeface="Avenir Next LT Pro" panose="020B0504020202020204" pitchFamily="34" charset="77"/>
              </a:defRPr>
            </a:lvl5pPr>
          </a:lstStyle>
          <a:p>
            <a:pPr lvl="0"/>
            <a:r>
              <a:rPr lang="it-IT" dirty="0"/>
              <a:t>FARE CLIC PER MODIFICARE TITOLO DIAPOSITIVA</a:t>
            </a:r>
          </a:p>
        </p:txBody>
      </p:sp>
      <p:sp>
        <p:nvSpPr>
          <p:cNvPr id="40" name="Segnaposto testo 4">
            <a:extLst>
              <a:ext uri="{FF2B5EF4-FFF2-40B4-BE49-F238E27FC236}">
                <a16:creationId xmlns:a16="http://schemas.microsoft.com/office/drawing/2014/main" id="{597E06C8-CAFB-E24B-A154-8EA093E0C54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49834" y="5917932"/>
            <a:ext cx="9402763" cy="573088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900" b="0" i="0">
                <a:latin typeface="Avenir Next LT Pro" panose="020B0504020202020204" pitchFamily="34" charset="77"/>
              </a:defRPr>
            </a:lvl1pPr>
            <a:lvl2pPr marL="457200" indent="0">
              <a:buNone/>
              <a:defRPr sz="900" b="0" i="0">
                <a:latin typeface="Avenir Next LT Pro" panose="020B0504020202020204" pitchFamily="34" charset="77"/>
              </a:defRPr>
            </a:lvl2pPr>
            <a:lvl3pPr marL="914400" indent="0">
              <a:buNone/>
              <a:defRPr sz="900" b="0" i="0">
                <a:latin typeface="Avenir Next LT Pro" panose="020B0504020202020204" pitchFamily="34" charset="77"/>
              </a:defRPr>
            </a:lvl3pPr>
            <a:lvl4pPr marL="1371600" indent="0">
              <a:buNone/>
              <a:defRPr sz="900" b="0" i="0">
                <a:latin typeface="Avenir Next LT Pro" panose="020B0504020202020204" pitchFamily="34" charset="77"/>
              </a:defRPr>
            </a:lvl4pPr>
            <a:lvl5pPr marL="1828800" indent="0">
              <a:buNone/>
              <a:defRPr sz="900" b="0" i="0">
                <a:latin typeface="Avenir Next LT Pro" panose="020B0504020202020204" pitchFamily="34" charset="77"/>
              </a:defRPr>
            </a:lvl5pPr>
          </a:lstStyle>
          <a:p>
            <a:pPr lvl="0"/>
            <a:r>
              <a:rPr lang="it-IT" dirty="0"/>
              <a:t>1. Fare clic per modificare le note 2. Fare clic per modificare le note 3. Fare clic per modificare le note </a:t>
            </a:r>
          </a:p>
        </p:txBody>
      </p:sp>
      <p:sp>
        <p:nvSpPr>
          <p:cNvPr id="46" name="object 47">
            <a:extLst>
              <a:ext uri="{FF2B5EF4-FFF2-40B4-BE49-F238E27FC236}">
                <a16:creationId xmlns:a16="http://schemas.microsoft.com/office/drawing/2014/main" id="{C3CCE1DA-2BD5-CD45-8599-38CE991939DC}"/>
              </a:ext>
            </a:extLst>
          </p:cNvPr>
          <p:cNvSpPr/>
          <p:nvPr/>
        </p:nvSpPr>
        <p:spPr>
          <a:xfrm>
            <a:off x="687940" y="1563967"/>
            <a:ext cx="648000" cy="648000"/>
          </a:xfrm>
          <a:custGeom>
            <a:avLst/>
            <a:gdLst/>
            <a:ahLst/>
            <a:cxnLst/>
            <a:rect l="l" t="t" r="r" b="b"/>
            <a:pathLst>
              <a:path w="836294" h="836294">
                <a:moveTo>
                  <a:pt x="417944" y="0"/>
                </a:moveTo>
                <a:lnTo>
                  <a:pt x="369203" y="2811"/>
                </a:lnTo>
                <a:lnTo>
                  <a:pt x="322114" y="11038"/>
                </a:lnTo>
                <a:lnTo>
                  <a:pt x="276989" y="24365"/>
                </a:lnTo>
                <a:lnTo>
                  <a:pt x="234143" y="42480"/>
                </a:lnTo>
                <a:lnTo>
                  <a:pt x="193890" y="65069"/>
                </a:lnTo>
                <a:lnTo>
                  <a:pt x="156542" y="91818"/>
                </a:lnTo>
                <a:lnTo>
                  <a:pt x="122413" y="122413"/>
                </a:lnTo>
                <a:lnTo>
                  <a:pt x="91818" y="156542"/>
                </a:lnTo>
                <a:lnTo>
                  <a:pt x="65069" y="193890"/>
                </a:lnTo>
                <a:lnTo>
                  <a:pt x="42480" y="234143"/>
                </a:lnTo>
                <a:lnTo>
                  <a:pt x="24365" y="276989"/>
                </a:lnTo>
                <a:lnTo>
                  <a:pt x="11038" y="322114"/>
                </a:lnTo>
                <a:lnTo>
                  <a:pt x="2811" y="369203"/>
                </a:lnTo>
                <a:lnTo>
                  <a:pt x="0" y="417944"/>
                </a:lnTo>
                <a:lnTo>
                  <a:pt x="2811" y="466685"/>
                </a:lnTo>
                <a:lnTo>
                  <a:pt x="11038" y="513774"/>
                </a:lnTo>
                <a:lnTo>
                  <a:pt x="24365" y="558898"/>
                </a:lnTo>
                <a:lnTo>
                  <a:pt x="42480" y="601744"/>
                </a:lnTo>
                <a:lnTo>
                  <a:pt x="65069" y="641998"/>
                </a:lnTo>
                <a:lnTo>
                  <a:pt x="91818" y="679346"/>
                </a:lnTo>
                <a:lnTo>
                  <a:pt x="122413" y="713474"/>
                </a:lnTo>
                <a:lnTo>
                  <a:pt x="156542" y="744070"/>
                </a:lnTo>
                <a:lnTo>
                  <a:pt x="193890" y="770819"/>
                </a:lnTo>
                <a:lnTo>
                  <a:pt x="234143" y="793407"/>
                </a:lnTo>
                <a:lnTo>
                  <a:pt x="276989" y="811522"/>
                </a:lnTo>
                <a:lnTo>
                  <a:pt x="322114" y="824850"/>
                </a:lnTo>
                <a:lnTo>
                  <a:pt x="369203" y="833076"/>
                </a:lnTo>
                <a:lnTo>
                  <a:pt x="417944" y="835888"/>
                </a:lnTo>
                <a:lnTo>
                  <a:pt x="466685" y="833076"/>
                </a:lnTo>
                <a:lnTo>
                  <a:pt x="513774" y="824850"/>
                </a:lnTo>
                <a:lnTo>
                  <a:pt x="558898" y="811522"/>
                </a:lnTo>
                <a:lnTo>
                  <a:pt x="601744" y="793407"/>
                </a:lnTo>
                <a:lnTo>
                  <a:pt x="641998" y="770819"/>
                </a:lnTo>
                <a:lnTo>
                  <a:pt x="679346" y="744070"/>
                </a:lnTo>
                <a:lnTo>
                  <a:pt x="713474" y="713474"/>
                </a:lnTo>
                <a:lnTo>
                  <a:pt x="744070" y="679346"/>
                </a:lnTo>
                <a:lnTo>
                  <a:pt x="770819" y="641998"/>
                </a:lnTo>
                <a:lnTo>
                  <a:pt x="793407" y="601744"/>
                </a:lnTo>
                <a:lnTo>
                  <a:pt x="811522" y="558898"/>
                </a:lnTo>
                <a:lnTo>
                  <a:pt x="824850" y="513774"/>
                </a:lnTo>
                <a:lnTo>
                  <a:pt x="833076" y="466685"/>
                </a:lnTo>
                <a:lnTo>
                  <a:pt x="835888" y="417944"/>
                </a:lnTo>
                <a:lnTo>
                  <a:pt x="833076" y="369203"/>
                </a:lnTo>
                <a:lnTo>
                  <a:pt x="824850" y="322114"/>
                </a:lnTo>
                <a:lnTo>
                  <a:pt x="811522" y="276989"/>
                </a:lnTo>
                <a:lnTo>
                  <a:pt x="793407" y="234143"/>
                </a:lnTo>
                <a:lnTo>
                  <a:pt x="770819" y="193890"/>
                </a:lnTo>
                <a:lnTo>
                  <a:pt x="744070" y="156542"/>
                </a:lnTo>
                <a:lnTo>
                  <a:pt x="713474" y="122413"/>
                </a:lnTo>
                <a:lnTo>
                  <a:pt x="679346" y="91818"/>
                </a:lnTo>
                <a:lnTo>
                  <a:pt x="641998" y="65069"/>
                </a:lnTo>
                <a:lnTo>
                  <a:pt x="601744" y="42480"/>
                </a:lnTo>
                <a:lnTo>
                  <a:pt x="558898" y="24365"/>
                </a:lnTo>
                <a:lnTo>
                  <a:pt x="513774" y="11038"/>
                </a:lnTo>
                <a:lnTo>
                  <a:pt x="466685" y="2811"/>
                </a:lnTo>
                <a:lnTo>
                  <a:pt x="417944" y="0"/>
                </a:lnTo>
                <a:close/>
              </a:path>
            </a:pathLst>
          </a:custGeom>
          <a:solidFill>
            <a:srgbClr val="EEDC00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 dirty="0">
              <a:ln>
                <a:noFill/>
              </a:ln>
              <a:solidFill>
                <a:srgbClr val="3B3B3A"/>
              </a:solidFill>
              <a:effectLst/>
              <a:uLnTx/>
              <a:uFillTx/>
              <a:latin typeface="Avenir Next LT Pro" panose="020B0504020202020204" pitchFamily="34" charset="77"/>
              <a:ea typeface="+mn-ea"/>
              <a:cs typeface="+mn-cs"/>
            </a:endParaRPr>
          </a:p>
        </p:txBody>
      </p:sp>
      <p:cxnSp>
        <p:nvCxnSpPr>
          <p:cNvPr id="47" name="Connettore 1 46">
            <a:extLst>
              <a:ext uri="{FF2B5EF4-FFF2-40B4-BE49-F238E27FC236}">
                <a16:creationId xmlns:a16="http://schemas.microsoft.com/office/drawing/2014/main" id="{8ACC0B90-D656-7048-A22A-3D311E85915D}"/>
              </a:ext>
            </a:extLst>
          </p:cNvPr>
          <p:cNvCxnSpPr>
            <a:cxnSpLocks/>
          </p:cNvCxnSpPr>
          <p:nvPr/>
        </p:nvCxnSpPr>
        <p:spPr>
          <a:xfrm>
            <a:off x="1395006" y="1889852"/>
            <a:ext cx="4140000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Segnaposto testo 46">
            <a:extLst>
              <a:ext uri="{FF2B5EF4-FFF2-40B4-BE49-F238E27FC236}">
                <a16:creationId xmlns:a16="http://schemas.microsoft.com/office/drawing/2014/main" id="{8B1C0130-E9DC-A44D-BFC9-0D4850CB3EB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457281" y="1158675"/>
            <a:ext cx="4077725" cy="746498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 b="0" i="0">
                <a:solidFill>
                  <a:srgbClr val="0047BB"/>
                </a:solidFill>
                <a:latin typeface="Avenir Next LT Pro" panose="020B0504020202020204" pitchFamily="34" charset="77"/>
              </a:defRPr>
            </a:lvl1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4" name="Segnaposto contenuto 3">
            <a:extLst>
              <a:ext uri="{FF2B5EF4-FFF2-40B4-BE49-F238E27FC236}">
                <a16:creationId xmlns:a16="http://schemas.microsoft.com/office/drawing/2014/main" id="{E1D6CD90-0956-4A32-9A76-53EE63853B67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15938" y="2357438"/>
            <a:ext cx="11126787" cy="3571875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>
                <a:solidFill>
                  <a:schemeClr val="tx1"/>
                </a:solidFill>
              </a:defRPr>
            </a:lvl1pPr>
            <a:lvl2pPr>
              <a:buClr>
                <a:schemeClr val="tx1"/>
              </a:buClr>
              <a:defRPr/>
            </a:lvl2pPr>
            <a:lvl3pPr marL="1143000" indent="-228600">
              <a:buClr>
                <a:schemeClr val="accent2"/>
              </a:buClr>
              <a:buFont typeface="Wingdings" panose="05000000000000000000" pitchFamily="2" charset="2"/>
              <a:buChar char="§"/>
              <a:defRPr/>
            </a:lvl3pPr>
            <a:lvl4pPr marL="1600200" indent="-228600">
              <a:buClr>
                <a:schemeClr val="accent2"/>
              </a:buClr>
              <a:buFont typeface="Courier New" panose="02070309020205020404" pitchFamily="49" charset="0"/>
              <a:buChar char="o"/>
              <a:defRPr/>
            </a:lvl4pPr>
          </a:lstStyle>
          <a:p>
            <a:pPr lvl="0"/>
            <a:r>
              <a:rPr lang="it-IT" sz="1400"/>
              <a:t>Fare clic per modificare gli stili del testo dello schema</a:t>
            </a:r>
          </a:p>
          <a:p>
            <a:pPr lvl="1"/>
            <a:r>
              <a:rPr lang="it-IT" sz="1400"/>
              <a:t>Secondo livello</a:t>
            </a:r>
          </a:p>
          <a:p>
            <a:pPr lvl="2"/>
            <a:r>
              <a:rPr lang="it-IT" sz="1400"/>
              <a:t>Terzo livello</a:t>
            </a:r>
          </a:p>
          <a:p>
            <a:pPr lvl="3"/>
            <a:r>
              <a:rPr lang="it-IT" sz="1400"/>
              <a:t>Quarto livello</a:t>
            </a:r>
          </a:p>
        </p:txBody>
      </p:sp>
      <p:sp>
        <p:nvSpPr>
          <p:cNvPr id="31" name="object 46">
            <a:extLst>
              <a:ext uri="{FF2B5EF4-FFF2-40B4-BE49-F238E27FC236}">
                <a16:creationId xmlns:a16="http://schemas.microsoft.com/office/drawing/2014/main" id="{5D13B668-912F-4A46-A031-65A671E9D20C}"/>
              </a:ext>
            </a:extLst>
          </p:cNvPr>
          <p:cNvSpPr>
            <a:spLocks noChangeAspect="1"/>
          </p:cNvSpPr>
          <p:nvPr/>
        </p:nvSpPr>
        <p:spPr>
          <a:xfrm>
            <a:off x="633940" y="1509967"/>
            <a:ext cx="756000" cy="756000"/>
          </a:xfrm>
          <a:custGeom>
            <a:avLst/>
            <a:gdLst/>
            <a:ahLst/>
            <a:cxnLst/>
            <a:rect l="l" t="t" r="r" b="b"/>
            <a:pathLst>
              <a:path w="1009650" h="1009650">
                <a:moveTo>
                  <a:pt x="1009637" y="504825"/>
                </a:moveTo>
                <a:lnTo>
                  <a:pt x="1007326" y="553440"/>
                </a:lnTo>
                <a:lnTo>
                  <a:pt x="1000534" y="600748"/>
                </a:lnTo>
                <a:lnTo>
                  <a:pt x="989474" y="646537"/>
                </a:lnTo>
                <a:lnTo>
                  <a:pt x="974355" y="690596"/>
                </a:lnTo>
                <a:lnTo>
                  <a:pt x="955391" y="732714"/>
                </a:lnTo>
                <a:lnTo>
                  <a:pt x="932791" y="772678"/>
                </a:lnTo>
                <a:lnTo>
                  <a:pt x="906769" y="810276"/>
                </a:lnTo>
                <a:lnTo>
                  <a:pt x="877535" y="845298"/>
                </a:lnTo>
                <a:lnTo>
                  <a:pt x="845302" y="877532"/>
                </a:lnTo>
                <a:lnTo>
                  <a:pt x="810279" y="906766"/>
                </a:lnTo>
                <a:lnTo>
                  <a:pt x="772680" y="932789"/>
                </a:lnTo>
                <a:lnTo>
                  <a:pt x="732715" y="955389"/>
                </a:lnTo>
                <a:lnTo>
                  <a:pt x="690596" y="974354"/>
                </a:lnTo>
                <a:lnTo>
                  <a:pt x="646535" y="989473"/>
                </a:lnTo>
                <a:lnTo>
                  <a:pt x="600743" y="1000534"/>
                </a:lnTo>
                <a:lnTo>
                  <a:pt x="553431" y="1007326"/>
                </a:lnTo>
                <a:lnTo>
                  <a:pt x="504812" y="1009637"/>
                </a:lnTo>
                <a:lnTo>
                  <a:pt x="456197" y="1007326"/>
                </a:lnTo>
                <a:lnTo>
                  <a:pt x="408888" y="1000534"/>
                </a:lnTo>
                <a:lnTo>
                  <a:pt x="363099" y="989473"/>
                </a:lnTo>
                <a:lnTo>
                  <a:pt x="319040" y="974354"/>
                </a:lnTo>
                <a:lnTo>
                  <a:pt x="276923" y="955389"/>
                </a:lnTo>
                <a:lnTo>
                  <a:pt x="236959" y="932789"/>
                </a:lnTo>
                <a:lnTo>
                  <a:pt x="199360" y="906766"/>
                </a:lnTo>
                <a:lnTo>
                  <a:pt x="164338" y="877532"/>
                </a:lnTo>
                <a:lnTo>
                  <a:pt x="132104" y="845298"/>
                </a:lnTo>
                <a:lnTo>
                  <a:pt x="102870" y="810276"/>
                </a:lnTo>
                <a:lnTo>
                  <a:pt x="76847" y="772678"/>
                </a:lnTo>
                <a:lnTo>
                  <a:pt x="54248" y="732714"/>
                </a:lnTo>
                <a:lnTo>
                  <a:pt x="35283" y="690596"/>
                </a:lnTo>
                <a:lnTo>
                  <a:pt x="20164" y="646537"/>
                </a:lnTo>
                <a:lnTo>
                  <a:pt x="9102" y="600748"/>
                </a:lnTo>
                <a:lnTo>
                  <a:pt x="2310" y="553440"/>
                </a:lnTo>
                <a:lnTo>
                  <a:pt x="0" y="504825"/>
                </a:lnTo>
                <a:lnTo>
                  <a:pt x="2310" y="456207"/>
                </a:lnTo>
                <a:lnTo>
                  <a:pt x="9102" y="408897"/>
                </a:lnTo>
                <a:lnTo>
                  <a:pt x="20164" y="363106"/>
                </a:lnTo>
                <a:lnTo>
                  <a:pt x="35283" y="319045"/>
                </a:lnTo>
                <a:lnTo>
                  <a:pt x="54248" y="276927"/>
                </a:lnTo>
                <a:lnTo>
                  <a:pt x="76847" y="236962"/>
                </a:lnTo>
                <a:lnTo>
                  <a:pt x="102870" y="199363"/>
                </a:lnTo>
                <a:lnTo>
                  <a:pt x="132104" y="164340"/>
                </a:lnTo>
                <a:lnTo>
                  <a:pt x="164338" y="132105"/>
                </a:lnTo>
                <a:lnTo>
                  <a:pt x="199360" y="102871"/>
                </a:lnTo>
                <a:lnTo>
                  <a:pt x="236959" y="76848"/>
                </a:lnTo>
                <a:lnTo>
                  <a:pt x="276923" y="54248"/>
                </a:lnTo>
                <a:lnTo>
                  <a:pt x="319040" y="35283"/>
                </a:lnTo>
                <a:lnTo>
                  <a:pt x="363099" y="20164"/>
                </a:lnTo>
                <a:lnTo>
                  <a:pt x="408888" y="9102"/>
                </a:lnTo>
                <a:lnTo>
                  <a:pt x="456197" y="2310"/>
                </a:lnTo>
                <a:lnTo>
                  <a:pt x="504812" y="0"/>
                </a:lnTo>
                <a:lnTo>
                  <a:pt x="553431" y="2310"/>
                </a:lnTo>
                <a:lnTo>
                  <a:pt x="600743" y="9102"/>
                </a:lnTo>
                <a:lnTo>
                  <a:pt x="646535" y="20164"/>
                </a:lnTo>
                <a:lnTo>
                  <a:pt x="690596" y="35283"/>
                </a:lnTo>
                <a:lnTo>
                  <a:pt x="732715" y="54248"/>
                </a:lnTo>
                <a:lnTo>
                  <a:pt x="772680" y="76848"/>
                </a:lnTo>
                <a:lnTo>
                  <a:pt x="810279" y="102871"/>
                </a:lnTo>
                <a:lnTo>
                  <a:pt x="845302" y="132105"/>
                </a:lnTo>
                <a:lnTo>
                  <a:pt x="877535" y="164340"/>
                </a:lnTo>
                <a:lnTo>
                  <a:pt x="906769" y="199363"/>
                </a:lnTo>
                <a:lnTo>
                  <a:pt x="932791" y="236962"/>
                </a:lnTo>
                <a:lnTo>
                  <a:pt x="955391" y="276927"/>
                </a:lnTo>
                <a:lnTo>
                  <a:pt x="974355" y="319045"/>
                </a:lnTo>
                <a:lnTo>
                  <a:pt x="989474" y="363106"/>
                </a:lnTo>
                <a:lnTo>
                  <a:pt x="1000534" y="408897"/>
                </a:lnTo>
                <a:lnTo>
                  <a:pt x="1007326" y="456207"/>
                </a:lnTo>
                <a:lnTo>
                  <a:pt x="1009637" y="504825"/>
                </a:lnTo>
                <a:close/>
              </a:path>
            </a:pathLst>
          </a:custGeom>
          <a:solidFill>
            <a:schemeClr val="bg1"/>
          </a:solidFill>
          <a:ln w="12700">
            <a:solidFill>
              <a:srgbClr val="0046BA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3B3B3A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2" name="bg object 16">
            <a:extLst>
              <a:ext uri="{FF2B5EF4-FFF2-40B4-BE49-F238E27FC236}">
                <a16:creationId xmlns:a16="http://schemas.microsoft.com/office/drawing/2014/main" id="{7B75A25D-A157-804F-9EB1-E5B1BA717368}"/>
              </a:ext>
            </a:extLst>
          </p:cNvPr>
          <p:cNvSpPr/>
          <p:nvPr/>
        </p:nvSpPr>
        <p:spPr>
          <a:xfrm>
            <a:off x="11330381" y="6448615"/>
            <a:ext cx="311785" cy="410845"/>
          </a:xfrm>
          <a:custGeom>
            <a:avLst/>
            <a:gdLst/>
            <a:ahLst/>
            <a:cxnLst/>
            <a:rect l="l" t="t" r="r" b="b"/>
            <a:pathLst>
              <a:path w="311784" h="410845">
                <a:moveTo>
                  <a:pt x="311645" y="0"/>
                </a:moveTo>
                <a:lnTo>
                  <a:pt x="0" y="0"/>
                </a:lnTo>
                <a:lnTo>
                  <a:pt x="0" y="410438"/>
                </a:lnTo>
                <a:lnTo>
                  <a:pt x="311645" y="410438"/>
                </a:lnTo>
                <a:lnTo>
                  <a:pt x="311645" y="0"/>
                </a:lnTo>
                <a:close/>
              </a:path>
            </a:pathLst>
          </a:custGeom>
          <a:solidFill>
            <a:srgbClr val="0047B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3" name="Holder 7">
            <a:extLst>
              <a:ext uri="{FF2B5EF4-FFF2-40B4-BE49-F238E27FC236}">
                <a16:creationId xmlns:a16="http://schemas.microsoft.com/office/drawing/2014/main" id="{65CDA657-C303-3146-B143-EAAA8DFF416C}"/>
              </a:ext>
            </a:extLst>
          </p:cNvPr>
          <p:cNvSpPr txBox="1">
            <a:spLocks/>
          </p:cNvSpPr>
          <p:nvPr/>
        </p:nvSpPr>
        <p:spPr>
          <a:xfrm>
            <a:off x="11342726" y="6520516"/>
            <a:ext cx="256044" cy="16158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it-IT"/>
            </a:defPPr>
            <a:lvl1pPr marL="0" algn="l" defTabSz="914400" rtl="0" eaLnBrk="1" latinLnBrk="0" hangingPunct="1">
              <a:defRPr sz="850" b="1" i="0" kern="1200">
                <a:solidFill>
                  <a:schemeClr val="bg1"/>
                </a:solidFill>
                <a:latin typeface="Verdana"/>
                <a:ea typeface="+mn-ea"/>
                <a:cs typeface="Verdana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8100" algn="ctr">
              <a:spcBef>
                <a:spcPts val="105"/>
              </a:spcBef>
            </a:pPr>
            <a:fld id="{81D60167-4931-47E6-BA6A-407CBD079E47}" type="slidenum">
              <a:rPr lang="it-IT" sz="1050" b="0" i="0" spc="5" smtClean="0">
                <a:latin typeface="Avenir Next LT Pro" pitchFamily="2" charset="0"/>
              </a:rPr>
              <a:pPr marL="38100" algn="ctr">
                <a:spcBef>
                  <a:spcPts val="105"/>
                </a:spcBef>
              </a:pPr>
              <a:t>‹N›</a:t>
            </a:fld>
            <a:endParaRPr lang="it-IT" sz="1050" b="0" i="0" spc="5" dirty="0">
              <a:latin typeface="Avenir Next LT Pro" pitchFamily="2" charset="0"/>
            </a:endParaRPr>
          </a:p>
        </p:txBody>
      </p:sp>
      <p:sp>
        <p:nvSpPr>
          <p:cNvPr id="38" name="Triangolo isoscele 16">
            <a:extLst>
              <a:ext uri="{FF2B5EF4-FFF2-40B4-BE49-F238E27FC236}">
                <a16:creationId xmlns:a16="http://schemas.microsoft.com/office/drawing/2014/main" id="{09E8455E-E08B-C94C-8326-DDAC9A57E74A}"/>
              </a:ext>
            </a:extLst>
          </p:cNvPr>
          <p:cNvSpPr/>
          <p:nvPr/>
        </p:nvSpPr>
        <p:spPr>
          <a:xfrm rot="10800000">
            <a:off x="303127" y="-324737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39" name="Triangolo isoscele 17">
            <a:extLst>
              <a:ext uri="{FF2B5EF4-FFF2-40B4-BE49-F238E27FC236}">
                <a16:creationId xmlns:a16="http://schemas.microsoft.com/office/drawing/2014/main" id="{B708E2E1-1A1A-C24B-9E52-8C0E2CB574BD}"/>
              </a:ext>
            </a:extLst>
          </p:cNvPr>
          <p:cNvSpPr/>
          <p:nvPr/>
        </p:nvSpPr>
        <p:spPr>
          <a:xfrm rot="10800000">
            <a:off x="11756536" y="-324737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41" name="Triangolo isoscele 18">
            <a:extLst>
              <a:ext uri="{FF2B5EF4-FFF2-40B4-BE49-F238E27FC236}">
                <a16:creationId xmlns:a16="http://schemas.microsoft.com/office/drawing/2014/main" id="{47F89D31-8FF0-C545-B8E7-34186263F031}"/>
              </a:ext>
            </a:extLst>
          </p:cNvPr>
          <p:cNvSpPr/>
          <p:nvPr/>
        </p:nvSpPr>
        <p:spPr>
          <a:xfrm>
            <a:off x="303127" y="6950754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42" name="Triangolo isoscele 19">
            <a:extLst>
              <a:ext uri="{FF2B5EF4-FFF2-40B4-BE49-F238E27FC236}">
                <a16:creationId xmlns:a16="http://schemas.microsoft.com/office/drawing/2014/main" id="{01E3FF88-2B5B-E541-832E-60783B3F3049}"/>
              </a:ext>
            </a:extLst>
          </p:cNvPr>
          <p:cNvSpPr/>
          <p:nvPr/>
        </p:nvSpPr>
        <p:spPr>
          <a:xfrm>
            <a:off x="11756536" y="6950754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43" name="Triangolo isoscele 20">
            <a:extLst>
              <a:ext uri="{FF2B5EF4-FFF2-40B4-BE49-F238E27FC236}">
                <a16:creationId xmlns:a16="http://schemas.microsoft.com/office/drawing/2014/main" id="{83819D8D-3F74-2F46-8FEB-69F42E36F1FF}"/>
              </a:ext>
            </a:extLst>
          </p:cNvPr>
          <p:cNvSpPr/>
          <p:nvPr/>
        </p:nvSpPr>
        <p:spPr>
          <a:xfrm rot="5400000">
            <a:off x="-276040" y="885372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44" name="Triangolo isoscele 21">
            <a:extLst>
              <a:ext uri="{FF2B5EF4-FFF2-40B4-BE49-F238E27FC236}">
                <a16:creationId xmlns:a16="http://schemas.microsoft.com/office/drawing/2014/main" id="{D054F160-7F14-A241-9A10-59E376545546}"/>
              </a:ext>
            </a:extLst>
          </p:cNvPr>
          <p:cNvSpPr/>
          <p:nvPr/>
        </p:nvSpPr>
        <p:spPr>
          <a:xfrm rot="5400000">
            <a:off x="-276039" y="5982836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45" name="Triangolo isoscele 22">
            <a:extLst>
              <a:ext uri="{FF2B5EF4-FFF2-40B4-BE49-F238E27FC236}">
                <a16:creationId xmlns:a16="http://schemas.microsoft.com/office/drawing/2014/main" id="{D79E158E-648C-9A4D-B364-F9A803C8FBA1}"/>
              </a:ext>
            </a:extLst>
          </p:cNvPr>
          <p:cNvSpPr/>
          <p:nvPr/>
        </p:nvSpPr>
        <p:spPr>
          <a:xfrm rot="16200000">
            <a:off x="12331119" y="885372"/>
            <a:ext cx="132336" cy="261257"/>
          </a:xfrm>
          <a:prstGeom prst="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49" name="Triangolo isoscele 23">
            <a:extLst>
              <a:ext uri="{FF2B5EF4-FFF2-40B4-BE49-F238E27FC236}">
                <a16:creationId xmlns:a16="http://schemas.microsoft.com/office/drawing/2014/main" id="{5175DAB9-FF7E-E147-90F5-2AA86215EC64}"/>
              </a:ext>
            </a:extLst>
          </p:cNvPr>
          <p:cNvSpPr/>
          <p:nvPr/>
        </p:nvSpPr>
        <p:spPr>
          <a:xfrm rot="16200000">
            <a:off x="12331120" y="5982836"/>
            <a:ext cx="132336" cy="261257"/>
          </a:xfrm>
          <a:prstGeom prst="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50" name="Triangolo isoscele 31">
            <a:extLst>
              <a:ext uri="{FF2B5EF4-FFF2-40B4-BE49-F238E27FC236}">
                <a16:creationId xmlns:a16="http://schemas.microsoft.com/office/drawing/2014/main" id="{23E60D04-3216-EA4F-B2C4-51C5E7B20AEE}"/>
              </a:ext>
            </a:extLst>
          </p:cNvPr>
          <p:cNvSpPr/>
          <p:nvPr/>
        </p:nvSpPr>
        <p:spPr>
          <a:xfrm rot="10800000">
            <a:off x="303127" y="-324737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51" name="Triangolo isoscele 32">
            <a:extLst>
              <a:ext uri="{FF2B5EF4-FFF2-40B4-BE49-F238E27FC236}">
                <a16:creationId xmlns:a16="http://schemas.microsoft.com/office/drawing/2014/main" id="{A3F97FB7-701F-1545-ACC9-C7228CD823EA}"/>
              </a:ext>
            </a:extLst>
          </p:cNvPr>
          <p:cNvSpPr/>
          <p:nvPr/>
        </p:nvSpPr>
        <p:spPr>
          <a:xfrm rot="10800000">
            <a:off x="11756536" y="-324737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52" name="Triangolo isoscele 33">
            <a:extLst>
              <a:ext uri="{FF2B5EF4-FFF2-40B4-BE49-F238E27FC236}">
                <a16:creationId xmlns:a16="http://schemas.microsoft.com/office/drawing/2014/main" id="{DB1FB688-AC42-E24E-8A57-90E7C4C92ADC}"/>
              </a:ext>
            </a:extLst>
          </p:cNvPr>
          <p:cNvSpPr/>
          <p:nvPr/>
        </p:nvSpPr>
        <p:spPr>
          <a:xfrm>
            <a:off x="303127" y="6950754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53" name="Triangolo isoscele 34">
            <a:extLst>
              <a:ext uri="{FF2B5EF4-FFF2-40B4-BE49-F238E27FC236}">
                <a16:creationId xmlns:a16="http://schemas.microsoft.com/office/drawing/2014/main" id="{1F3F50F8-6F2D-6D43-A1B5-B9D3F8006B49}"/>
              </a:ext>
            </a:extLst>
          </p:cNvPr>
          <p:cNvSpPr/>
          <p:nvPr/>
        </p:nvSpPr>
        <p:spPr>
          <a:xfrm>
            <a:off x="11756536" y="6950754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54" name="Triangolo isoscele 35">
            <a:extLst>
              <a:ext uri="{FF2B5EF4-FFF2-40B4-BE49-F238E27FC236}">
                <a16:creationId xmlns:a16="http://schemas.microsoft.com/office/drawing/2014/main" id="{1F5DC3B4-2684-AB47-9A52-20F709B2BEC9}"/>
              </a:ext>
            </a:extLst>
          </p:cNvPr>
          <p:cNvSpPr/>
          <p:nvPr/>
        </p:nvSpPr>
        <p:spPr>
          <a:xfrm rot="5400000">
            <a:off x="-276040" y="885372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55" name="Triangolo isoscele 36">
            <a:extLst>
              <a:ext uri="{FF2B5EF4-FFF2-40B4-BE49-F238E27FC236}">
                <a16:creationId xmlns:a16="http://schemas.microsoft.com/office/drawing/2014/main" id="{9775CC0E-2446-3C4E-88FF-0B1A121FAAE0}"/>
              </a:ext>
            </a:extLst>
          </p:cNvPr>
          <p:cNvSpPr/>
          <p:nvPr/>
        </p:nvSpPr>
        <p:spPr>
          <a:xfrm rot="5400000">
            <a:off x="-276039" y="5982836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56" name="Triangolo isoscele 37">
            <a:extLst>
              <a:ext uri="{FF2B5EF4-FFF2-40B4-BE49-F238E27FC236}">
                <a16:creationId xmlns:a16="http://schemas.microsoft.com/office/drawing/2014/main" id="{78F6ECED-F9B1-884B-A9CF-20F25B619BB9}"/>
              </a:ext>
            </a:extLst>
          </p:cNvPr>
          <p:cNvSpPr/>
          <p:nvPr/>
        </p:nvSpPr>
        <p:spPr>
          <a:xfrm rot="16200000">
            <a:off x="12331119" y="885372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57" name="Triangolo isoscele 38">
            <a:extLst>
              <a:ext uri="{FF2B5EF4-FFF2-40B4-BE49-F238E27FC236}">
                <a16:creationId xmlns:a16="http://schemas.microsoft.com/office/drawing/2014/main" id="{174AE928-C517-5D48-ABCB-7317566988CF}"/>
              </a:ext>
            </a:extLst>
          </p:cNvPr>
          <p:cNvSpPr/>
          <p:nvPr/>
        </p:nvSpPr>
        <p:spPr>
          <a:xfrm rot="16200000">
            <a:off x="12331120" y="5982836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pic>
        <p:nvPicPr>
          <p:cNvPr id="58" name="Elemento grafico 57">
            <a:extLst>
              <a:ext uri="{FF2B5EF4-FFF2-40B4-BE49-F238E27FC236}">
                <a16:creationId xmlns:a16="http://schemas.microsoft.com/office/drawing/2014/main" id="{9CF271F8-58BD-C440-8BC0-6EE0E16487AE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081892" y="-5080"/>
            <a:ext cx="1560273" cy="309880"/>
          </a:xfrm>
          <a:prstGeom prst="rect">
            <a:avLst/>
          </a:prstGeom>
        </p:spPr>
      </p:pic>
      <p:sp>
        <p:nvSpPr>
          <p:cNvPr id="59" name="object 267">
            <a:extLst>
              <a:ext uri="{FF2B5EF4-FFF2-40B4-BE49-F238E27FC236}">
                <a16:creationId xmlns:a16="http://schemas.microsoft.com/office/drawing/2014/main" id="{0663B2D6-616D-474D-95F5-501AEB146A56}"/>
              </a:ext>
            </a:extLst>
          </p:cNvPr>
          <p:cNvSpPr/>
          <p:nvPr/>
        </p:nvSpPr>
        <p:spPr>
          <a:xfrm>
            <a:off x="0" y="1251482"/>
            <a:ext cx="675518" cy="45719"/>
          </a:xfrm>
          <a:custGeom>
            <a:avLst/>
            <a:gdLst/>
            <a:ahLst/>
            <a:cxnLst/>
            <a:rect l="l" t="t" r="r" b="b"/>
            <a:pathLst>
              <a:path w="657225">
                <a:moveTo>
                  <a:pt x="0" y="0"/>
                </a:moveTo>
                <a:lnTo>
                  <a:pt x="656678" y="0"/>
                </a:lnTo>
              </a:path>
            </a:pathLst>
          </a:custGeom>
          <a:ln w="76200">
            <a:solidFill>
              <a:srgbClr val="EEDC00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JhengHei UI Light" panose="020B0304030504040204" pitchFamily="34" charset="-120"/>
              <a:ea typeface="Microsoft JhengHei UI Light" panose="020B0304030504040204" pitchFamily="34" charset="-120"/>
              <a:cs typeface="+mn-cs"/>
            </a:endParaRPr>
          </a:p>
        </p:txBody>
      </p:sp>
      <p:sp>
        <p:nvSpPr>
          <p:cNvPr id="60" name="object 47">
            <a:extLst>
              <a:ext uri="{FF2B5EF4-FFF2-40B4-BE49-F238E27FC236}">
                <a16:creationId xmlns:a16="http://schemas.microsoft.com/office/drawing/2014/main" id="{7887AF11-4FEA-AC4E-9013-F5EB6889D806}"/>
              </a:ext>
            </a:extLst>
          </p:cNvPr>
          <p:cNvSpPr/>
          <p:nvPr/>
        </p:nvSpPr>
        <p:spPr>
          <a:xfrm>
            <a:off x="687940" y="1563967"/>
            <a:ext cx="648000" cy="648000"/>
          </a:xfrm>
          <a:custGeom>
            <a:avLst/>
            <a:gdLst/>
            <a:ahLst/>
            <a:cxnLst/>
            <a:rect l="l" t="t" r="r" b="b"/>
            <a:pathLst>
              <a:path w="836294" h="836294">
                <a:moveTo>
                  <a:pt x="417944" y="0"/>
                </a:moveTo>
                <a:lnTo>
                  <a:pt x="369203" y="2811"/>
                </a:lnTo>
                <a:lnTo>
                  <a:pt x="322114" y="11038"/>
                </a:lnTo>
                <a:lnTo>
                  <a:pt x="276989" y="24365"/>
                </a:lnTo>
                <a:lnTo>
                  <a:pt x="234143" y="42480"/>
                </a:lnTo>
                <a:lnTo>
                  <a:pt x="193890" y="65069"/>
                </a:lnTo>
                <a:lnTo>
                  <a:pt x="156542" y="91818"/>
                </a:lnTo>
                <a:lnTo>
                  <a:pt x="122413" y="122413"/>
                </a:lnTo>
                <a:lnTo>
                  <a:pt x="91818" y="156542"/>
                </a:lnTo>
                <a:lnTo>
                  <a:pt x="65069" y="193890"/>
                </a:lnTo>
                <a:lnTo>
                  <a:pt x="42480" y="234143"/>
                </a:lnTo>
                <a:lnTo>
                  <a:pt x="24365" y="276989"/>
                </a:lnTo>
                <a:lnTo>
                  <a:pt x="11038" y="322114"/>
                </a:lnTo>
                <a:lnTo>
                  <a:pt x="2811" y="369203"/>
                </a:lnTo>
                <a:lnTo>
                  <a:pt x="0" y="417944"/>
                </a:lnTo>
                <a:lnTo>
                  <a:pt x="2811" y="466685"/>
                </a:lnTo>
                <a:lnTo>
                  <a:pt x="11038" y="513774"/>
                </a:lnTo>
                <a:lnTo>
                  <a:pt x="24365" y="558898"/>
                </a:lnTo>
                <a:lnTo>
                  <a:pt x="42480" y="601744"/>
                </a:lnTo>
                <a:lnTo>
                  <a:pt x="65069" y="641998"/>
                </a:lnTo>
                <a:lnTo>
                  <a:pt x="91818" y="679346"/>
                </a:lnTo>
                <a:lnTo>
                  <a:pt x="122413" y="713474"/>
                </a:lnTo>
                <a:lnTo>
                  <a:pt x="156542" y="744070"/>
                </a:lnTo>
                <a:lnTo>
                  <a:pt x="193890" y="770819"/>
                </a:lnTo>
                <a:lnTo>
                  <a:pt x="234143" y="793407"/>
                </a:lnTo>
                <a:lnTo>
                  <a:pt x="276989" y="811522"/>
                </a:lnTo>
                <a:lnTo>
                  <a:pt x="322114" y="824850"/>
                </a:lnTo>
                <a:lnTo>
                  <a:pt x="369203" y="833076"/>
                </a:lnTo>
                <a:lnTo>
                  <a:pt x="417944" y="835888"/>
                </a:lnTo>
                <a:lnTo>
                  <a:pt x="466685" y="833076"/>
                </a:lnTo>
                <a:lnTo>
                  <a:pt x="513774" y="824850"/>
                </a:lnTo>
                <a:lnTo>
                  <a:pt x="558898" y="811522"/>
                </a:lnTo>
                <a:lnTo>
                  <a:pt x="601744" y="793407"/>
                </a:lnTo>
                <a:lnTo>
                  <a:pt x="641998" y="770819"/>
                </a:lnTo>
                <a:lnTo>
                  <a:pt x="679346" y="744070"/>
                </a:lnTo>
                <a:lnTo>
                  <a:pt x="713474" y="713474"/>
                </a:lnTo>
                <a:lnTo>
                  <a:pt x="744070" y="679346"/>
                </a:lnTo>
                <a:lnTo>
                  <a:pt x="770819" y="641998"/>
                </a:lnTo>
                <a:lnTo>
                  <a:pt x="793407" y="601744"/>
                </a:lnTo>
                <a:lnTo>
                  <a:pt x="811522" y="558898"/>
                </a:lnTo>
                <a:lnTo>
                  <a:pt x="824850" y="513774"/>
                </a:lnTo>
                <a:lnTo>
                  <a:pt x="833076" y="466685"/>
                </a:lnTo>
                <a:lnTo>
                  <a:pt x="835888" y="417944"/>
                </a:lnTo>
                <a:lnTo>
                  <a:pt x="833076" y="369203"/>
                </a:lnTo>
                <a:lnTo>
                  <a:pt x="824850" y="322114"/>
                </a:lnTo>
                <a:lnTo>
                  <a:pt x="811522" y="276989"/>
                </a:lnTo>
                <a:lnTo>
                  <a:pt x="793407" y="234143"/>
                </a:lnTo>
                <a:lnTo>
                  <a:pt x="770819" y="193890"/>
                </a:lnTo>
                <a:lnTo>
                  <a:pt x="744070" y="156542"/>
                </a:lnTo>
                <a:lnTo>
                  <a:pt x="713474" y="122413"/>
                </a:lnTo>
                <a:lnTo>
                  <a:pt x="679346" y="91818"/>
                </a:lnTo>
                <a:lnTo>
                  <a:pt x="641998" y="65069"/>
                </a:lnTo>
                <a:lnTo>
                  <a:pt x="601744" y="42480"/>
                </a:lnTo>
                <a:lnTo>
                  <a:pt x="558898" y="24365"/>
                </a:lnTo>
                <a:lnTo>
                  <a:pt x="513774" y="11038"/>
                </a:lnTo>
                <a:lnTo>
                  <a:pt x="466685" y="2811"/>
                </a:lnTo>
                <a:lnTo>
                  <a:pt x="417944" y="0"/>
                </a:lnTo>
                <a:close/>
              </a:path>
            </a:pathLst>
          </a:custGeom>
          <a:solidFill>
            <a:srgbClr val="EEDC00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 dirty="0">
              <a:ln>
                <a:noFill/>
              </a:ln>
              <a:solidFill>
                <a:srgbClr val="3B3B3A"/>
              </a:solidFill>
              <a:effectLst/>
              <a:uLnTx/>
              <a:uFillTx/>
              <a:latin typeface="Avenir Next LT Pro" panose="020B0504020202020204" pitchFamily="34" charset="77"/>
              <a:ea typeface="+mn-ea"/>
              <a:cs typeface="+mn-cs"/>
            </a:endParaRPr>
          </a:p>
        </p:txBody>
      </p:sp>
      <p:cxnSp>
        <p:nvCxnSpPr>
          <p:cNvPr id="61" name="Connettore 1 60">
            <a:extLst>
              <a:ext uri="{FF2B5EF4-FFF2-40B4-BE49-F238E27FC236}">
                <a16:creationId xmlns:a16="http://schemas.microsoft.com/office/drawing/2014/main" id="{04AC3722-BF0D-2A45-A0F5-DA96B6E73AC9}"/>
              </a:ext>
            </a:extLst>
          </p:cNvPr>
          <p:cNvCxnSpPr>
            <a:cxnSpLocks/>
          </p:cNvCxnSpPr>
          <p:nvPr/>
        </p:nvCxnSpPr>
        <p:spPr>
          <a:xfrm>
            <a:off x="1395006" y="1889852"/>
            <a:ext cx="4140000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CasellaDiTesto 1">
            <a:extLst>
              <a:ext uri="{FF2B5EF4-FFF2-40B4-BE49-F238E27FC236}">
                <a16:creationId xmlns:a16="http://schemas.microsoft.com/office/drawing/2014/main" id="{EF8F7352-157C-4589-C572-A4B3D21AB918}"/>
              </a:ext>
            </a:extLst>
          </p:cNvPr>
          <p:cNvSpPr txBox="1"/>
          <p:nvPr userDrawn="1"/>
        </p:nvSpPr>
        <p:spPr>
          <a:xfrm>
            <a:off x="3916392" y="6623540"/>
            <a:ext cx="739499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it-IT" sz="800" i="1" dirty="0"/>
              <a:t>Documento ad uso esclusivamente interno, da intendersi come strettamente riservato; non è autorizzata la trasmissione ad altri e la divulgazione all’esterno.</a:t>
            </a:r>
            <a:endParaRPr lang="en-US" sz="800" i="1" dirty="0"/>
          </a:p>
        </p:txBody>
      </p:sp>
    </p:spTree>
    <p:extLst>
      <p:ext uri="{BB962C8B-B14F-4D97-AF65-F5344CB8AC3E}">
        <p14:creationId xmlns:p14="http://schemas.microsoft.com/office/powerpoint/2010/main" val="3413432676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5" orient="horz" pos="2160">
          <p15:clr>
            <a:srgbClr val="FBAE40"/>
          </p15:clr>
        </p15:guide>
        <p15:guide id="6" pos="3840">
          <p15:clr>
            <a:srgbClr val="FBAE40"/>
          </p15:clr>
        </p15:guide>
        <p15:guide id="7" pos="325">
          <p15:clr>
            <a:srgbClr val="FBAE40"/>
          </p15:clr>
        </p15:guide>
        <p15:guide id="8" pos="7333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agina tre colonn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bg object 16">
            <a:extLst>
              <a:ext uri="{FF2B5EF4-FFF2-40B4-BE49-F238E27FC236}">
                <a16:creationId xmlns:a16="http://schemas.microsoft.com/office/drawing/2014/main" id="{BCFAEBF8-790C-A54A-9E47-3E3639BCC461}"/>
              </a:ext>
            </a:extLst>
          </p:cNvPr>
          <p:cNvSpPr/>
          <p:nvPr/>
        </p:nvSpPr>
        <p:spPr>
          <a:xfrm>
            <a:off x="11330381" y="6448615"/>
            <a:ext cx="311785" cy="410845"/>
          </a:xfrm>
          <a:custGeom>
            <a:avLst/>
            <a:gdLst/>
            <a:ahLst/>
            <a:cxnLst/>
            <a:rect l="l" t="t" r="r" b="b"/>
            <a:pathLst>
              <a:path w="311784" h="410845">
                <a:moveTo>
                  <a:pt x="311645" y="0"/>
                </a:moveTo>
                <a:lnTo>
                  <a:pt x="0" y="0"/>
                </a:lnTo>
                <a:lnTo>
                  <a:pt x="0" y="410438"/>
                </a:lnTo>
                <a:lnTo>
                  <a:pt x="311645" y="410438"/>
                </a:lnTo>
                <a:lnTo>
                  <a:pt x="311645" y="0"/>
                </a:lnTo>
                <a:close/>
              </a:path>
            </a:pathLst>
          </a:custGeom>
          <a:solidFill>
            <a:srgbClr val="0047B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" name="Holder 7">
            <a:extLst>
              <a:ext uri="{FF2B5EF4-FFF2-40B4-BE49-F238E27FC236}">
                <a16:creationId xmlns:a16="http://schemas.microsoft.com/office/drawing/2014/main" id="{EADEFA5D-780C-4841-8968-F8DA8FB77458}"/>
              </a:ext>
            </a:extLst>
          </p:cNvPr>
          <p:cNvSpPr txBox="1">
            <a:spLocks/>
          </p:cNvSpPr>
          <p:nvPr/>
        </p:nvSpPr>
        <p:spPr>
          <a:xfrm>
            <a:off x="11342726" y="6520516"/>
            <a:ext cx="256044" cy="16158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it-IT"/>
            </a:defPPr>
            <a:lvl1pPr marL="0" algn="l" defTabSz="914400" rtl="0" eaLnBrk="1" latinLnBrk="0" hangingPunct="1">
              <a:defRPr sz="850" b="1" i="0" kern="1200">
                <a:solidFill>
                  <a:schemeClr val="bg1"/>
                </a:solidFill>
                <a:latin typeface="Verdana"/>
                <a:ea typeface="+mn-ea"/>
                <a:cs typeface="Verdana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8100" algn="ctr">
              <a:spcBef>
                <a:spcPts val="105"/>
              </a:spcBef>
            </a:pPr>
            <a:fld id="{81D60167-4931-47E6-BA6A-407CBD079E47}" type="slidenum">
              <a:rPr lang="it-IT" sz="1050" b="0" i="0" spc="5" smtClean="0">
                <a:latin typeface="Avenir Next LT Pro" pitchFamily="2" charset="0"/>
              </a:rPr>
              <a:pPr marL="38100" algn="ctr">
                <a:spcBef>
                  <a:spcPts val="105"/>
                </a:spcBef>
              </a:pPr>
              <a:t>‹N›</a:t>
            </a:fld>
            <a:endParaRPr lang="it-IT" sz="1050" b="0" i="0" spc="5" dirty="0">
              <a:latin typeface="Avenir Next LT Pro" pitchFamily="2" charset="0"/>
            </a:endParaRPr>
          </a:p>
        </p:txBody>
      </p:sp>
      <p:sp>
        <p:nvSpPr>
          <p:cNvPr id="6" name="Triangolo isoscele 16">
            <a:extLst>
              <a:ext uri="{FF2B5EF4-FFF2-40B4-BE49-F238E27FC236}">
                <a16:creationId xmlns:a16="http://schemas.microsoft.com/office/drawing/2014/main" id="{8A368720-335F-0F45-860A-0606EE42684C}"/>
              </a:ext>
            </a:extLst>
          </p:cNvPr>
          <p:cNvSpPr/>
          <p:nvPr/>
        </p:nvSpPr>
        <p:spPr>
          <a:xfrm rot="10800000">
            <a:off x="303127" y="-324737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7" name="Triangolo isoscele 17">
            <a:extLst>
              <a:ext uri="{FF2B5EF4-FFF2-40B4-BE49-F238E27FC236}">
                <a16:creationId xmlns:a16="http://schemas.microsoft.com/office/drawing/2014/main" id="{E2772AA6-60C9-0B42-835F-13797EE9ED3C}"/>
              </a:ext>
            </a:extLst>
          </p:cNvPr>
          <p:cNvSpPr/>
          <p:nvPr/>
        </p:nvSpPr>
        <p:spPr>
          <a:xfrm rot="10800000">
            <a:off x="11756536" y="-324737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8" name="Triangolo isoscele 18">
            <a:extLst>
              <a:ext uri="{FF2B5EF4-FFF2-40B4-BE49-F238E27FC236}">
                <a16:creationId xmlns:a16="http://schemas.microsoft.com/office/drawing/2014/main" id="{C7BF371F-A6F2-FD41-82B8-D9B554CACAF1}"/>
              </a:ext>
            </a:extLst>
          </p:cNvPr>
          <p:cNvSpPr/>
          <p:nvPr/>
        </p:nvSpPr>
        <p:spPr>
          <a:xfrm>
            <a:off x="303127" y="6950754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9" name="Triangolo isoscele 19">
            <a:extLst>
              <a:ext uri="{FF2B5EF4-FFF2-40B4-BE49-F238E27FC236}">
                <a16:creationId xmlns:a16="http://schemas.microsoft.com/office/drawing/2014/main" id="{FCEF8EFB-88B6-D747-9382-15136CFCC56E}"/>
              </a:ext>
            </a:extLst>
          </p:cNvPr>
          <p:cNvSpPr/>
          <p:nvPr/>
        </p:nvSpPr>
        <p:spPr>
          <a:xfrm>
            <a:off x="11756536" y="6950754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10" name="Triangolo isoscele 20">
            <a:extLst>
              <a:ext uri="{FF2B5EF4-FFF2-40B4-BE49-F238E27FC236}">
                <a16:creationId xmlns:a16="http://schemas.microsoft.com/office/drawing/2014/main" id="{47007676-0BFD-5F42-846B-AA823A1BFA60}"/>
              </a:ext>
            </a:extLst>
          </p:cNvPr>
          <p:cNvSpPr/>
          <p:nvPr/>
        </p:nvSpPr>
        <p:spPr>
          <a:xfrm rot="5400000">
            <a:off x="-276040" y="885372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11" name="Triangolo isoscele 21">
            <a:extLst>
              <a:ext uri="{FF2B5EF4-FFF2-40B4-BE49-F238E27FC236}">
                <a16:creationId xmlns:a16="http://schemas.microsoft.com/office/drawing/2014/main" id="{9F8B8967-D8B7-EF40-A160-9FD75894783B}"/>
              </a:ext>
            </a:extLst>
          </p:cNvPr>
          <p:cNvSpPr/>
          <p:nvPr/>
        </p:nvSpPr>
        <p:spPr>
          <a:xfrm rot="5400000">
            <a:off x="-276039" y="5982836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12" name="Triangolo isoscele 22">
            <a:extLst>
              <a:ext uri="{FF2B5EF4-FFF2-40B4-BE49-F238E27FC236}">
                <a16:creationId xmlns:a16="http://schemas.microsoft.com/office/drawing/2014/main" id="{58B46DE6-6338-7140-8CA8-25EC1DE4AEB7}"/>
              </a:ext>
            </a:extLst>
          </p:cNvPr>
          <p:cNvSpPr/>
          <p:nvPr/>
        </p:nvSpPr>
        <p:spPr>
          <a:xfrm rot="16200000">
            <a:off x="12331119" y="885372"/>
            <a:ext cx="132336" cy="261257"/>
          </a:xfrm>
          <a:prstGeom prst="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13" name="Triangolo isoscele 23">
            <a:extLst>
              <a:ext uri="{FF2B5EF4-FFF2-40B4-BE49-F238E27FC236}">
                <a16:creationId xmlns:a16="http://schemas.microsoft.com/office/drawing/2014/main" id="{BA951F18-3E6B-F245-B833-D4E6A22CAE34}"/>
              </a:ext>
            </a:extLst>
          </p:cNvPr>
          <p:cNvSpPr/>
          <p:nvPr/>
        </p:nvSpPr>
        <p:spPr>
          <a:xfrm rot="16200000">
            <a:off x="12331120" y="5982836"/>
            <a:ext cx="132336" cy="261257"/>
          </a:xfrm>
          <a:prstGeom prst="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14" name="Triangolo isoscele 31">
            <a:extLst>
              <a:ext uri="{FF2B5EF4-FFF2-40B4-BE49-F238E27FC236}">
                <a16:creationId xmlns:a16="http://schemas.microsoft.com/office/drawing/2014/main" id="{07246241-C678-DB48-84D0-2C7143C6A157}"/>
              </a:ext>
            </a:extLst>
          </p:cNvPr>
          <p:cNvSpPr/>
          <p:nvPr/>
        </p:nvSpPr>
        <p:spPr>
          <a:xfrm rot="10800000">
            <a:off x="303127" y="-324737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15" name="Triangolo isoscele 32">
            <a:extLst>
              <a:ext uri="{FF2B5EF4-FFF2-40B4-BE49-F238E27FC236}">
                <a16:creationId xmlns:a16="http://schemas.microsoft.com/office/drawing/2014/main" id="{A3BC8E3A-7E5D-BE49-8DBD-35856251134F}"/>
              </a:ext>
            </a:extLst>
          </p:cNvPr>
          <p:cNvSpPr/>
          <p:nvPr/>
        </p:nvSpPr>
        <p:spPr>
          <a:xfrm rot="10800000">
            <a:off x="11756536" y="-324737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16" name="Triangolo isoscele 33">
            <a:extLst>
              <a:ext uri="{FF2B5EF4-FFF2-40B4-BE49-F238E27FC236}">
                <a16:creationId xmlns:a16="http://schemas.microsoft.com/office/drawing/2014/main" id="{E9B5EA53-1DC4-1940-8594-3256ADD5AE0C}"/>
              </a:ext>
            </a:extLst>
          </p:cNvPr>
          <p:cNvSpPr/>
          <p:nvPr/>
        </p:nvSpPr>
        <p:spPr>
          <a:xfrm>
            <a:off x="303127" y="6950754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21" name="Triangolo isoscele 34">
            <a:extLst>
              <a:ext uri="{FF2B5EF4-FFF2-40B4-BE49-F238E27FC236}">
                <a16:creationId xmlns:a16="http://schemas.microsoft.com/office/drawing/2014/main" id="{749E0E17-FFD8-164C-B560-1DFF3FBB41DF}"/>
              </a:ext>
            </a:extLst>
          </p:cNvPr>
          <p:cNvSpPr/>
          <p:nvPr/>
        </p:nvSpPr>
        <p:spPr>
          <a:xfrm>
            <a:off x="11756536" y="6950754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22" name="Triangolo isoscele 35">
            <a:extLst>
              <a:ext uri="{FF2B5EF4-FFF2-40B4-BE49-F238E27FC236}">
                <a16:creationId xmlns:a16="http://schemas.microsoft.com/office/drawing/2014/main" id="{2449D32D-31E9-1E41-8135-CF757AF1ADCB}"/>
              </a:ext>
            </a:extLst>
          </p:cNvPr>
          <p:cNvSpPr/>
          <p:nvPr/>
        </p:nvSpPr>
        <p:spPr>
          <a:xfrm rot="5400000">
            <a:off x="-276040" y="885372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23" name="Triangolo isoscele 36">
            <a:extLst>
              <a:ext uri="{FF2B5EF4-FFF2-40B4-BE49-F238E27FC236}">
                <a16:creationId xmlns:a16="http://schemas.microsoft.com/office/drawing/2014/main" id="{92505FB0-1068-1143-AB9B-F5A849D826DE}"/>
              </a:ext>
            </a:extLst>
          </p:cNvPr>
          <p:cNvSpPr/>
          <p:nvPr/>
        </p:nvSpPr>
        <p:spPr>
          <a:xfrm rot="5400000">
            <a:off x="-276039" y="5982836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24" name="Triangolo isoscele 37">
            <a:extLst>
              <a:ext uri="{FF2B5EF4-FFF2-40B4-BE49-F238E27FC236}">
                <a16:creationId xmlns:a16="http://schemas.microsoft.com/office/drawing/2014/main" id="{D60FCBF0-3D48-CF40-ABA6-F53B703D88CA}"/>
              </a:ext>
            </a:extLst>
          </p:cNvPr>
          <p:cNvSpPr/>
          <p:nvPr/>
        </p:nvSpPr>
        <p:spPr>
          <a:xfrm rot="16200000">
            <a:off x="12331119" y="885372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25" name="Triangolo isoscele 38">
            <a:extLst>
              <a:ext uri="{FF2B5EF4-FFF2-40B4-BE49-F238E27FC236}">
                <a16:creationId xmlns:a16="http://schemas.microsoft.com/office/drawing/2014/main" id="{95E14022-E59F-9F4C-998B-8575096AA6A0}"/>
              </a:ext>
            </a:extLst>
          </p:cNvPr>
          <p:cNvSpPr/>
          <p:nvPr/>
        </p:nvSpPr>
        <p:spPr>
          <a:xfrm rot="16200000">
            <a:off x="12331120" y="5982836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pic>
        <p:nvPicPr>
          <p:cNvPr id="36" name="Elemento grafico 35">
            <a:extLst>
              <a:ext uri="{FF2B5EF4-FFF2-40B4-BE49-F238E27FC236}">
                <a16:creationId xmlns:a16="http://schemas.microsoft.com/office/drawing/2014/main" id="{9531B5A1-7BA2-E141-B54D-FEC62D4B762E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081892" y="-5080"/>
            <a:ext cx="1560273" cy="309880"/>
          </a:xfrm>
          <a:prstGeom prst="rect">
            <a:avLst/>
          </a:prstGeom>
        </p:spPr>
      </p:pic>
      <p:sp>
        <p:nvSpPr>
          <p:cNvPr id="37" name="object 267">
            <a:extLst>
              <a:ext uri="{FF2B5EF4-FFF2-40B4-BE49-F238E27FC236}">
                <a16:creationId xmlns:a16="http://schemas.microsoft.com/office/drawing/2014/main" id="{1A701277-6B82-924C-9434-545B7977906E}"/>
              </a:ext>
            </a:extLst>
          </p:cNvPr>
          <p:cNvSpPr/>
          <p:nvPr/>
        </p:nvSpPr>
        <p:spPr>
          <a:xfrm>
            <a:off x="0" y="1251482"/>
            <a:ext cx="675518" cy="45719"/>
          </a:xfrm>
          <a:custGeom>
            <a:avLst/>
            <a:gdLst/>
            <a:ahLst/>
            <a:cxnLst/>
            <a:rect l="l" t="t" r="r" b="b"/>
            <a:pathLst>
              <a:path w="657225">
                <a:moveTo>
                  <a:pt x="0" y="0"/>
                </a:moveTo>
                <a:lnTo>
                  <a:pt x="656678" y="0"/>
                </a:lnTo>
              </a:path>
            </a:pathLst>
          </a:custGeom>
          <a:ln w="76200">
            <a:solidFill>
              <a:srgbClr val="EEDC00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JhengHei UI Light" panose="020B0304030504040204" pitchFamily="34" charset="-120"/>
              <a:ea typeface="Microsoft JhengHei UI Light" panose="020B0304030504040204" pitchFamily="34" charset="-120"/>
              <a:cs typeface="+mn-cs"/>
            </a:endParaRPr>
          </a:p>
        </p:txBody>
      </p:sp>
      <p:sp>
        <p:nvSpPr>
          <p:cNvPr id="34" name="Segnaposto testo 2">
            <a:extLst>
              <a:ext uri="{FF2B5EF4-FFF2-40B4-BE49-F238E27FC236}">
                <a16:creationId xmlns:a16="http://schemas.microsoft.com/office/drawing/2014/main" id="{1B74C236-B652-4041-99ED-254A64385C7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49834" y="503037"/>
            <a:ext cx="10412412" cy="655637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 b="0" i="0">
                <a:solidFill>
                  <a:srgbClr val="0047BB"/>
                </a:solidFill>
                <a:latin typeface="Avenir Next LT Pro" panose="020B0504020202020204" pitchFamily="34" charset="77"/>
              </a:defRPr>
            </a:lvl1pPr>
            <a:lvl2pPr marL="457200" indent="0">
              <a:buNone/>
              <a:defRPr sz="4000" b="0" i="0">
                <a:latin typeface="Avenir Next LT Pro" panose="020B0504020202020204" pitchFamily="34" charset="77"/>
              </a:defRPr>
            </a:lvl2pPr>
            <a:lvl3pPr marL="914400" indent="0">
              <a:buNone/>
              <a:defRPr sz="4000" b="0" i="0">
                <a:latin typeface="Avenir Next LT Pro" panose="020B0504020202020204" pitchFamily="34" charset="77"/>
              </a:defRPr>
            </a:lvl3pPr>
            <a:lvl4pPr marL="1371600" indent="0">
              <a:buNone/>
              <a:defRPr sz="4000" b="0" i="0">
                <a:latin typeface="Avenir Next LT Pro" panose="020B0504020202020204" pitchFamily="34" charset="77"/>
              </a:defRPr>
            </a:lvl4pPr>
            <a:lvl5pPr marL="1828800" indent="0">
              <a:buNone/>
              <a:defRPr sz="4000" b="0" i="0">
                <a:latin typeface="Avenir Next LT Pro" panose="020B0504020202020204" pitchFamily="34" charset="77"/>
              </a:defRPr>
            </a:lvl5pPr>
          </a:lstStyle>
          <a:p>
            <a:pPr lvl="0"/>
            <a:r>
              <a:rPr lang="it-IT" dirty="0"/>
              <a:t>FARE CLIC PER MODIFICARE TITOLO DIAPOSITIVA</a:t>
            </a:r>
          </a:p>
        </p:txBody>
      </p:sp>
      <p:sp>
        <p:nvSpPr>
          <p:cNvPr id="40" name="Segnaposto testo 4">
            <a:extLst>
              <a:ext uri="{FF2B5EF4-FFF2-40B4-BE49-F238E27FC236}">
                <a16:creationId xmlns:a16="http://schemas.microsoft.com/office/drawing/2014/main" id="{597E06C8-CAFB-E24B-A154-8EA093E0C54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49834" y="5917932"/>
            <a:ext cx="9402763" cy="573088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900" b="0" i="0">
                <a:latin typeface="Avenir Next LT Pro" panose="020B0504020202020204" pitchFamily="34" charset="77"/>
              </a:defRPr>
            </a:lvl1pPr>
            <a:lvl2pPr marL="457200" indent="0">
              <a:buNone/>
              <a:defRPr sz="900" b="0" i="0">
                <a:latin typeface="Avenir Next LT Pro" panose="020B0504020202020204" pitchFamily="34" charset="77"/>
              </a:defRPr>
            </a:lvl2pPr>
            <a:lvl3pPr marL="914400" indent="0">
              <a:buNone/>
              <a:defRPr sz="900" b="0" i="0">
                <a:latin typeface="Avenir Next LT Pro" panose="020B0504020202020204" pitchFamily="34" charset="77"/>
              </a:defRPr>
            </a:lvl3pPr>
            <a:lvl4pPr marL="1371600" indent="0">
              <a:buNone/>
              <a:defRPr sz="900" b="0" i="0">
                <a:latin typeface="Avenir Next LT Pro" panose="020B0504020202020204" pitchFamily="34" charset="77"/>
              </a:defRPr>
            </a:lvl4pPr>
            <a:lvl5pPr marL="1828800" indent="0">
              <a:buNone/>
              <a:defRPr sz="900" b="0" i="0">
                <a:latin typeface="Avenir Next LT Pro" panose="020B0504020202020204" pitchFamily="34" charset="77"/>
              </a:defRPr>
            </a:lvl5pPr>
          </a:lstStyle>
          <a:p>
            <a:pPr lvl="0"/>
            <a:r>
              <a:rPr lang="it-IT" dirty="0"/>
              <a:t>1. Fare clic per modificare le note 2. Fare clic per modificare le note 3. Fare clic per modificare le note </a:t>
            </a:r>
          </a:p>
        </p:txBody>
      </p:sp>
      <p:grpSp>
        <p:nvGrpSpPr>
          <p:cNvPr id="3" name="Gruppo 2">
            <a:extLst>
              <a:ext uri="{FF2B5EF4-FFF2-40B4-BE49-F238E27FC236}">
                <a16:creationId xmlns:a16="http://schemas.microsoft.com/office/drawing/2014/main" id="{E21151D6-4C81-4291-A326-8F10FC710FFD}"/>
              </a:ext>
            </a:extLst>
          </p:cNvPr>
          <p:cNvGrpSpPr/>
          <p:nvPr/>
        </p:nvGrpSpPr>
        <p:grpSpPr>
          <a:xfrm>
            <a:off x="633940" y="1509967"/>
            <a:ext cx="756000" cy="756000"/>
            <a:chOff x="633940" y="1509967"/>
            <a:chExt cx="756000" cy="756000"/>
          </a:xfrm>
        </p:grpSpPr>
        <p:sp>
          <p:nvSpPr>
            <p:cNvPr id="38" name="object 46">
              <a:extLst>
                <a:ext uri="{FF2B5EF4-FFF2-40B4-BE49-F238E27FC236}">
                  <a16:creationId xmlns:a16="http://schemas.microsoft.com/office/drawing/2014/main" id="{1A31036D-EA7B-4D3A-ABB2-BD0C250E805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33940" y="1509967"/>
              <a:ext cx="756000" cy="756000"/>
            </a:xfrm>
            <a:custGeom>
              <a:avLst/>
              <a:gdLst/>
              <a:ahLst/>
              <a:cxnLst/>
              <a:rect l="l" t="t" r="r" b="b"/>
              <a:pathLst>
                <a:path w="1009650" h="1009650">
                  <a:moveTo>
                    <a:pt x="1009637" y="504825"/>
                  </a:moveTo>
                  <a:lnTo>
                    <a:pt x="1007326" y="553440"/>
                  </a:lnTo>
                  <a:lnTo>
                    <a:pt x="1000534" y="600748"/>
                  </a:lnTo>
                  <a:lnTo>
                    <a:pt x="989474" y="646537"/>
                  </a:lnTo>
                  <a:lnTo>
                    <a:pt x="974355" y="690596"/>
                  </a:lnTo>
                  <a:lnTo>
                    <a:pt x="955391" y="732714"/>
                  </a:lnTo>
                  <a:lnTo>
                    <a:pt x="932791" y="772678"/>
                  </a:lnTo>
                  <a:lnTo>
                    <a:pt x="906769" y="810276"/>
                  </a:lnTo>
                  <a:lnTo>
                    <a:pt x="877535" y="845298"/>
                  </a:lnTo>
                  <a:lnTo>
                    <a:pt x="845302" y="877532"/>
                  </a:lnTo>
                  <a:lnTo>
                    <a:pt x="810279" y="906766"/>
                  </a:lnTo>
                  <a:lnTo>
                    <a:pt x="772680" y="932789"/>
                  </a:lnTo>
                  <a:lnTo>
                    <a:pt x="732715" y="955389"/>
                  </a:lnTo>
                  <a:lnTo>
                    <a:pt x="690596" y="974354"/>
                  </a:lnTo>
                  <a:lnTo>
                    <a:pt x="646535" y="989473"/>
                  </a:lnTo>
                  <a:lnTo>
                    <a:pt x="600743" y="1000534"/>
                  </a:lnTo>
                  <a:lnTo>
                    <a:pt x="553431" y="1007326"/>
                  </a:lnTo>
                  <a:lnTo>
                    <a:pt x="504812" y="1009637"/>
                  </a:lnTo>
                  <a:lnTo>
                    <a:pt x="456197" y="1007326"/>
                  </a:lnTo>
                  <a:lnTo>
                    <a:pt x="408888" y="1000534"/>
                  </a:lnTo>
                  <a:lnTo>
                    <a:pt x="363099" y="989473"/>
                  </a:lnTo>
                  <a:lnTo>
                    <a:pt x="319040" y="974354"/>
                  </a:lnTo>
                  <a:lnTo>
                    <a:pt x="276923" y="955389"/>
                  </a:lnTo>
                  <a:lnTo>
                    <a:pt x="236959" y="932789"/>
                  </a:lnTo>
                  <a:lnTo>
                    <a:pt x="199360" y="906766"/>
                  </a:lnTo>
                  <a:lnTo>
                    <a:pt x="164338" y="877532"/>
                  </a:lnTo>
                  <a:lnTo>
                    <a:pt x="132104" y="845298"/>
                  </a:lnTo>
                  <a:lnTo>
                    <a:pt x="102870" y="810276"/>
                  </a:lnTo>
                  <a:lnTo>
                    <a:pt x="76847" y="772678"/>
                  </a:lnTo>
                  <a:lnTo>
                    <a:pt x="54248" y="732714"/>
                  </a:lnTo>
                  <a:lnTo>
                    <a:pt x="35283" y="690596"/>
                  </a:lnTo>
                  <a:lnTo>
                    <a:pt x="20164" y="646537"/>
                  </a:lnTo>
                  <a:lnTo>
                    <a:pt x="9102" y="600748"/>
                  </a:lnTo>
                  <a:lnTo>
                    <a:pt x="2310" y="553440"/>
                  </a:lnTo>
                  <a:lnTo>
                    <a:pt x="0" y="504825"/>
                  </a:lnTo>
                  <a:lnTo>
                    <a:pt x="2310" y="456207"/>
                  </a:lnTo>
                  <a:lnTo>
                    <a:pt x="9102" y="408897"/>
                  </a:lnTo>
                  <a:lnTo>
                    <a:pt x="20164" y="363106"/>
                  </a:lnTo>
                  <a:lnTo>
                    <a:pt x="35283" y="319045"/>
                  </a:lnTo>
                  <a:lnTo>
                    <a:pt x="54248" y="276927"/>
                  </a:lnTo>
                  <a:lnTo>
                    <a:pt x="76847" y="236962"/>
                  </a:lnTo>
                  <a:lnTo>
                    <a:pt x="102870" y="199363"/>
                  </a:lnTo>
                  <a:lnTo>
                    <a:pt x="132104" y="164340"/>
                  </a:lnTo>
                  <a:lnTo>
                    <a:pt x="164338" y="132105"/>
                  </a:lnTo>
                  <a:lnTo>
                    <a:pt x="199360" y="102871"/>
                  </a:lnTo>
                  <a:lnTo>
                    <a:pt x="236959" y="76848"/>
                  </a:lnTo>
                  <a:lnTo>
                    <a:pt x="276923" y="54248"/>
                  </a:lnTo>
                  <a:lnTo>
                    <a:pt x="319040" y="35283"/>
                  </a:lnTo>
                  <a:lnTo>
                    <a:pt x="363099" y="20164"/>
                  </a:lnTo>
                  <a:lnTo>
                    <a:pt x="408888" y="9102"/>
                  </a:lnTo>
                  <a:lnTo>
                    <a:pt x="456197" y="2310"/>
                  </a:lnTo>
                  <a:lnTo>
                    <a:pt x="504812" y="0"/>
                  </a:lnTo>
                  <a:lnTo>
                    <a:pt x="553431" y="2310"/>
                  </a:lnTo>
                  <a:lnTo>
                    <a:pt x="600743" y="9102"/>
                  </a:lnTo>
                  <a:lnTo>
                    <a:pt x="646535" y="20164"/>
                  </a:lnTo>
                  <a:lnTo>
                    <a:pt x="690596" y="35283"/>
                  </a:lnTo>
                  <a:lnTo>
                    <a:pt x="732715" y="54248"/>
                  </a:lnTo>
                  <a:lnTo>
                    <a:pt x="772680" y="76848"/>
                  </a:lnTo>
                  <a:lnTo>
                    <a:pt x="810279" y="102871"/>
                  </a:lnTo>
                  <a:lnTo>
                    <a:pt x="845302" y="132105"/>
                  </a:lnTo>
                  <a:lnTo>
                    <a:pt x="877535" y="164340"/>
                  </a:lnTo>
                  <a:lnTo>
                    <a:pt x="906769" y="199363"/>
                  </a:lnTo>
                  <a:lnTo>
                    <a:pt x="932791" y="236962"/>
                  </a:lnTo>
                  <a:lnTo>
                    <a:pt x="955391" y="276927"/>
                  </a:lnTo>
                  <a:lnTo>
                    <a:pt x="974355" y="319045"/>
                  </a:lnTo>
                  <a:lnTo>
                    <a:pt x="989474" y="363106"/>
                  </a:lnTo>
                  <a:lnTo>
                    <a:pt x="1000534" y="408897"/>
                  </a:lnTo>
                  <a:lnTo>
                    <a:pt x="1007326" y="456207"/>
                  </a:lnTo>
                  <a:lnTo>
                    <a:pt x="1009637" y="504825"/>
                  </a:lnTo>
                  <a:close/>
                </a:path>
              </a:pathLst>
            </a:custGeom>
            <a:solidFill>
              <a:schemeClr val="bg1"/>
            </a:solidFill>
            <a:ln w="12700">
              <a:solidFill>
                <a:srgbClr val="0046BA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3B3B3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" name="object 47">
              <a:extLst>
                <a:ext uri="{FF2B5EF4-FFF2-40B4-BE49-F238E27FC236}">
                  <a16:creationId xmlns:a16="http://schemas.microsoft.com/office/drawing/2014/main" id="{B5C934CC-BE9A-47FC-80BA-9E7FC344FDEB}"/>
                </a:ext>
              </a:extLst>
            </p:cNvPr>
            <p:cNvSpPr/>
            <p:nvPr/>
          </p:nvSpPr>
          <p:spPr>
            <a:xfrm>
              <a:off x="687940" y="1563967"/>
              <a:ext cx="648000" cy="648000"/>
            </a:xfrm>
            <a:custGeom>
              <a:avLst/>
              <a:gdLst/>
              <a:ahLst/>
              <a:cxnLst/>
              <a:rect l="l" t="t" r="r" b="b"/>
              <a:pathLst>
                <a:path w="836294" h="836294">
                  <a:moveTo>
                    <a:pt x="417944" y="0"/>
                  </a:moveTo>
                  <a:lnTo>
                    <a:pt x="369203" y="2811"/>
                  </a:lnTo>
                  <a:lnTo>
                    <a:pt x="322114" y="11038"/>
                  </a:lnTo>
                  <a:lnTo>
                    <a:pt x="276989" y="24365"/>
                  </a:lnTo>
                  <a:lnTo>
                    <a:pt x="234143" y="42480"/>
                  </a:lnTo>
                  <a:lnTo>
                    <a:pt x="193890" y="65069"/>
                  </a:lnTo>
                  <a:lnTo>
                    <a:pt x="156542" y="91818"/>
                  </a:lnTo>
                  <a:lnTo>
                    <a:pt x="122413" y="122413"/>
                  </a:lnTo>
                  <a:lnTo>
                    <a:pt x="91818" y="156542"/>
                  </a:lnTo>
                  <a:lnTo>
                    <a:pt x="65069" y="193890"/>
                  </a:lnTo>
                  <a:lnTo>
                    <a:pt x="42480" y="234143"/>
                  </a:lnTo>
                  <a:lnTo>
                    <a:pt x="24365" y="276989"/>
                  </a:lnTo>
                  <a:lnTo>
                    <a:pt x="11038" y="322114"/>
                  </a:lnTo>
                  <a:lnTo>
                    <a:pt x="2811" y="369203"/>
                  </a:lnTo>
                  <a:lnTo>
                    <a:pt x="0" y="417944"/>
                  </a:lnTo>
                  <a:lnTo>
                    <a:pt x="2811" y="466685"/>
                  </a:lnTo>
                  <a:lnTo>
                    <a:pt x="11038" y="513774"/>
                  </a:lnTo>
                  <a:lnTo>
                    <a:pt x="24365" y="558898"/>
                  </a:lnTo>
                  <a:lnTo>
                    <a:pt x="42480" y="601744"/>
                  </a:lnTo>
                  <a:lnTo>
                    <a:pt x="65069" y="641998"/>
                  </a:lnTo>
                  <a:lnTo>
                    <a:pt x="91818" y="679346"/>
                  </a:lnTo>
                  <a:lnTo>
                    <a:pt x="122413" y="713474"/>
                  </a:lnTo>
                  <a:lnTo>
                    <a:pt x="156542" y="744070"/>
                  </a:lnTo>
                  <a:lnTo>
                    <a:pt x="193890" y="770819"/>
                  </a:lnTo>
                  <a:lnTo>
                    <a:pt x="234143" y="793407"/>
                  </a:lnTo>
                  <a:lnTo>
                    <a:pt x="276989" y="811522"/>
                  </a:lnTo>
                  <a:lnTo>
                    <a:pt x="322114" y="824850"/>
                  </a:lnTo>
                  <a:lnTo>
                    <a:pt x="369203" y="833076"/>
                  </a:lnTo>
                  <a:lnTo>
                    <a:pt x="417944" y="835888"/>
                  </a:lnTo>
                  <a:lnTo>
                    <a:pt x="466685" y="833076"/>
                  </a:lnTo>
                  <a:lnTo>
                    <a:pt x="513774" y="824850"/>
                  </a:lnTo>
                  <a:lnTo>
                    <a:pt x="558898" y="811522"/>
                  </a:lnTo>
                  <a:lnTo>
                    <a:pt x="601744" y="793407"/>
                  </a:lnTo>
                  <a:lnTo>
                    <a:pt x="641998" y="770819"/>
                  </a:lnTo>
                  <a:lnTo>
                    <a:pt x="679346" y="744070"/>
                  </a:lnTo>
                  <a:lnTo>
                    <a:pt x="713474" y="713474"/>
                  </a:lnTo>
                  <a:lnTo>
                    <a:pt x="744070" y="679346"/>
                  </a:lnTo>
                  <a:lnTo>
                    <a:pt x="770819" y="641998"/>
                  </a:lnTo>
                  <a:lnTo>
                    <a:pt x="793407" y="601744"/>
                  </a:lnTo>
                  <a:lnTo>
                    <a:pt x="811522" y="558898"/>
                  </a:lnTo>
                  <a:lnTo>
                    <a:pt x="824850" y="513774"/>
                  </a:lnTo>
                  <a:lnTo>
                    <a:pt x="833076" y="466685"/>
                  </a:lnTo>
                  <a:lnTo>
                    <a:pt x="835888" y="417944"/>
                  </a:lnTo>
                  <a:lnTo>
                    <a:pt x="833076" y="369203"/>
                  </a:lnTo>
                  <a:lnTo>
                    <a:pt x="824850" y="322114"/>
                  </a:lnTo>
                  <a:lnTo>
                    <a:pt x="811522" y="276989"/>
                  </a:lnTo>
                  <a:lnTo>
                    <a:pt x="793407" y="234143"/>
                  </a:lnTo>
                  <a:lnTo>
                    <a:pt x="770819" y="193890"/>
                  </a:lnTo>
                  <a:lnTo>
                    <a:pt x="744070" y="156542"/>
                  </a:lnTo>
                  <a:lnTo>
                    <a:pt x="713474" y="122413"/>
                  </a:lnTo>
                  <a:lnTo>
                    <a:pt x="679346" y="91818"/>
                  </a:lnTo>
                  <a:lnTo>
                    <a:pt x="641998" y="65069"/>
                  </a:lnTo>
                  <a:lnTo>
                    <a:pt x="601744" y="42480"/>
                  </a:lnTo>
                  <a:lnTo>
                    <a:pt x="558898" y="24365"/>
                  </a:lnTo>
                  <a:lnTo>
                    <a:pt x="513774" y="11038"/>
                  </a:lnTo>
                  <a:lnTo>
                    <a:pt x="466685" y="2811"/>
                  </a:lnTo>
                  <a:lnTo>
                    <a:pt x="417944" y="0"/>
                  </a:lnTo>
                  <a:close/>
                </a:path>
              </a:pathLst>
            </a:custGeom>
            <a:solidFill>
              <a:srgbClr val="EEDC00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srgbClr val="3B3B3A"/>
                </a:solidFill>
                <a:effectLst/>
                <a:uLnTx/>
                <a:uFillTx/>
                <a:latin typeface="Avenir Next LT Pro" panose="020B0504020202020204" pitchFamily="34" charset="77"/>
                <a:ea typeface="+mn-ea"/>
                <a:cs typeface="+mn-cs"/>
              </a:endParaRPr>
            </a:p>
          </p:txBody>
        </p:sp>
      </p:grpSp>
      <p:cxnSp>
        <p:nvCxnSpPr>
          <p:cNvPr id="41" name="Connettore 1 46">
            <a:extLst>
              <a:ext uri="{FF2B5EF4-FFF2-40B4-BE49-F238E27FC236}">
                <a16:creationId xmlns:a16="http://schemas.microsoft.com/office/drawing/2014/main" id="{03956D96-28CC-49C4-A88E-667F0657136E}"/>
              </a:ext>
            </a:extLst>
          </p:cNvPr>
          <p:cNvCxnSpPr>
            <a:cxnSpLocks/>
          </p:cNvCxnSpPr>
          <p:nvPr/>
        </p:nvCxnSpPr>
        <p:spPr>
          <a:xfrm>
            <a:off x="1395006" y="1889852"/>
            <a:ext cx="4140000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Segnaposto testo 46">
            <a:extLst>
              <a:ext uri="{FF2B5EF4-FFF2-40B4-BE49-F238E27FC236}">
                <a16:creationId xmlns:a16="http://schemas.microsoft.com/office/drawing/2014/main" id="{00BC452B-C9F6-486C-8B6F-1CA1B2145E8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457282" y="1158675"/>
            <a:ext cx="4140000" cy="746498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 b="0" i="0">
                <a:solidFill>
                  <a:srgbClr val="0047BB"/>
                </a:solidFill>
                <a:latin typeface="Avenir Next LT Pro" panose="020B0504020202020204" pitchFamily="34" charset="77"/>
              </a:defRPr>
            </a:lvl1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32" name="Segnaposto contenuto 3">
            <a:extLst>
              <a:ext uri="{FF2B5EF4-FFF2-40B4-BE49-F238E27FC236}">
                <a16:creationId xmlns:a16="http://schemas.microsoft.com/office/drawing/2014/main" id="{9B1DE1F4-2F5D-4F85-8318-DB305988E7AB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232694" y="2355971"/>
            <a:ext cx="3672586" cy="3558143"/>
          </a:xfrm>
          <a:prstGeom prst="rect">
            <a:avLst/>
          </a:prstGeom>
        </p:spPr>
        <p:txBody>
          <a:bodyPr lIns="144000" tIns="144000" rIns="144000" bIns="144000"/>
          <a:lstStyle>
            <a:lvl1pPr marL="0" indent="0">
              <a:buClr>
                <a:schemeClr val="accent2"/>
              </a:buClr>
              <a:buFont typeface="Font di sistema regolare"/>
              <a:buNone/>
              <a:defRPr sz="1400">
                <a:solidFill>
                  <a:schemeClr val="tx1"/>
                </a:solidFill>
              </a:defRPr>
            </a:lvl1pPr>
            <a:lvl2pPr marL="457200" indent="0">
              <a:buClr>
                <a:schemeClr val="accent2"/>
              </a:buClr>
              <a:buFont typeface="Font di sistema regolare"/>
              <a:buNone/>
              <a:defRPr sz="1400">
                <a:solidFill>
                  <a:schemeClr val="tx1"/>
                </a:solidFill>
              </a:defRPr>
            </a:lvl2pPr>
            <a:lvl3pPr marL="914400" indent="0">
              <a:buClr>
                <a:schemeClr val="accent2"/>
              </a:buClr>
              <a:buFont typeface="Font di sistema regolare"/>
              <a:buNone/>
              <a:defRPr sz="1400">
                <a:solidFill>
                  <a:schemeClr val="tx1"/>
                </a:solidFill>
              </a:defRPr>
            </a:lvl3pPr>
            <a:lvl4pPr marL="1371600" indent="0">
              <a:buClr>
                <a:schemeClr val="accent2"/>
              </a:buClr>
              <a:buFont typeface="Font di sistema regolare"/>
              <a:buNone/>
              <a:defRPr sz="1400">
                <a:solidFill>
                  <a:schemeClr val="tx1"/>
                </a:solidFill>
              </a:defRPr>
            </a:lvl4pPr>
            <a:lvl5pPr marL="1828800" indent="0">
              <a:buClr>
                <a:schemeClr val="accent2"/>
              </a:buClr>
              <a:buFont typeface="Font di sistema regolare"/>
              <a:buNone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it-IT" dirty="0"/>
              <a:t>Inserimento testo, grafico, tabella o altro</a:t>
            </a:r>
          </a:p>
        </p:txBody>
      </p:sp>
      <p:sp>
        <p:nvSpPr>
          <p:cNvPr id="35" name="Segnaposto contenuto 3">
            <a:extLst>
              <a:ext uri="{FF2B5EF4-FFF2-40B4-BE49-F238E27FC236}">
                <a16:creationId xmlns:a16="http://schemas.microsoft.com/office/drawing/2014/main" id="{D53191BF-29FC-4AEB-BC06-569EAB55EBE5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515938" y="2355971"/>
            <a:ext cx="3716756" cy="3558143"/>
          </a:xfrm>
          <a:prstGeom prst="rect">
            <a:avLst/>
          </a:prstGeom>
        </p:spPr>
        <p:txBody>
          <a:bodyPr lIns="144000" tIns="144000" rIns="144000" bIns="144000"/>
          <a:lstStyle>
            <a:lvl1pPr marL="0" indent="0">
              <a:buClr>
                <a:schemeClr val="accent2"/>
              </a:buClr>
              <a:buFont typeface="Font di sistema regolare"/>
              <a:buNone/>
              <a:defRPr sz="1400">
                <a:solidFill>
                  <a:schemeClr val="tx1"/>
                </a:solidFill>
              </a:defRPr>
            </a:lvl1pPr>
            <a:lvl2pPr marL="457200" indent="0">
              <a:buClr>
                <a:schemeClr val="accent2"/>
              </a:buClr>
              <a:buFont typeface="Font di sistema regolare"/>
              <a:buNone/>
              <a:defRPr sz="1400">
                <a:solidFill>
                  <a:schemeClr val="tx1"/>
                </a:solidFill>
              </a:defRPr>
            </a:lvl2pPr>
            <a:lvl3pPr marL="914400" indent="0">
              <a:buClr>
                <a:schemeClr val="accent2"/>
              </a:buClr>
              <a:buFont typeface="Font di sistema regolare"/>
              <a:buNone/>
              <a:defRPr sz="1400">
                <a:solidFill>
                  <a:schemeClr val="tx1"/>
                </a:solidFill>
              </a:defRPr>
            </a:lvl3pPr>
            <a:lvl4pPr marL="1371600" indent="0">
              <a:buClr>
                <a:schemeClr val="accent2"/>
              </a:buClr>
              <a:buFont typeface="Font di sistema regolare"/>
              <a:buNone/>
              <a:defRPr sz="1400">
                <a:solidFill>
                  <a:schemeClr val="tx1"/>
                </a:solidFill>
              </a:defRPr>
            </a:lvl4pPr>
            <a:lvl5pPr marL="1828800" indent="0">
              <a:buClr>
                <a:schemeClr val="accent2"/>
              </a:buClr>
              <a:buFont typeface="Font di sistema regolare"/>
              <a:buNone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it-IT" dirty="0"/>
              <a:t>Inserimento testo, grafico, tabella o altro</a:t>
            </a:r>
          </a:p>
        </p:txBody>
      </p:sp>
      <p:sp>
        <p:nvSpPr>
          <p:cNvPr id="43" name="Segnaposto contenuto 3">
            <a:extLst>
              <a:ext uri="{FF2B5EF4-FFF2-40B4-BE49-F238E27FC236}">
                <a16:creationId xmlns:a16="http://schemas.microsoft.com/office/drawing/2014/main" id="{2B22FB29-224C-4DAC-903B-C39FB1822A01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915553" y="2355971"/>
            <a:ext cx="3726611" cy="3558143"/>
          </a:xfrm>
          <a:prstGeom prst="rect">
            <a:avLst/>
          </a:prstGeom>
        </p:spPr>
        <p:txBody>
          <a:bodyPr lIns="144000" tIns="144000" rIns="144000" bIns="144000"/>
          <a:lstStyle>
            <a:lvl1pPr marL="0" indent="0">
              <a:buClr>
                <a:schemeClr val="accent2"/>
              </a:buClr>
              <a:buFont typeface="Font di sistema regolare"/>
              <a:buNone/>
              <a:defRPr sz="1400">
                <a:solidFill>
                  <a:schemeClr val="tx1"/>
                </a:solidFill>
              </a:defRPr>
            </a:lvl1pPr>
            <a:lvl2pPr marL="457200" indent="0">
              <a:buClr>
                <a:schemeClr val="accent2"/>
              </a:buClr>
              <a:buFont typeface="Font di sistema regolare"/>
              <a:buNone/>
              <a:defRPr sz="1400">
                <a:solidFill>
                  <a:schemeClr val="tx1"/>
                </a:solidFill>
              </a:defRPr>
            </a:lvl2pPr>
            <a:lvl3pPr marL="914400" indent="0">
              <a:buClr>
                <a:schemeClr val="accent2"/>
              </a:buClr>
              <a:buFont typeface="Font di sistema regolare"/>
              <a:buNone/>
              <a:defRPr sz="1400">
                <a:solidFill>
                  <a:schemeClr val="tx1"/>
                </a:solidFill>
              </a:defRPr>
            </a:lvl3pPr>
            <a:lvl4pPr marL="1371600" indent="0">
              <a:buClr>
                <a:schemeClr val="accent2"/>
              </a:buClr>
              <a:buFont typeface="Font di sistema regolare"/>
              <a:buNone/>
              <a:defRPr sz="1400">
                <a:solidFill>
                  <a:schemeClr val="tx1"/>
                </a:solidFill>
              </a:defRPr>
            </a:lvl4pPr>
            <a:lvl5pPr marL="1828800" indent="0">
              <a:buClr>
                <a:schemeClr val="accent2"/>
              </a:buClr>
              <a:buFont typeface="Font di sistema regolare"/>
              <a:buNone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it-IT" dirty="0"/>
              <a:t>Inserimento testo, grafico, tabella o altro</a:t>
            </a:r>
          </a:p>
        </p:txBody>
      </p:sp>
      <p:sp>
        <p:nvSpPr>
          <p:cNvPr id="33" name="bg object 16">
            <a:extLst>
              <a:ext uri="{FF2B5EF4-FFF2-40B4-BE49-F238E27FC236}">
                <a16:creationId xmlns:a16="http://schemas.microsoft.com/office/drawing/2014/main" id="{2AB0689B-E316-D14D-B6E7-F01F07E13E16}"/>
              </a:ext>
            </a:extLst>
          </p:cNvPr>
          <p:cNvSpPr/>
          <p:nvPr/>
        </p:nvSpPr>
        <p:spPr>
          <a:xfrm>
            <a:off x="11330381" y="6448615"/>
            <a:ext cx="311785" cy="410845"/>
          </a:xfrm>
          <a:custGeom>
            <a:avLst/>
            <a:gdLst/>
            <a:ahLst/>
            <a:cxnLst/>
            <a:rect l="l" t="t" r="r" b="b"/>
            <a:pathLst>
              <a:path w="311784" h="410845">
                <a:moveTo>
                  <a:pt x="311645" y="0"/>
                </a:moveTo>
                <a:lnTo>
                  <a:pt x="0" y="0"/>
                </a:lnTo>
                <a:lnTo>
                  <a:pt x="0" y="410438"/>
                </a:lnTo>
                <a:lnTo>
                  <a:pt x="311645" y="410438"/>
                </a:lnTo>
                <a:lnTo>
                  <a:pt x="311645" y="0"/>
                </a:lnTo>
                <a:close/>
              </a:path>
            </a:pathLst>
          </a:custGeom>
          <a:solidFill>
            <a:srgbClr val="0047B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4" name="Holder 7">
            <a:extLst>
              <a:ext uri="{FF2B5EF4-FFF2-40B4-BE49-F238E27FC236}">
                <a16:creationId xmlns:a16="http://schemas.microsoft.com/office/drawing/2014/main" id="{8BE73BAA-1D9A-4E49-B9AE-8C6732A65AB7}"/>
              </a:ext>
            </a:extLst>
          </p:cNvPr>
          <p:cNvSpPr txBox="1">
            <a:spLocks/>
          </p:cNvSpPr>
          <p:nvPr/>
        </p:nvSpPr>
        <p:spPr>
          <a:xfrm>
            <a:off x="11342726" y="6520516"/>
            <a:ext cx="256044" cy="16158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it-IT"/>
            </a:defPPr>
            <a:lvl1pPr marL="0" algn="l" defTabSz="914400" rtl="0" eaLnBrk="1" latinLnBrk="0" hangingPunct="1">
              <a:defRPr sz="850" b="1" i="0" kern="1200">
                <a:solidFill>
                  <a:schemeClr val="bg1"/>
                </a:solidFill>
                <a:latin typeface="Verdana"/>
                <a:ea typeface="+mn-ea"/>
                <a:cs typeface="Verdana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8100" algn="ctr">
              <a:spcBef>
                <a:spcPts val="105"/>
              </a:spcBef>
            </a:pPr>
            <a:fld id="{81D60167-4931-47E6-BA6A-407CBD079E47}" type="slidenum">
              <a:rPr lang="it-IT" sz="1050" b="0" i="0" spc="5" smtClean="0">
                <a:latin typeface="Avenir Next LT Pro" pitchFamily="2" charset="0"/>
              </a:rPr>
              <a:pPr marL="38100" algn="ctr">
                <a:spcBef>
                  <a:spcPts val="105"/>
                </a:spcBef>
              </a:pPr>
              <a:t>‹N›</a:t>
            </a:fld>
            <a:endParaRPr lang="it-IT" sz="1050" b="0" i="0" spc="5" dirty="0">
              <a:latin typeface="Avenir Next LT Pro" pitchFamily="2" charset="0"/>
            </a:endParaRPr>
          </a:p>
        </p:txBody>
      </p:sp>
      <p:sp>
        <p:nvSpPr>
          <p:cNvPr id="46" name="Triangolo isoscele 16">
            <a:extLst>
              <a:ext uri="{FF2B5EF4-FFF2-40B4-BE49-F238E27FC236}">
                <a16:creationId xmlns:a16="http://schemas.microsoft.com/office/drawing/2014/main" id="{F9070356-4F5F-3C4D-A709-6D8031AD5FB9}"/>
              </a:ext>
            </a:extLst>
          </p:cNvPr>
          <p:cNvSpPr/>
          <p:nvPr/>
        </p:nvSpPr>
        <p:spPr>
          <a:xfrm rot="10800000">
            <a:off x="303127" y="-324737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47" name="Triangolo isoscele 17">
            <a:extLst>
              <a:ext uri="{FF2B5EF4-FFF2-40B4-BE49-F238E27FC236}">
                <a16:creationId xmlns:a16="http://schemas.microsoft.com/office/drawing/2014/main" id="{2D7A1CF9-2BB6-CC4F-AA24-1DEDCB3DD505}"/>
              </a:ext>
            </a:extLst>
          </p:cNvPr>
          <p:cNvSpPr/>
          <p:nvPr/>
        </p:nvSpPr>
        <p:spPr>
          <a:xfrm rot="10800000">
            <a:off x="11756536" y="-324737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48" name="Triangolo isoscele 18">
            <a:extLst>
              <a:ext uri="{FF2B5EF4-FFF2-40B4-BE49-F238E27FC236}">
                <a16:creationId xmlns:a16="http://schemas.microsoft.com/office/drawing/2014/main" id="{6025D232-E265-DD43-83F2-D73B41E5BBD3}"/>
              </a:ext>
            </a:extLst>
          </p:cNvPr>
          <p:cNvSpPr/>
          <p:nvPr/>
        </p:nvSpPr>
        <p:spPr>
          <a:xfrm>
            <a:off x="303127" y="6950754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49" name="Triangolo isoscele 19">
            <a:extLst>
              <a:ext uri="{FF2B5EF4-FFF2-40B4-BE49-F238E27FC236}">
                <a16:creationId xmlns:a16="http://schemas.microsoft.com/office/drawing/2014/main" id="{99C34D48-6E41-B34D-BB77-4CFD75A9CBFF}"/>
              </a:ext>
            </a:extLst>
          </p:cNvPr>
          <p:cNvSpPr/>
          <p:nvPr/>
        </p:nvSpPr>
        <p:spPr>
          <a:xfrm>
            <a:off x="11756536" y="6950754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50" name="Triangolo isoscele 20">
            <a:extLst>
              <a:ext uri="{FF2B5EF4-FFF2-40B4-BE49-F238E27FC236}">
                <a16:creationId xmlns:a16="http://schemas.microsoft.com/office/drawing/2014/main" id="{64811D88-C61C-574A-A161-0BE7649E2D4D}"/>
              </a:ext>
            </a:extLst>
          </p:cNvPr>
          <p:cNvSpPr/>
          <p:nvPr/>
        </p:nvSpPr>
        <p:spPr>
          <a:xfrm rot="5400000">
            <a:off x="-276040" y="885372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51" name="Triangolo isoscele 21">
            <a:extLst>
              <a:ext uri="{FF2B5EF4-FFF2-40B4-BE49-F238E27FC236}">
                <a16:creationId xmlns:a16="http://schemas.microsoft.com/office/drawing/2014/main" id="{753B81BE-AF77-A34C-92EE-867933D695E5}"/>
              </a:ext>
            </a:extLst>
          </p:cNvPr>
          <p:cNvSpPr/>
          <p:nvPr/>
        </p:nvSpPr>
        <p:spPr>
          <a:xfrm rot="5400000">
            <a:off x="-276039" y="5982836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52" name="Triangolo isoscele 22">
            <a:extLst>
              <a:ext uri="{FF2B5EF4-FFF2-40B4-BE49-F238E27FC236}">
                <a16:creationId xmlns:a16="http://schemas.microsoft.com/office/drawing/2014/main" id="{0CFD34F3-0A86-274B-87BA-F1F623C6448F}"/>
              </a:ext>
            </a:extLst>
          </p:cNvPr>
          <p:cNvSpPr/>
          <p:nvPr/>
        </p:nvSpPr>
        <p:spPr>
          <a:xfrm rot="16200000">
            <a:off x="12331119" y="885372"/>
            <a:ext cx="132336" cy="261257"/>
          </a:xfrm>
          <a:prstGeom prst="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53" name="Triangolo isoscele 23">
            <a:extLst>
              <a:ext uri="{FF2B5EF4-FFF2-40B4-BE49-F238E27FC236}">
                <a16:creationId xmlns:a16="http://schemas.microsoft.com/office/drawing/2014/main" id="{7EDA25E0-F5CF-E144-8BA0-F88FA278CFCC}"/>
              </a:ext>
            </a:extLst>
          </p:cNvPr>
          <p:cNvSpPr/>
          <p:nvPr/>
        </p:nvSpPr>
        <p:spPr>
          <a:xfrm rot="16200000">
            <a:off x="12331120" y="5982836"/>
            <a:ext cx="132336" cy="261257"/>
          </a:xfrm>
          <a:prstGeom prst="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54" name="Triangolo isoscele 31">
            <a:extLst>
              <a:ext uri="{FF2B5EF4-FFF2-40B4-BE49-F238E27FC236}">
                <a16:creationId xmlns:a16="http://schemas.microsoft.com/office/drawing/2014/main" id="{50838BC1-12F5-744D-917C-AE9A06199E99}"/>
              </a:ext>
            </a:extLst>
          </p:cNvPr>
          <p:cNvSpPr/>
          <p:nvPr/>
        </p:nvSpPr>
        <p:spPr>
          <a:xfrm rot="10800000">
            <a:off x="303127" y="-324737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55" name="Triangolo isoscele 32">
            <a:extLst>
              <a:ext uri="{FF2B5EF4-FFF2-40B4-BE49-F238E27FC236}">
                <a16:creationId xmlns:a16="http://schemas.microsoft.com/office/drawing/2014/main" id="{7FD12B96-ABC6-854C-88F5-A5AEB4A15FD2}"/>
              </a:ext>
            </a:extLst>
          </p:cNvPr>
          <p:cNvSpPr/>
          <p:nvPr/>
        </p:nvSpPr>
        <p:spPr>
          <a:xfrm rot="10800000">
            <a:off x="11756536" y="-324737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56" name="Triangolo isoscele 33">
            <a:extLst>
              <a:ext uri="{FF2B5EF4-FFF2-40B4-BE49-F238E27FC236}">
                <a16:creationId xmlns:a16="http://schemas.microsoft.com/office/drawing/2014/main" id="{8CED5C54-CECF-9C4E-968A-2AD315960CE7}"/>
              </a:ext>
            </a:extLst>
          </p:cNvPr>
          <p:cNvSpPr/>
          <p:nvPr/>
        </p:nvSpPr>
        <p:spPr>
          <a:xfrm>
            <a:off x="303127" y="6950754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57" name="Triangolo isoscele 34">
            <a:extLst>
              <a:ext uri="{FF2B5EF4-FFF2-40B4-BE49-F238E27FC236}">
                <a16:creationId xmlns:a16="http://schemas.microsoft.com/office/drawing/2014/main" id="{CE6817C1-BD02-2B4B-B377-8E0E4349D391}"/>
              </a:ext>
            </a:extLst>
          </p:cNvPr>
          <p:cNvSpPr/>
          <p:nvPr/>
        </p:nvSpPr>
        <p:spPr>
          <a:xfrm>
            <a:off x="11756536" y="6950754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58" name="Triangolo isoscele 35">
            <a:extLst>
              <a:ext uri="{FF2B5EF4-FFF2-40B4-BE49-F238E27FC236}">
                <a16:creationId xmlns:a16="http://schemas.microsoft.com/office/drawing/2014/main" id="{0916314B-5C8A-5447-9D66-C030A1F74F02}"/>
              </a:ext>
            </a:extLst>
          </p:cNvPr>
          <p:cNvSpPr/>
          <p:nvPr/>
        </p:nvSpPr>
        <p:spPr>
          <a:xfrm rot="5400000">
            <a:off x="-276040" y="885372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59" name="Triangolo isoscele 36">
            <a:extLst>
              <a:ext uri="{FF2B5EF4-FFF2-40B4-BE49-F238E27FC236}">
                <a16:creationId xmlns:a16="http://schemas.microsoft.com/office/drawing/2014/main" id="{90F38C39-F956-FD41-966C-B780EDAD993F}"/>
              </a:ext>
            </a:extLst>
          </p:cNvPr>
          <p:cNvSpPr/>
          <p:nvPr/>
        </p:nvSpPr>
        <p:spPr>
          <a:xfrm rot="5400000">
            <a:off x="-276039" y="5982836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60" name="Triangolo isoscele 37">
            <a:extLst>
              <a:ext uri="{FF2B5EF4-FFF2-40B4-BE49-F238E27FC236}">
                <a16:creationId xmlns:a16="http://schemas.microsoft.com/office/drawing/2014/main" id="{55CDDC6B-DC83-5844-B66F-FD5D2B1BE208}"/>
              </a:ext>
            </a:extLst>
          </p:cNvPr>
          <p:cNvSpPr/>
          <p:nvPr/>
        </p:nvSpPr>
        <p:spPr>
          <a:xfrm rot="16200000">
            <a:off x="12331119" y="885372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61" name="Triangolo isoscele 38">
            <a:extLst>
              <a:ext uri="{FF2B5EF4-FFF2-40B4-BE49-F238E27FC236}">
                <a16:creationId xmlns:a16="http://schemas.microsoft.com/office/drawing/2014/main" id="{D5CCD770-37A7-3646-8985-0201D1ECF988}"/>
              </a:ext>
            </a:extLst>
          </p:cNvPr>
          <p:cNvSpPr/>
          <p:nvPr/>
        </p:nvSpPr>
        <p:spPr>
          <a:xfrm rot="16200000">
            <a:off x="12331120" y="5982836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pic>
        <p:nvPicPr>
          <p:cNvPr id="62" name="Elemento grafico 61">
            <a:extLst>
              <a:ext uri="{FF2B5EF4-FFF2-40B4-BE49-F238E27FC236}">
                <a16:creationId xmlns:a16="http://schemas.microsoft.com/office/drawing/2014/main" id="{88FE8CD8-C9BF-1240-B906-39433CD99B72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081892" y="-5080"/>
            <a:ext cx="1560273" cy="309880"/>
          </a:xfrm>
          <a:prstGeom prst="rect">
            <a:avLst/>
          </a:prstGeom>
        </p:spPr>
      </p:pic>
      <p:sp>
        <p:nvSpPr>
          <p:cNvPr id="63" name="object 267">
            <a:extLst>
              <a:ext uri="{FF2B5EF4-FFF2-40B4-BE49-F238E27FC236}">
                <a16:creationId xmlns:a16="http://schemas.microsoft.com/office/drawing/2014/main" id="{9EE2D8E3-920C-9348-87FA-5CE0D6DAFE5B}"/>
              </a:ext>
            </a:extLst>
          </p:cNvPr>
          <p:cNvSpPr/>
          <p:nvPr/>
        </p:nvSpPr>
        <p:spPr>
          <a:xfrm>
            <a:off x="0" y="1251482"/>
            <a:ext cx="675518" cy="45719"/>
          </a:xfrm>
          <a:custGeom>
            <a:avLst/>
            <a:gdLst/>
            <a:ahLst/>
            <a:cxnLst/>
            <a:rect l="l" t="t" r="r" b="b"/>
            <a:pathLst>
              <a:path w="657225">
                <a:moveTo>
                  <a:pt x="0" y="0"/>
                </a:moveTo>
                <a:lnTo>
                  <a:pt x="656678" y="0"/>
                </a:lnTo>
              </a:path>
            </a:pathLst>
          </a:custGeom>
          <a:ln w="76200">
            <a:solidFill>
              <a:srgbClr val="EEDC00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JhengHei UI Light" panose="020B0304030504040204" pitchFamily="34" charset="-120"/>
              <a:ea typeface="Microsoft JhengHei UI Light" panose="020B0304030504040204" pitchFamily="34" charset="-120"/>
              <a:cs typeface="+mn-cs"/>
            </a:endParaRPr>
          </a:p>
        </p:txBody>
      </p:sp>
      <p:grpSp>
        <p:nvGrpSpPr>
          <p:cNvPr id="64" name="Gruppo 63">
            <a:extLst>
              <a:ext uri="{FF2B5EF4-FFF2-40B4-BE49-F238E27FC236}">
                <a16:creationId xmlns:a16="http://schemas.microsoft.com/office/drawing/2014/main" id="{92EB6189-3C7E-7B4E-8655-CB411B053513}"/>
              </a:ext>
            </a:extLst>
          </p:cNvPr>
          <p:cNvGrpSpPr/>
          <p:nvPr/>
        </p:nvGrpSpPr>
        <p:grpSpPr>
          <a:xfrm>
            <a:off x="633940" y="1509967"/>
            <a:ext cx="756000" cy="756000"/>
            <a:chOff x="633940" y="1509967"/>
            <a:chExt cx="756000" cy="756000"/>
          </a:xfrm>
        </p:grpSpPr>
        <p:sp>
          <p:nvSpPr>
            <p:cNvPr id="65" name="object 46">
              <a:extLst>
                <a:ext uri="{FF2B5EF4-FFF2-40B4-BE49-F238E27FC236}">
                  <a16:creationId xmlns:a16="http://schemas.microsoft.com/office/drawing/2014/main" id="{DCD2B85A-6277-D24A-A04B-263474C2D965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33940" y="1509967"/>
              <a:ext cx="756000" cy="756000"/>
            </a:xfrm>
            <a:custGeom>
              <a:avLst/>
              <a:gdLst/>
              <a:ahLst/>
              <a:cxnLst/>
              <a:rect l="l" t="t" r="r" b="b"/>
              <a:pathLst>
                <a:path w="1009650" h="1009650">
                  <a:moveTo>
                    <a:pt x="1009637" y="504825"/>
                  </a:moveTo>
                  <a:lnTo>
                    <a:pt x="1007326" y="553440"/>
                  </a:lnTo>
                  <a:lnTo>
                    <a:pt x="1000534" y="600748"/>
                  </a:lnTo>
                  <a:lnTo>
                    <a:pt x="989474" y="646537"/>
                  </a:lnTo>
                  <a:lnTo>
                    <a:pt x="974355" y="690596"/>
                  </a:lnTo>
                  <a:lnTo>
                    <a:pt x="955391" y="732714"/>
                  </a:lnTo>
                  <a:lnTo>
                    <a:pt x="932791" y="772678"/>
                  </a:lnTo>
                  <a:lnTo>
                    <a:pt x="906769" y="810276"/>
                  </a:lnTo>
                  <a:lnTo>
                    <a:pt x="877535" y="845298"/>
                  </a:lnTo>
                  <a:lnTo>
                    <a:pt x="845302" y="877532"/>
                  </a:lnTo>
                  <a:lnTo>
                    <a:pt x="810279" y="906766"/>
                  </a:lnTo>
                  <a:lnTo>
                    <a:pt x="772680" y="932789"/>
                  </a:lnTo>
                  <a:lnTo>
                    <a:pt x="732715" y="955389"/>
                  </a:lnTo>
                  <a:lnTo>
                    <a:pt x="690596" y="974354"/>
                  </a:lnTo>
                  <a:lnTo>
                    <a:pt x="646535" y="989473"/>
                  </a:lnTo>
                  <a:lnTo>
                    <a:pt x="600743" y="1000534"/>
                  </a:lnTo>
                  <a:lnTo>
                    <a:pt x="553431" y="1007326"/>
                  </a:lnTo>
                  <a:lnTo>
                    <a:pt x="504812" y="1009637"/>
                  </a:lnTo>
                  <a:lnTo>
                    <a:pt x="456197" y="1007326"/>
                  </a:lnTo>
                  <a:lnTo>
                    <a:pt x="408888" y="1000534"/>
                  </a:lnTo>
                  <a:lnTo>
                    <a:pt x="363099" y="989473"/>
                  </a:lnTo>
                  <a:lnTo>
                    <a:pt x="319040" y="974354"/>
                  </a:lnTo>
                  <a:lnTo>
                    <a:pt x="276923" y="955389"/>
                  </a:lnTo>
                  <a:lnTo>
                    <a:pt x="236959" y="932789"/>
                  </a:lnTo>
                  <a:lnTo>
                    <a:pt x="199360" y="906766"/>
                  </a:lnTo>
                  <a:lnTo>
                    <a:pt x="164338" y="877532"/>
                  </a:lnTo>
                  <a:lnTo>
                    <a:pt x="132104" y="845298"/>
                  </a:lnTo>
                  <a:lnTo>
                    <a:pt x="102870" y="810276"/>
                  </a:lnTo>
                  <a:lnTo>
                    <a:pt x="76847" y="772678"/>
                  </a:lnTo>
                  <a:lnTo>
                    <a:pt x="54248" y="732714"/>
                  </a:lnTo>
                  <a:lnTo>
                    <a:pt x="35283" y="690596"/>
                  </a:lnTo>
                  <a:lnTo>
                    <a:pt x="20164" y="646537"/>
                  </a:lnTo>
                  <a:lnTo>
                    <a:pt x="9102" y="600748"/>
                  </a:lnTo>
                  <a:lnTo>
                    <a:pt x="2310" y="553440"/>
                  </a:lnTo>
                  <a:lnTo>
                    <a:pt x="0" y="504825"/>
                  </a:lnTo>
                  <a:lnTo>
                    <a:pt x="2310" y="456207"/>
                  </a:lnTo>
                  <a:lnTo>
                    <a:pt x="9102" y="408897"/>
                  </a:lnTo>
                  <a:lnTo>
                    <a:pt x="20164" y="363106"/>
                  </a:lnTo>
                  <a:lnTo>
                    <a:pt x="35283" y="319045"/>
                  </a:lnTo>
                  <a:lnTo>
                    <a:pt x="54248" y="276927"/>
                  </a:lnTo>
                  <a:lnTo>
                    <a:pt x="76847" y="236962"/>
                  </a:lnTo>
                  <a:lnTo>
                    <a:pt x="102870" y="199363"/>
                  </a:lnTo>
                  <a:lnTo>
                    <a:pt x="132104" y="164340"/>
                  </a:lnTo>
                  <a:lnTo>
                    <a:pt x="164338" y="132105"/>
                  </a:lnTo>
                  <a:lnTo>
                    <a:pt x="199360" y="102871"/>
                  </a:lnTo>
                  <a:lnTo>
                    <a:pt x="236959" y="76848"/>
                  </a:lnTo>
                  <a:lnTo>
                    <a:pt x="276923" y="54248"/>
                  </a:lnTo>
                  <a:lnTo>
                    <a:pt x="319040" y="35283"/>
                  </a:lnTo>
                  <a:lnTo>
                    <a:pt x="363099" y="20164"/>
                  </a:lnTo>
                  <a:lnTo>
                    <a:pt x="408888" y="9102"/>
                  </a:lnTo>
                  <a:lnTo>
                    <a:pt x="456197" y="2310"/>
                  </a:lnTo>
                  <a:lnTo>
                    <a:pt x="504812" y="0"/>
                  </a:lnTo>
                  <a:lnTo>
                    <a:pt x="553431" y="2310"/>
                  </a:lnTo>
                  <a:lnTo>
                    <a:pt x="600743" y="9102"/>
                  </a:lnTo>
                  <a:lnTo>
                    <a:pt x="646535" y="20164"/>
                  </a:lnTo>
                  <a:lnTo>
                    <a:pt x="690596" y="35283"/>
                  </a:lnTo>
                  <a:lnTo>
                    <a:pt x="732715" y="54248"/>
                  </a:lnTo>
                  <a:lnTo>
                    <a:pt x="772680" y="76848"/>
                  </a:lnTo>
                  <a:lnTo>
                    <a:pt x="810279" y="102871"/>
                  </a:lnTo>
                  <a:lnTo>
                    <a:pt x="845302" y="132105"/>
                  </a:lnTo>
                  <a:lnTo>
                    <a:pt x="877535" y="164340"/>
                  </a:lnTo>
                  <a:lnTo>
                    <a:pt x="906769" y="199363"/>
                  </a:lnTo>
                  <a:lnTo>
                    <a:pt x="932791" y="236962"/>
                  </a:lnTo>
                  <a:lnTo>
                    <a:pt x="955391" y="276927"/>
                  </a:lnTo>
                  <a:lnTo>
                    <a:pt x="974355" y="319045"/>
                  </a:lnTo>
                  <a:lnTo>
                    <a:pt x="989474" y="363106"/>
                  </a:lnTo>
                  <a:lnTo>
                    <a:pt x="1000534" y="408897"/>
                  </a:lnTo>
                  <a:lnTo>
                    <a:pt x="1007326" y="456207"/>
                  </a:lnTo>
                  <a:lnTo>
                    <a:pt x="1009637" y="504825"/>
                  </a:lnTo>
                  <a:close/>
                </a:path>
              </a:pathLst>
            </a:custGeom>
            <a:solidFill>
              <a:schemeClr val="bg1"/>
            </a:solidFill>
            <a:ln w="12700">
              <a:solidFill>
                <a:srgbClr val="0046BA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3B3B3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66" name="object 47">
              <a:extLst>
                <a:ext uri="{FF2B5EF4-FFF2-40B4-BE49-F238E27FC236}">
                  <a16:creationId xmlns:a16="http://schemas.microsoft.com/office/drawing/2014/main" id="{59573976-C4A4-C247-8A40-F29CF151A5A3}"/>
                </a:ext>
              </a:extLst>
            </p:cNvPr>
            <p:cNvSpPr/>
            <p:nvPr userDrawn="1"/>
          </p:nvSpPr>
          <p:spPr>
            <a:xfrm>
              <a:off x="687940" y="1563967"/>
              <a:ext cx="648000" cy="648000"/>
            </a:xfrm>
            <a:custGeom>
              <a:avLst/>
              <a:gdLst/>
              <a:ahLst/>
              <a:cxnLst/>
              <a:rect l="l" t="t" r="r" b="b"/>
              <a:pathLst>
                <a:path w="836294" h="836294">
                  <a:moveTo>
                    <a:pt x="417944" y="0"/>
                  </a:moveTo>
                  <a:lnTo>
                    <a:pt x="369203" y="2811"/>
                  </a:lnTo>
                  <a:lnTo>
                    <a:pt x="322114" y="11038"/>
                  </a:lnTo>
                  <a:lnTo>
                    <a:pt x="276989" y="24365"/>
                  </a:lnTo>
                  <a:lnTo>
                    <a:pt x="234143" y="42480"/>
                  </a:lnTo>
                  <a:lnTo>
                    <a:pt x="193890" y="65069"/>
                  </a:lnTo>
                  <a:lnTo>
                    <a:pt x="156542" y="91818"/>
                  </a:lnTo>
                  <a:lnTo>
                    <a:pt x="122413" y="122413"/>
                  </a:lnTo>
                  <a:lnTo>
                    <a:pt x="91818" y="156542"/>
                  </a:lnTo>
                  <a:lnTo>
                    <a:pt x="65069" y="193890"/>
                  </a:lnTo>
                  <a:lnTo>
                    <a:pt x="42480" y="234143"/>
                  </a:lnTo>
                  <a:lnTo>
                    <a:pt x="24365" y="276989"/>
                  </a:lnTo>
                  <a:lnTo>
                    <a:pt x="11038" y="322114"/>
                  </a:lnTo>
                  <a:lnTo>
                    <a:pt x="2811" y="369203"/>
                  </a:lnTo>
                  <a:lnTo>
                    <a:pt x="0" y="417944"/>
                  </a:lnTo>
                  <a:lnTo>
                    <a:pt x="2811" y="466685"/>
                  </a:lnTo>
                  <a:lnTo>
                    <a:pt x="11038" y="513774"/>
                  </a:lnTo>
                  <a:lnTo>
                    <a:pt x="24365" y="558898"/>
                  </a:lnTo>
                  <a:lnTo>
                    <a:pt x="42480" y="601744"/>
                  </a:lnTo>
                  <a:lnTo>
                    <a:pt x="65069" y="641998"/>
                  </a:lnTo>
                  <a:lnTo>
                    <a:pt x="91818" y="679346"/>
                  </a:lnTo>
                  <a:lnTo>
                    <a:pt x="122413" y="713474"/>
                  </a:lnTo>
                  <a:lnTo>
                    <a:pt x="156542" y="744070"/>
                  </a:lnTo>
                  <a:lnTo>
                    <a:pt x="193890" y="770819"/>
                  </a:lnTo>
                  <a:lnTo>
                    <a:pt x="234143" y="793407"/>
                  </a:lnTo>
                  <a:lnTo>
                    <a:pt x="276989" y="811522"/>
                  </a:lnTo>
                  <a:lnTo>
                    <a:pt x="322114" y="824850"/>
                  </a:lnTo>
                  <a:lnTo>
                    <a:pt x="369203" y="833076"/>
                  </a:lnTo>
                  <a:lnTo>
                    <a:pt x="417944" y="835888"/>
                  </a:lnTo>
                  <a:lnTo>
                    <a:pt x="466685" y="833076"/>
                  </a:lnTo>
                  <a:lnTo>
                    <a:pt x="513774" y="824850"/>
                  </a:lnTo>
                  <a:lnTo>
                    <a:pt x="558898" y="811522"/>
                  </a:lnTo>
                  <a:lnTo>
                    <a:pt x="601744" y="793407"/>
                  </a:lnTo>
                  <a:lnTo>
                    <a:pt x="641998" y="770819"/>
                  </a:lnTo>
                  <a:lnTo>
                    <a:pt x="679346" y="744070"/>
                  </a:lnTo>
                  <a:lnTo>
                    <a:pt x="713474" y="713474"/>
                  </a:lnTo>
                  <a:lnTo>
                    <a:pt x="744070" y="679346"/>
                  </a:lnTo>
                  <a:lnTo>
                    <a:pt x="770819" y="641998"/>
                  </a:lnTo>
                  <a:lnTo>
                    <a:pt x="793407" y="601744"/>
                  </a:lnTo>
                  <a:lnTo>
                    <a:pt x="811522" y="558898"/>
                  </a:lnTo>
                  <a:lnTo>
                    <a:pt x="824850" y="513774"/>
                  </a:lnTo>
                  <a:lnTo>
                    <a:pt x="833076" y="466685"/>
                  </a:lnTo>
                  <a:lnTo>
                    <a:pt x="835888" y="417944"/>
                  </a:lnTo>
                  <a:lnTo>
                    <a:pt x="833076" y="369203"/>
                  </a:lnTo>
                  <a:lnTo>
                    <a:pt x="824850" y="322114"/>
                  </a:lnTo>
                  <a:lnTo>
                    <a:pt x="811522" y="276989"/>
                  </a:lnTo>
                  <a:lnTo>
                    <a:pt x="793407" y="234143"/>
                  </a:lnTo>
                  <a:lnTo>
                    <a:pt x="770819" y="193890"/>
                  </a:lnTo>
                  <a:lnTo>
                    <a:pt x="744070" y="156542"/>
                  </a:lnTo>
                  <a:lnTo>
                    <a:pt x="713474" y="122413"/>
                  </a:lnTo>
                  <a:lnTo>
                    <a:pt x="679346" y="91818"/>
                  </a:lnTo>
                  <a:lnTo>
                    <a:pt x="641998" y="65069"/>
                  </a:lnTo>
                  <a:lnTo>
                    <a:pt x="601744" y="42480"/>
                  </a:lnTo>
                  <a:lnTo>
                    <a:pt x="558898" y="24365"/>
                  </a:lnTo>
                  <a:lnTo>
                    <a:pt x="513774" y="11038"/>
                  </a:lnTo>
                  <a:lnTo>
                    <a:pt x="466685" y="2811"/>
                  </a:lnTo>
                  <a:lnTo>
                    <a:pt x="417944" y="0"/>
                  </a:lnTo>
                  <a:close/>
                </a:path>
              </a:pathLst>
            </a:custGeom>
            <a:solidFill>
              <a:srgbClr val="EEDC00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srgbClr val="3B3B3A"/>
                </a:solidFill>
                <a:effectLst/>
                <a:uLnTx/>
                <a:uFillTx/>
                <a:latin typeface="Avenir Next LT Pro" panose="020B0504020202020204" pitchFamily="34" charset="77"/>
                <a:ea typeface="+mn-ea"/>
                <a:cs typeface="+mn-cs"/>
              </a:endParaRPr>
            </a:p>
          </p:txBody>
        </p:sp>
      </p:grpSp>
      <p:cxnSp>
        <p:nvCxnSpPr>
          <p:cNvPr id="67" name="Connettore 1 46">
            <a:extLst>
              <a:ext uri="{FF2B5EF4-FFF2-40B4-BE49-F238E27FC236}">
                <a16:creationId xmlns:a16="http://schemas.microsoft.com/office/drawing/2014/main" id="{81EE44AA-22E5-CC4F-A3C5-23E3C84BFC1C}"/>
              </a:ext>
            </a:extLst>
          </p:cNvPr>
          <p:cNvCxnSpPr>
            <a:cxnSpLocks/>
          </p:cNvCxnSpPr>
          <p:nvPr/>
        </p:nvCxnSpPr>
        <p:spPr>
          <a:xfrm>
            <a:off x="1395006" y="1889852"/>
            <a:ext cx="4140000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CasellaDiTesto 1">
            <a:extLst>
              <a:ext uri="{FF2B5EF4-FFF2-40B4-BE49-F238E27FC236}">
                <a16:creationId xmlns:a16="http://schemas.microsoft.com/office/drawing/2014/main" id="{729DAD3A-6BF1-6FE6-48AD-6F59EC563017}"/>
              </a:ext>
            </a:extLst>
          </p:cNvPr>
          <p:cNvSpPr txBox="1"/>
          <p:nvPr userDrawn="1"/>
        </p:nvSpPr>
        <p:spPr>
          <a:xfrm>
            <a:off x="3916392" y="6623540"/>
            <a:ext cx="739499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it-IT" sz="800" i="1" dirty="0"/>
              <a:t>Documento ad uso esclusivamente interno, da intendersi come strettamente riservato; non è autorizzata la trasmissione ad altri e la divulgazione all’esterno.</a:t>
            </a:r>
            <a:endParaRPr lang="en-US" sz="800" i="1" dirty="0"/>
          </a:p>
        </p:txBody>
      </p:sp>
    </p:spTree>
    <p:extLst>
      <p:ext uri="{BB962C8B-B14F-4D97-AF65-F5344CB8AC3E}">
        <p14:creationId xmlns:p14="http://schemas.microsoft.com/office/powerpoint/2010/main" val="83980651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6" orient="horz" pos="3725">
          <p15:clr>
            <a:srgbClr val="FBAE40"/>
          </p15:clr>
        </p15:guide>
        <p15:guide id="7" pos="3840">
          <p15:clr>
            <a:srgbClr val="FBAE40"/>
          </p15:clr>
        </p15:guide>
        <p15:guide id="8" pos="325">
          <p15:clr>
            <a:srgbClr val="FBAE40"/>
          </p15:clr>
        </p15:guide>
        <p15:guide id="9" pos="7333">
          <p15:clr>
            <a:srgbClr val="FBAE40"/>
          </p15:clr>
        </p15:guide>
        <p15:guide id="10" orient="horz" pos="1480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agina grafico + grafic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bg object 16">
            <a:extLst>
              <a:ext uri="{FF2B5EF4-FFF2-40B4-BE49-F238E27FC236}">
                <a16:creationId xmlns:a16="http://schemas.microsoft.com/office/drawing/2014/main" id="{BCFAEBF8-790C-A54A-9E47-3E3639BCC461}"/>
              </a:ext>
            </a:extLst>
          </p:cNvPr>
          <p:cNvSpPr/>
          <p:nvPr/>
        </p:nvSpPr>
        <p:spPr>
          <a:xfrm>
            <a:off x="11330381" y="6448615"/>
            <a:ext cx="311785" cy="410845"/>
          </a:xfrm>
          <a:custGeom>
            <a:avLst/>
            <a:gdLst/>
            <a:ahLst/>
            <a:cxnLst/>
            <a:rect l="l" t="t" r="r" b="b"/>
            <a:pathLst>
              <a:path w="311784" h="410845">
                <a:moveTo>
                  <a:pt x="311645" y="0"/>
                </a:moveTo>
                <a:lnTo>
                  <a:pt x="0" y="0"/>
                </a:lnTo>
                <a:lnTo>
                  <a:pt x="0" y="410438"/>
                </a:lnTo>
                <a:lnTo>
                  <a:pt x="311645" y="410438"/>
                </a:lnTo>
                <a:lnTo>
                  <a:pt x="311645" y="0"/>
                </a:lnTo>
                <a:close/>
              </a:path>
            </a:pathLst>
          </a:custGeom>
          <a:solidFill>
            <a:srgbClr val="0047B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" name="Holder 7">
            <a:extLst>
              <a:ext uri="{FF2B5EF4-FFF2-40B4-BE49-F238E27FC236}">
                <a16:creationId xmlns:a16="http://schemas.microsoft.com/office/drawing/2014/main" id="{EADEFA5D-780C-4841-8968-F8DA8FB77458}"/>
              </a:ext>
            </a:extLst>
          </p:cNvPr>
          <p:cNvSpPr txBox="1">
            <a:spLocks/>
          </p:cNvSpPr>
          <p:nvPr/>
        </p:nvSpPr>
        <p:spPr>
          <a:xfrm>
            <a:off x="11342726" y="6520516"/>
            <a:ext cx="256044" cy="16158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it-IT"/>
            </a:defPPr>
            <a:lvl1pPr marL="0" algn="l" defTabSz="914400" rtl="0" eaLnBrk="1" latinLnBrk="0" hangingPunct="1">
              <a:defRPr sz="850" b="1" i="0" kern="1200">
                <a:solidFill>
                  <a:schemeClr val="bg1"/>
                </a:solidFill>
                <a:latin typeface="Verdana"/>
                <a:ea typeface="+mn-ea"/>
                <a:cs typeface="Verdana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8100" algn="ctr">
              <a:spcBef>
                <a:spcPts val="105"/>
              </a:spcBef>
            </a:pPr>
            <a:fld id="{81D60167-4931-47E6-BA6A-407CBD079E47}" type="slidenum">
              <a:rPr lang="it-IT" sz="1050" b="0" i="0" spc="5" smtClean="0">
                <a:latin typeface="Avenir Next LT Pro" pitchFamily="2" charset="0"/>
              </a:rPr>
              <a:pPr marL="38100" algn="ctr">
                <a:spcBef>
                  <a:spcPts val="105"/>
                </a:spcBef>
              </a:pPr>
              <a:t>‹N›</a:t>
            </a:fld>
            <a:endParaRPr lang="it-IT" sz="1050" b="0" i="0" spc="5" dirty="0">
              <a:latin typeface="Avenir Next LT Pro" pitchFamily="2" charset="0"/>
            </a:endParaRPr>
          </a:p>
        </p:txBody>
      </p:sp>
      <p:sp>
        <p:nvSpPr>
          <p:cNvPr id="6" name="Triangolo isoscele 16">
            <a:extLst>
              <a:ext uri="{FF2B5EF4-FFF2-40B4-BE49-F238E27FC236}">
                <a16:creationId xmlns:a16="http://schemas.microsoft.com/office/drawing/2014/main" id="{8A368720-335F-0F45-860A-0606EE42684C}"/>
              </a:ext>
            </a:extLst>
          </p:cNvPr>
          <p:cNvSpPr/>
          <p:nvPr/>
        </p:nvSpPr>
        <p:spPr>
          <a:xfrm rot="10800000">
            <a:off x="303127" y="-324737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7" name="Triangolo isoscele 17">
            <a:extLst>
              <a:ext uri="{FF2B5EF4-FFF2-40B4-BE49-F238E27FC236}">
                <a16:creationId xmlns:a16="http://schemas.microsoft.com/office/drawing/2014/main" id="{E2772AA6-60C9-0B42-835F-13797EE9ED3C}"/>
              </a:ext>
            </a:extLst>
          </p:cNvPr>
          <p:cNvSpPr/>
          <p:nvPr/>
        </p:nvSpPr>
        <p:spPr>
          <a:xfrm rot="10800000">
            <a:off x="11756536" y="-324737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8" name="Triangolo isoscele 18">
            <a:extLst>
              <a:ext uri="{FF2B5EF4-FFF2-40B4-BE49-F238E27FC236}">
                <a16:creationId xmlns:a16="http://schemas.microsoft.com/office/drawing/2014/main" id="{C7BF371F-A6F2-FD41-82B8-D9B554CACAF1}"/>
              </a:ext>
            </a:extLst>
          </p:cNvPr>
          <p:cNvSpPr/>
          <p:nvPr/>
        </p:nvSpPr>
        <p:spPr>
          <a:xfrm>
            <a:off x="303127" y="6950754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9" name="Triangolo isoscele 19">
            <a:extLst>
              <a:ext uri="{FF2B5EF4-FFF2-40B4-BE49-F238E27FC236}">
                <a16:creationId xmlns:a16="http://schemas.microsoft.com/office/drawing/2014/main" id="{FCEF8EFB-88B6-D747-9382-15136CFCC56E}"/>
              </a:ext>
            </a:extLst>
          </p:cNvPr>
          <p:cNvSpPr/>
          <p:nvPr/>
        </p:nvSpPr>
        <p:spPr>
          <a:xfrm>
            <a:off x="11756536" y="6950754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10" name="Triangolo isoscele 20">
            <a:extLst>
              <a:ext uri="{FF2B5EF4-FFF2-40B4-BE49-F238E27FC236}">
                <a16:creationId xmlns:a16="http://schemas.microsoft.com/office/drawing/2014/main" id="{47007676-0BFD-5F42-846B-AA823A1BFA60}"/>
              </a:ext>
            </a:extLst>
          </p:cNvPr>
          <p:cNvSpPr/>
          <p:nvPr/>
        </p:nvSpPr>
        <p:spPr>
          <a:xfrm rot="5400000">
            <a:off x="-276040" y="885372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11" name="Triangolo isoscele 21">
            <a:extLst>
              <a:ext uri="{FF2B5EF4-FFF2-40B4-BE49-F238E27FC236}">
                <a16:creationId xmlns:a16="http://schemas.microsoft.com/office/drawing/2014/main" id="{9F8B8967-D8B7-EF40-A160-9FD75894783B}"/>
              </a:ext>
            </a:extLst>
          </p:cNvPr>
          <p:cNvSpPr/>
          <p:nvPr/>
        </p:nvSpPr>
        <p:spPr>
          <a:xfrm rot="5400000">
            <a:off x="-276039" y="5982836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12" name="Triangolo isoscele 22">
            <a:extLst>
              <a:ext uri="{FF2B5EF4-FFF2-40B4-BE49-F238E27FC236}">
                <a16:creationId xmlns:a16="http://schemas.microsoft.com/office/drawing/2014/main" id="{58B46DE6-6338-7140-8CA8-25EC1DE4AEB7}"/>
              </a:ext>
            </a:extLst>
          </p:cNvPr>
          <p:cNvSpPr/>
          <p:nvPr/>
        </p:nvSpPr>
        <p:spPr>
          <a:xfrm rot="16200000">
            <a:off x="12331119" y="885372"/>
            <a:ext cx="132336" cy="261257"/>
          </a:xfrm>
          <a:prstGeom prst="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13" name="Triangolo isoscele 23">
            <a:extLst>
              <a:ext uri="{FF2B5EF4-FFF2-40B4-BE49-F238E27FC236}">
                <a16:creationId xmlns:a16="http://schemas.microsoft.com/office/drawing/2014/main" id="{BA951F18-3E6B-F245-B833-D4E6A22CAE34}"/>
              </a:ext>
            </a:extLst>
          </p:cNvPr>
          <p:cNvSpPr/>
          <p:nvPr/>
        </p:nvSpPr>
        <p:spPr>
          <a:xfrm rot="16200000">
            <a:off x="12331120" y="5982836"/>
            <a:ext cx="132336" cy="261257"/>
          </a:xfrm>
          <a:prstGeom prst="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14" name="Triangolo isoscele 31">
            <a:extLst>
              <a:ext uri="{FF2B5EF4-FFF2-40B4-BE49-F238E27FC236}">
                <a16:creationId xmlns:a16="http://schemas.microsoft.com/office/drawing/2014/main" id="{07246241-C678-DB48-84D0-2C7143C6A157}"/>
              </a:ext>
            </a:extLst>
          </p:cNvPr>
          <p:cNvSpPr/>
          <p:nvPr/>
        </p:nvSpPr>
        <p:spPr>
          <a:xfrm rot="10800000">
            <a:off x="303127" y="-324737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15" name="Triangolo isoscele 32">
            <a:extLst>
              <a:ext uri="{FF2B5EF4-FFF2-40B4-BE49-F238E27FC236}">
                <a16:creationId xmlns:a16="http://schemas.microsoft.com/office/drawing/2014/main" id="{A3BC8E3A-7E5D-BE49-8DBD-35856251134F}"/>
              </a:ext>
            </a:extLst>
          </p:cNvPr>
          <p:cNvSpPr/>
          <p:nvPr/>
        </p:nvSpPr>
        <p:spPr>
          <a:xfrm rot="10800000">
            <a:off x="11756536" y="-324737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16" name="Triangolo isoscele 33">
            <a:extLst>
              <a:ext uri="{FF2B5EF4-FFF2-40B4-BE49-F238E27FC236}">
                <a16:creationId xmlns:a16="http://schemas.microsoft.com/office/drawing/2014/main" id="{E9B5EA53-1DC4-1940-8594-3256ADD5AE0C}"/>
              </a:ext>
            </a:extLst>
          </p:cNvPr>
          <p:cNvSpPr/>
          <p:nvPr/>
        </p:nvSpPr>
        <p:spPr>
          <a:xfrm>
            <a:off x="303127" y="6950754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21" name="Triangolo isoscele 34">
            <a:extLst>
              <a:ext uri="{FF2B5EF4-FFF2-40B4-BE49-F238E27FC236}">
                <a16:creationId xmlns:a16="http://schemas.microsoft.com/office/drawing/2014/main" id="{749E0E17-FFD8-164C-B560-1DFF3FBB41DF}"/>
              </a:ext>
            </a:extLst>
          </p:cNvPr>
          <p:cNvSpPr/>
          <p:nvPr/>
        </p:nvSpPr>
        <p:spPr>
          <a:xfrm>
            <a:off x="11756536" y="6950754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22" name="Triangolo isoscele 35">
            <a:extLst>
              <a:ext uri="{FF2B5EF4-FFF2-40B4-BE49-F238E27FC236}">
                <a16:creationId xmlns:a16="http://schemas.microsoft.com/office/drawing/2014/main" id="{2449D32D-31E9-1E41-8135-CF757AF1ADCB}"/>
              </a:ext>
            </a:extLst>
          </p:cNvPr>
          <p:cNvSpPr/>
          <p:nvPr/>
        </p:nvSpPr>
        <p:spPr>
          <a:xfrm rot="5400000">
            <a:off x="-276040" y="885372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23" name="Triangolo isoscele 36">
            <a:extLst>
              <a:ext uri="{FF2B5EF4-FFF2-40B4-BE49-F238E27FC236}">
                <a16:creationId xmlns:a16="http://schemas.microsoft.com/office/drawing/2014/main" id="{92505FB0-1068-1143-AB9B-F5A849D826DE}"/>
              </a:ext>
            </a:extLst>
          </p:cNvPr>
          <p:cNvSpPr/>
          <p:nvPr/>
        </p:nvSpPr>
        <p:spPr>
          <a:xfrm rot="5400000">
            <a:off x="-276039" y="5982836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24" name="Triangolo isoscele 37">
            <a:extLst>
              <a:ext uri="{FF2B5EF4-FFF2-40B4-BE49-F238E27FC236}">
                <a16:creationId xmlns:a16="http://schemas.microsoft.com/office/drawing/2014/main" id="{D60FCBF0-3D48-CF40-ABA6-F53B703D88CA}"/>
              </a:ext>
            </a:extLst>
          </p:cNvPr>
          <p:cNvSpPr/>
          <p:nvPr/>
        </p:nvSpPr>
        <p:spPr>
          <a:xfrm rot="16200000">
            <a:off x="12331119" y="885372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25" name="Triangolo isoscele 38">
            <a:extLst>
              <a:ext uri="{FF2B5EF4-FFF2-40B4-BE49-F238E27FC236}">
                <a16:creationId xmlns:a16="http://schemas.microsoft.com/office/drawing/2014/main" id="{95E14022-E59F-9F4C-998B-8575096AA6A0}"/>
              </a:ext>
            </a:extLst>
          </p:cNvPr>
          <p:cNvSpPr/>
          <p:nvPr/>
        </p:nvSpPr>
        <p:spPr>
          <a:xfrm rot="16200000">
            <a:off x="12331120" y="5982836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pic>
        <p:nvPicPr>
          <p:cNvPr id="36" name="Elemento grafico 35">
            <a:extLst>
              <a:ext uri="{FF2B5EF4-FFF2-40B4-BE49-F238E27FC236}">
                <a16:creationId xmlns:a16="http://schemas.microsoft.com/office/drawing/2014/main" id="{9531B5A1-7BA2-E141-B54D-FEC62D4B762E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081892" y="-5080"/>
            <a:ext cx="1560273" cy="309880"/>
          </a:xfrm>
          <a:prstGeom prst="rect">
            <a:avLst/>
          </a:prstGeom>
        </p:spPr>
      </p:pic>
      <p:sp>
        <p:nvSpPr>
          <p:cNvPr id="37" name="object 267">
            <a:extLst>
              <a:ext uri="{FF2B5EF4-FFF2-40B4-BE49-F238E27FC236}">
                <a16:creationId xmlns:a16="http://schemas.microsoft.com/office/drawing/2014/main" id="{1A701277-6B82-924C-9434-545B7977906E}"/>
              </a:ext>
            </a:extLst>
          </p:cNvPr>
          <p:cNvSpPr/>
          <p:nvPr/>
        </p:nvSpPr>
        <p:spPr>
          <a:xfrm>
            <a:off x="0" y="1251482"/>
            <a:ext cx="675518" cy="45719"/>
          </a:xfrm>
          <a:custGeom>
            <a:avLst/>
            <a:gdLst/>
            <a:ahLst/>
            <a:cxnLst/>
            <a:rect l="l" t="t" r="r" b="b"/>
            <a:pathLst>
              <a:path w="657225">
                <a:moveTo>
                  <a:pt x="0" y="0"/>
                </a:moveTo>
                <a:lnTo>
                  <a:pt x="656678" y="0"/>
                </a:lnTo>
              </a:path>
            </a:pathLst>
          </a:custGeom>
          <a:ln w="76200">
            <a:solidFill>
              <a:srgbClr val="EEDC00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JhengHei UI Light" panose="020B0304030504040204" pitchFamily="34" charset="-120"/>
              <a:ea typeface="Microsoft JhengHei UI Light" panose="020B0304030504040204" pitchFamily="34" charset="-120"/>
              <a:cs typeface="+mn-cs"/>
            </a:endParaRPr>
          </a:p>
        </p:txBody>
      </p:sp>
      <p:sp>
        <p:nvSpPr>
          <p:cNvPr id="34" name="Segnaposto testo 2">
            <a:extLst>
              <a:ext uri="{FF2B5EF4-FFF2-40B4-BE49-F238E27FC236}">
                <a16:creationId xmlns:a16="http://schemas.microsoft.com/office/drawing/2014/main" id="{1B74C236-B652-4041-99ED-254A64385C7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49834" y="503037"/>
            <a:ext cx="10412412" cy="655637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 b="0" i="0">
                <a:solidFill>
                  <a:srgbClr val="0047BB"/>
                </a:solidFill>
                <a:latin typeface="Avenir Next LT Pro" panose="020B0504020202020204" pitchFamily="34" charset="77"/>
              </a:defRPr>
            </a:lvl1pPr>
            <a:lvl2pPr marL="457200" indent="0">
              <a:buNone/>
              <a:defRPr sz="4000" b="0" i="0">
                <a:latin typeface="Avenir Next LT Pro" panose="020B0504020202020204" pitchFamily="34" charset="77"/>
              </a:defRPr>
            </a:lvl2pPr>
            <a:lvl3pPr marL="914400" indent="0">
              <a:buNone/>
              <a:defRPr sz="4000" b="0" i="0">
                <a:latin typeface="Avenir Next LT Pro" panose="020B0504020202020204" pitchFamily="34" charset="77"/>
              </a:defRPr>
            </a:lvl3pPr>
            <a:lvl4pPr marL="1371600" indent="0">
              <a:buNone/>
              <a:defRPr sz="4000" b="0" i="0">
                <a:latin typeface="Avenir Next LT Pro" panose="020B0504020202020204" pitchFamily="34" charset="77"/>
              </a:defRPr>
            </a:lvl4pPr>
            <a:lvl5pPr marL="1828800" indent="0">
              <a:buNone/>
              <a:defRPr sz="4000" b="0" i="0">
                <a:latin typeface="Avenir Next LT Pro" panose="020B0504020202020204" pitchFamily="34" charset="77"/>
              </a:defRPr>
            </a:lvl5pPr>
          </a:lstStyle>
          <a:p>
            <a:pPr lvl="0"/>
            <a:r>
              <a:rPr lang="it-IT" dirty="0"/>
              <a:t>FARE CLIC PER MODIFICARE TITOLO DIAPOSITIVA</a:t>
            </a:r>
          </a:p>
        </p:txBody>
      </p:sp>
      <p:sp>
        <p:nvSpPr>
          <p:cNvPr id="40" name="Segnaposto testo 4">
            <a:extLst>
              <a:ext uri="{FF2B5EF4-FFF2-40B4-BE49-F238E27FC236}">
                <a16:creationId xmlns:a16="http://schemas.microsoft.com/office/drawing/2014/main" id="{597E06C8-CAFB-E24B-A154-8EA093E0C54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49834" y="5917932"/>
            <a:ext cx="9402763" cy="573088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900" b="0" i="0">
                <a:latin typeface="Avenir Next LT Pro" panose="020B0504020202020204" pitchFamily="34" charset="77"/>
              </a:defRPr>
            </a:lvl1pPr>
            <a:lvl2pPr marL="457200" indent="0">
              <a:buNone/>
              <a:defRPr sz="900" b="0" i="0">
                <a:latin typeface="Avenir Next LT Pro" panose="020B0504020202020204" pitchFamily="34" charset="77"/>
              </a:defRPr>
            </a:lvl2pPr>
            <a:lvl3pPr marL="914400" indent="0">
              <a:buNone/>
              <a:defRPr sz="900" b="0" i="0">
                <a:latin typeface="Avenir Next LT Pro" panose="020B0504020202020204" pitchFamily="34" charset="77"/>
              </a:defRPr>
            </a:lvl3pPr>
            <a:lvl4pPr marL="1371600" indent="0">
              <a:buNone/>
              <a:defRPr sz="900" b="0" i="0">
                <a:latin typeface="Avenir Next LT Pro" panose="020B0504020202020204" pitchFamily="34" charset="77"/>
              </a:defRPr>
            </a:lvl4pPr>
            <a:lvl5pPr marL="1828800" indent="0">
              <a:buNone/>
              <a:defRPr sz="900" b="0" i="0">
                <a:latin typeface="Avenir Next LT Pro" panose="020B0504020202020204" pitchFamily="34" charset="77"/>
              </a:defRPr>
            </a:lvl5pPr>
          </a:lstStyle>
          <a:p>
            <a:pPr lvl="0"/>
            <a:r>
              <a:rPr lang="it-IT" dirty="0"/>
              <a:t>1. Fare clic per modificare le note 2. Fare clic per modificare le note 3. Fare clic per modificare le note </a:t>
            </a:r>
          </a:p>
        </p:txBody>
      </p:sp>
      <p:grpSp>
        <p:nvGrpSpPr>
          <p:cNvPr id="3" name="Gruppo 2">
            <a:extLst>
              <a:ext uri="{FF2B5EF4-FFF2-40B4-BE49-F238E27FC236}">
                <a16:creationId xmlns:a16="http://schemas.microsoft.com/office/drawing/2014/main" id="{E21151D6-4C81-4291-A326-8F10FC710FFD}"/>
              </a:ext>
            </a:extLst>
          </p:cNvPr>
          <p:cNvGrpSpPr/>
          <p:nvPr/>
        </p:nvGrpSpPr>
        <p:grpSpPr>
          <a:xfrm>
            <a:off x="633940" y="1509967"/>
            <a:ext cx="756000" cy="756000"/>
            <a:chOff x="633940" y="1509967"/>
            <a:chExt cx="756000" cy="756000"/>
          </a:xfrm>
        </p:grpSpPr>
        <p:sp>
          <p:nvSpPr>
            <p:cNvPr id="38" name="object 46">
              <a:extLst>
                <a:ext uri="{FF2B5EF4-FFF2-40B4-BE49-F238E27FC236}">
                  <a16:creationId xmlns:a16="http://schemas.microsoft.com/office/drawing/2014/main" id="{1A31036D-EA7B-4D3A-ABB2-BD0C250E805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33940" y="1509967"/>
              <a:ext cx="756000" cy="756000"/>
            </a:xfrm>
            <a:custGeom>
              <a:avLst/>
              <a:gdLst/>
              <a:ahLst/>
              <a:cxnLst/>
              <a:rect l="l" t="t" r="r" b="b"/>
              <a:pathLst>
                <a:path w="1009650" h="1009650">
                  <a:moveTo>
                    <a:pt x="1009637" y="504825"/>
                  </a:moveTo>
                  <a:lnTo>
                    <a:pt x="1007326" y="553440"/>
                  </a:lnTo>
                  <a:lnTo>
                    <a:pt x="1000534" y="600748"/>
                  </a:lnTo>
                  <a:lnTo>
                    <a:pt x="989474" y="646537"/>
                  </a:lnTo>
                  <a:lnTo>
                    <a:pt x="974355" y="690596"/>
                  </a:lnTo>
                  <a:lnTo>
                    <a:pt x="955391" y="732714"/>
                  </a:lnTo>
                  <a:lnTo>
                    <a:pt x="932791" y="772678"/>
                  </a:lnTo>
                  <a:lnTo>
                    <a:pt x="906769" y="810276"/>
                  </a:lnTo>
                  <a:lnTo>
                    <a:pt x="877535" y="845298"/>
                  </a:lnTo>
                  <a:lnTo>
                    <a:pt x="845302" y="877532"/>
                  </a:lnTo>
                  <a:lnTo>
                    <a:pt x="810279" y="906766"/>
                  </a:lnTo>
                  <a:lnTo>
                    <a:pt x="772680" y="932789"/>
                  </a:lnTo>
                  <a:lnTo>
                    <a:pt x="732715" y="955389"/>
                  </a:lnTo>
                  <a:lnTo>
                    <a:pt x="690596" y="974354"/>
                  </a:lnTo>
                  <a:lnTo>
                    <a:pt x="646535" y="989473"/>
                  </a:lnTo>
                  <a:lnTo>
                    <a:pt x="600743" y="1000534"/>
                  </a:lnTo>
                  <a:lnTo>
                    <a:pt x="553431" y="1007326"/>
                  </a:lnTo>
                  <a:lnTo>
                    <a:pt x="504812" y="1009637"/>
                  </a:lnTo>
                  <a:lnTo>
                    <a:pt x="456197" y="1007326"/>
                  </a:lnTo>
                  <a:lnTo>
                    <a:pt x="408888" y="1000534"/>
                  </a:lnTo>
                  <a:lnTo>
                    <a:pt x="363099" y="989473"/>
                  </a:lnTo>
                  <a:lnTo>
                    <a:pt x="319040" y="974354"/>
                  </a:lnTo>
                  <a:lnTo>
                    <a:pt x="276923" y="955389"/>
                  </a:lnTo>
                  <a:lnTo>
                    <a:pt x="236959" y="932789"/>
                  </a:lnTo>
                  <a:lnTo>
                    <a:pt x="199360" y="906766"/>
                  </a:lnTo>
                  <a:lnTo>
                    <a:pt x="164338" y="877532"/>
                  </a:lnTo>
                  <a:lnTo>
                    <a:pt x="132104" y="845298"/>
                  </a:lnTo>
                  <a:lnTo>
                    <a:pt x="102870" y="810276"/>
                  </a:lnTo>
                  <a:lnTo>
                    <a:pt x="76847" y="772678"/>
                  </a:lnTo>
                  <a:lnTo>
                    <a:pt x="54248" y="732714"/>
                  </a:lnTo>
                  <a:lnTo>
                    <a:pt x="35283" y="690596"/>
                  </a:lnTo>
                  <a:lnTo>
                    <a:pt x="20164" y="646537"/>
                  </a:lnTo>
                  <a:lnTo>
                    <a:pt x="9102" y="600748"/>
                  </a:lnTo>
                  <a:lnTo>
                    <a:pt x="2310" y="553440"/>
                  </a:lnTo>
                  <a:lnTo>
                    <a:pt x="0" y="504825"/>
                  </a:lnTo>
                  <a:lnTo>
                    <a:pt x="2310" y="456207"/>
                  </a:lnTo>
                  <a:lnTo>
                    <a:pt x="9102" y="408897"/>
                  </a:lnTo>
                  <a:lnTo>
                    <a:pt x="20164" y="363106"/>
                  </a:lnTo>
                  <a:lnTo>
                    <a:pt x="35283" y="319045"/>
                  </a:lnTo>
                  <a:lnTo>
                    <a:pt x="54248" y="276927"/>
                  </a:lnTo>
                  <a:lnTo>
                    <a:pt x="76847" y="236962"/>
                  </a:lnTo>
                  <a:lnTo>
                    <a:pt x="102870" y="199363"/>
                  </a:lnTo>
                  <a:lnTo>
                    <a:pt x="132104" y="164340"/>
                  </a:lnTo>
                  <a:lnTo>
                    <a:pt x="164338" y="132105"/>
                  </a:lnTo>
                  <a:lnTo>
                    <a:pt x="199360" y="102871"/>
                  </a:lnTo>
                  <a:lnTo>
                    <a:pt x="236959" y="76848"/>
                  </a:lnTo>
                  <a:lnTo>
                    <a:pt x="276923" y="54248"/>
                  </a:lnTo>
                  <a:lnTo>
                    <a:pt x="319040" y="35283"/>
                  </a:lnTo>
                  <a:lnTo>
                    <a:pt x="363099" y="20164"/>
                  </a:lnTo>
                  <a:lnTo>
                    <a:pt x="408888" y="9102"/>
                  </a:lnTo>
                  <a:lnTo>
                    <a:pt x="456197" y="2310"/>
                  </a:lnTo>
                  <a:lnTo>
                    <a:pt x="504812" y="0"/>
                  </a:lnTo>
                  <a:lnTo>
                    <a:pt x="553431" y="2310"/>
                  </a:lnTo>
                  <a:lnTo>
                    <a:pt x="600743" y="9102"/>
                  </a:lnTo>
                  <a:lnTo>
                    <a:pt x="646535" y="20164"/>
                  </a:lnTo>
                  <a:lnTo>
                    <a:pt x="690596" y="35283"/>
                  </a:lnTo>
                  <a:lnTo>
                    <a:pt x="732715" y="54248"/>
                  </a:lnTo>
                  <a:lnTo>
                    <a:pt x="772680" y="76848"/>
                  </a:lnTo>
                  <a:lnTo>
                    <a:pt x="810279" y="102871"/>
                  </a:lnTo>
                  <a:lnTo>
                    <a:pt x="845302" y="132105"/>
                  </a:lnTo>
                  <a:lnTo>
                    <a:pt x="877535" y="164340"/>
                  </a:lnTo>
                  <a:lnTo>
                    <a:pt x="906769" y="199363"/>
                  </a:lnTo>
                  <a:lnTo>
                    <a:pt x="932791" y="236962"/>
                  </a:lnTo>
                  <a:lnTo>
                    <a:pt x="955391" y="276927"/>
                  </a:lnTo>
                  <a:lnTo>
                    <a:pt x="974355" y="319045"/>
                  </a:lnTo>
                  <a:lnTo>
                    <a:pt x="989474" y="363106"/>
                  </a:lnTo>
                  <a:lnTo>
                    <a:pt x="1000534" y="408897"/>
                  </a:lnTo>
                  <a:lnTo>
                    <a:pt x="1007326" y="456207"/>
                  </a:lnTo>
                  <a:lnTo>
                    <a:pt x="1009637" y="504825"/>
                  </a:lnTo>
                  <a:close/>
                </a:path>
              </a:pathLst>
            </a:custGeom>
            <a:solidFill>
              <a:schemeClr val="bg1"/>
            </a:solidFill>
            <a:ln w="12700">
              <a:solidFill>
                <a:srgbClr val="0046BA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3B3B3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" name="object 47">
              <a:extLst>
                <a:ext uri="{FF2B5EF4-FFF2-40B4-BE49-F238E27FC236}">
                  <a16:creationId xmlns:a16="http://schemas.microsoft.com/office/drawing/2014/main" id="{B5C934CC-BE9A-47FC-80BA-9E7FC344FDEB}"/>
                </a:ext>
              </a:extLst>
            </p:cNvPr>
            <p:cNvSpPr/>
            <p:nvPr/>
          </p:nvSpPr>
          <p:spPr>
            <a:xfrm>
              <a:off x="687940" y="1563967"/>
              <a:ext cx="648000" cy="648000"/>
            </a:xfrm>
            <a:custGeom>
              <a:avLst/>
              <a:gdLst/>
              <a:ahLst/>
              <a:cxnLst/>
              <a:rect l="l" t="t" r="r" b="b"/>
              <a:pathLst>
                <a:path w="836294" h="836294">
                  <a:moveTo>
                    <a:pt x="417944" y="0"/>
                  </a:moveTo>
                  <a:lnTo>
                    <a:pt x="369203" y="2811"/>
                  </a:lnTo>
                  <a:lnTo>
                    <a:pt x="322114" y="11038"/>
                  </a:lnTo>
                  <a:lnTo>
                    <a:pt x="276989" y="24365"/>
                  </a:lnTo>
                  <a:lnTo>
                    <a:pt x="234143" y="42480"/>
                  </a:lnTo>
                  <a:lnTo>
                    <a:pt x="193890" y="65069"/>
                  </a:lnTo>
                  <a:lnTo>
                    <a:pt x="156542" y="91818"/>
                  </a:lnTo>
                  <a:lnTo>
                    <a:pt x="122413" y="122413"/>
                  </a:lnTo>
                  <a:lnTo>
                    <a:pt x="91818" y="156542"/>
                  </a:lnTo>
                  <a:lnTo>
                    <a:pt x="65069" y="193890"/>
                  </a:lnTo>
                  <a:lnTo>
                    <a:pt x="42480" y="234143"/>
                  </a:lnTo>
                  <a:lnTo>
                    <a:pt x="24365" y="276989"/>
                  </a:lnTo>
                  <a:lnTo>
                    <a:pt x="11038" y="322114"/>
                  </a:lnTo>
                  <a:lnTo>
                    <a:pt x="2811" y="369203"/>
                  </a:lnTo>
                  <a:lnTo>
                    <a:pt x="0" y="417944"/>
                  </a:lnTo>
                  <a:lnTo>
                    <a:pt x="2811" y="466685"/>
                  </a:lnTo>
                  <a:lnTo>
                    <a:pt x="11038" y="513774"/>
                  </a:lnTo>
                  <a:lnTo>
                    <a:pt x="24365" y="558898"/>
                  </a:lnTo>
                  <a:lnTo>
                    <a:pt x="42480" y="601744"/>
                  </a:lnTo>
                  <a:lnTo>
                    <a:pt x="65069" y="641998"/>
                  </a:lnTo>
                  <a:lnTo>
                    <a:pt x="91818" y="679346"/>
                  </a:lnTo>
                  <a:lnTo>
                    <a:pt x="122413" y="713474"/>
                  </a:lnTo>
                  <a:lnTo>
                    <a:pt x="156542" y="744070"/>
                  </a:lnTo>
                  <a:lnTo>
                    <a:pt x="193890" y="770819"/>
                  </a:lnTo>
                  <a:lnTo>
                    <a:pt x="234143" y="793407"/>
                  </a:lnTo>
                  <a:lnTo>
                    <a:pt x="276989" y="811522"/>
                  </a:lnTo>
                  <a:lnTo>
                    <a:pt x="322114" y="824850"/>
                  </a:lnTo>
                  <a:lnTo>
                    <a:pt x="369203" y="833076"/>
                  </a:lnTo>
                  <a:lnTo>
                    <a:pt x="417944" y="835888"/>
                  </a:lnTo>
                  <a:lnTo>
                    <a:pt x="466685" y="833076"/>
                  </a:lnTo>
                  <a:lnTo>
                    <a:pt x="513774" y="824850"/>
                  </a:lnTo>
                  <a:lnTo>
                    <a:pt x="558898" y="811522"/>
                  </a:lnTo>
                  <a:lnTo>
                    <a:pt x="601744" y="793407"/>
                  </a:lnTo>
                  <a:lnTo>
                    <a:pt x="641998" y="770819"/>
                  </a:lnTo>
                  <a:lnTo>
                    <a:pt x="679346" y="744070"/>
                  </a:lnTo>
                  <a:lnTo>
                    <a:pt x="713474" y="713474"/>
                  </a:lnTo>
                  <a:lnTo>
                    <a:pt x="744070" y="679346"/>
                  </a:lnTo>
                  <a:lnTo>
                    <a:pt x="770819" y="641998"/>
                  </a:lnTo>
                  <a:lnTo>
                    <a:pt x="793407" y="601744"/>
                  </a:lnTo>
                  <a:lnTo>
                    <a:pt x="811522" y="558898"/>
                  </a:lnTo>
                  <a:lnTo>
                    <a:pt x="824850" y="513774"/>
                  </a:lnTo>
                  <a:lnTo>
                    <a:pt x="833076" y="466685"/>
                  </a:lnTo>
                  <a:lnTo>
                    <a:pt x="835888" y="417944"/>
                  </a:lnTo>
                  <a:lnTo>
                    <a:pt x="833076" y="369203"/>
                  </a:lnTo>
                  <a:lnTo>
                    <a:pt x="824850" y="322114"/>
                  </a:lnTo>
                  <a:lnTo>
                    <a:pt x="811522" y="276989"/>
                  </a:lnTo>
                  <a:lnTo>
                    <a:pt x="793407" y="234143"/>
                  </a:lnTo>
                  <a:lnTo>
                    <a:pt x="770819" y="193890"/>
                  </a:lnTo>
                  <a:lnTo>
                    <a:pt x="744070" y="156542"/>
                  </a:lnTo>
                  <a:lnTo>
                    <a:pt x="713474" y="122413"/>
                  </a:lnTo>
                  <a:lnTo>
                    <a:pt x="679346" y="91818"/>
                  </a:lnTo>
                  <a:lnTo>
                    <a:pt x="641998" y="65069"/>
                  </a:lnTo>
                  <a:lnTo>
                    <a:pt x="601744" y="42480"/>
                  </a:lnTo>
                  <a:lnTo>
                    <a:pt x="558898" y="24365"/>
                  </a:lnTo>
                  <a:lnTo>
                    <a:pt x="513774" y="11038"/>
                  </a:lnTo>
                  <a:lnTo>
                    <a:pt x="466685" y="2811"/>
                  </a:lnTo>
                  <a:lnTo>
                    <a:pt x="417944" y="0"/>
                  </a:lnTo>
                  <a:close/>
                </a:path>
              </a:pathLst>
            </a:custGeom>
            <a:solidFill>
              <a:srgbClr val="EEDC00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srgbClr val="3B3B3A"/>
                </a:solidFill>
                <a:effectLst/>
                <a:uLnTx/>
                <a:uFillTx/>
                <a:latin typeface="Avenir Next LT Pro" panose="020B0504020202020204" pitchFamily="34" charset="77"/>
                <a:ea typeface="+mn-ea"/>
                <a:cs typeface="+mn-cs"/>
              </a:endParaRPr>
            </a:p>
          </p:txBody>
        </p:sp>
      </p:grpSp>
      <p:cxnSp>
        <p:nvCxnSpPr>
          <p:cNvPr id="41" name="Connettore 1 46">
            <a:extLst>
              <a:ext uri="{FF2B5EF4-FFF2-40B4-BE49-F238E27FC236}">
                <a16:creationId xmlns:a16="http://schemas.microsoft.com/office/drawing/2014/main" id="{03956D96-28CC-49C4-A88E-667F0657136E}"/>
              </a:ext>
            </a:extLst>
          </p:cNvPr>
          <p:cNvCxnSpPr>
            <a:cxnSpLocks/>
          </p:cNvCxnSpPr>
          <p:nvPr/>
        </p:nvCxnSpPr>
        <p:spPr>
          <a:xfrm>
            <a:off x="1395006" y="1889852"/>
            <a:ext cx="4140000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Segnaposto testo 46">
            <a:extLst>
              <a:ext uri="{FF2B5EF4-FFF2-40B4-BE49-F238E27FC236}">
                <a16:creationId xmlns:a16="http://schemas.microsoft.com/office/drawing/2014/main" id="{00BC452B-C9F6-486C-8B6F-1CA1B2145E8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457282" y="1158675"/>
            <a:ext cx="4140000" cy="746498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 b="0" i="0">
                <a:solidFill>
                  <a:srgbClr val="0047BB"/>
                </a:solidFill>
                <a:latin typeface="Avenir Next LT Pro" panose="020B0504020202020204" pitchFamily="34" charset="77"/>
              </a:defRPr>
            </a:lvl1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27" name="Segnaposto grafico 26">
            <a:extLst>
              <a:ext uri="{FF2B5EF4-FFF2-40B4-BE49-F238E27FC236}">
                <a16:creationId xmlns:a16="http://schemas.microsoft.com/office/drawing/2014/main" id="{078758B7-5210-4D31-B07C-1E39894B360A}"/>
              </a:ext>
            </a:extLst>
          </p:cNvPr>
          <p:cNvSpPr>
            <a:spLocks noGrp="1"/>
          </p:cNvSpPr>
          <p:nvPr>
            <p:ph type="chart" sz="quarter" idx="15" hasCustomPrompt="1"/>
          </p:nvPr>
        </p:nvSpPr>
        <p:spPr>
          <a:xfrm>
            <a:off x="6096000" y="2355850"/>
            <a:ext cx="5545138" cy="3557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0" i="0" u="none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it-IT" i="1" dirty="0"/>
              <a:t>Inserimento grafico</a:t>
            </a:r>
            <a:endParaRPr lang="it-IT" dirty="0"/>
          </a:p>
        </p:txBody>
      </p:sp>
      <p:sp>
        <p:nvSpPr>
          <p:cNvPr id="33" name="Segnaposto grafico 26">
            <a:extLst>
              <a:ext uri="{FF2B5EF4-FFF2-40B4-BE49-F238E27FC236}">
                <a16:creationId xmlns:a16="http://schemas.microsoft.com/office/drawing/2014/main" id="{3778B67C-5C54-4ABD-B83B-7D04FAA81672}"/>
              </a:ext>
            </a:extLst>
          </p:cNvPr>
          <p:cNvSpPr>
            <a:spLocks noGrp="1"/>
          </p:cNvSpPr>
          <p:nvPr>
            <p:ph type="chart" sz="quarter" idx="16" hasCustomPrompt="1"/>
          </p:nvPr>
        </p:nvSpPr>
        <p:spPr>
          <a:xfrm>
            <a:off x="549834" y="2355850"/>
            <a:ext cx="5545138" cy="3557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0" i="0" u="none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it-IT" i="1" dirty="0"/>
              <a:t>Inserimento grafico</a:t>
            </a:r>
            <a:endParaRPr lang="it-IT" dirty="0"/>
          </a:p>
        </p:txBody>
      </p:sp>
      <p:sp>
        <p:nvSpPr>
          <p:cNvPr id="32" name="bg object 16">
            <a:extLst>
              <a:ext uri="{FF2B5EF4-FFF2-40B4-BE49-F238E27FC236}">
                <a16:creationId xmlns:a16="http://schemas.microsoft.com/office/drawing/2014/main" id="{1C60764C-7D6F-724C-B683-454601B10E17}"/>
              </a:ext>
            </a:extLst>
          </p:cNvPr>
          <p:cNvSpPr/>
          <p:nvPr/>
        </p:nvSpPr>
        <p:spPr>
          <a:xfrm>
            <a:off x="11330381" y="6448615"/>
            <a:ext cx="311785" cy="410845"/>
          </a:xfrm>
          <a:custGeom>
            <a:avLst/>
            <a:gdLst/>
            <a:ahLst/>
            <a:cxnLst/>
            <a:rect l="l" t="t" r="r" b="b"/>
            <a:pathLst>
              <a:path w="311784" h="410845">
                <a:moveTo>
                  <a:pt x="311645" y="0"/>
                </a:moveTo>
                <a:lnTo>
                  <a:pt x="0" y="0"/>
                </a:lnTo>
                <a:lnTo>
                  <a:pt x="0" y="410438"/>
                </a:lnTo>
                <a:lnTo>
                  <a:pt x="311645" y="410438"/>
                </a:lnTo>
                <a:lnTo>
                  <a:pt x="311645" y="0"/>
                </a:lnTo>
                <a:close/>
              </a:path>
            </a:pathLst>
          </a:custGeom>
          <a:solidFill>
            <a:srgbClr val="0047B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5" name="Holder 7">
            <a:extLst>
              <a:ext uri="{FF2B5EF4-FFF2-40B4-BE49-F238E27FC236}">
                <a16:creationId xmlns:a16="http://schemas.microsoft.com/office/drawing/2014/main" id="{5D276755-D122-0C4E-8A4A-6100710F8657}"/>
              </a:ext>
            </a:extLst>
          </p:cNvPr>
          <p:cNvSpPr txBox="1">
            <a:spLocks/>
          </p:cNvSpPr>
          <p:nvPr/>
        </p:nvSpPr>
        <p:spPr>
          <a:xfrm>
            <a:off x="11342726" y="6520516"/>
            <a:ext cx="256044" cy="16158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it-IT"/>
            </a:defPPr>
            <a:lvl1pPr marL="0" algn="l" defTabSz="914400" rtl="0" eaLnBrk="1" latinLnBrk="0" hangingPunct="1">
              <a:defRPr sz="850" b="1" i="0" kern="1200">
                <a:solidFill>
                  <a:schemeClr val="bg1"/>
                </a:solidFill>
                <a:latin typeface="Verdana"/>
                <a:ea typeface="+mn-ea"/>
                <a:cs typeface="Verdana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8100" algn="ctr">
              <a:spcBef>
                <a:spcPts val="105"/>
              </a:spcBef>
            </a:pPr>
            <a:fld id="{81D60167-4931-47E6-BA6A-407CBD079E47}" type="slidenum">
              <a:rPr lang="it-IT" sz="1050" b="0" i="0" spc="5" smtClean="0">
                <a:latin typeface="Avenir Next LT Pro" pitchFamily="2" charset="0"/>
              </a:rPr>
              <a:pPr marL="38100" algn="ctr">
                <a:spcBef>
                  <a:spcPts val="105"/>
                </a:spcBef>
              </a:pPr>
              <a:t>‹N›</a:t>
            </a:fld>
            <a:endParaRPr lang="it-IT" sz="1050" b="0" i="0" spc="5" dirty="0">
              <a:latin typeface="Avenir Next LT Pro" pitchFamily="2" charset="0"/>
            </a:endParaRPr>
          </a:p>
        </p:txBody>
      </p:sp>
      <p:sp>
        <p:nvSpPr>
          <p:cNvPr id="44" name="Triangolo isoscele 16">
            <a:extLst>
              <a:ext uri="{FF2B5EF4-FFF2-40B4-BE49-F238E27FC236}">
                <a16:creationId xmlns:a16="http://schemas.microsoft.com/office/drawing/2014/main" id="{3D88DEFF-DCE2-3849-8E30-05ED1818FD06}"/>
              </a:ext>
            </a:extLst>
          </p:cNvPr>
          <p:cNvSpPr/>
          <p:nvPr/>
        </p:nvSpPr>
        <p:spPr>
          <a:xfrm rot="10800000">
            <a:off x="303127" y="-324737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45" name="Triangolo isoscele 17">
            <a:extLst>
              <a:ext uri="{FF2B5EF4-FFF2-40B4-BE49-F238E27FC236}">
                <a16:creationId xmlns:a16="http://schemas.microsoft.com/office/drawing/2014/main" id="{B55C8439-FD54-1C4F-ACA5-CC6C0F48728C}"/>
              </a:ext>
            </a:extLst>
          </p:cNvPr>
          <p:cNvSpPr/>
          <p:nvPr/>
        </p:nvSpPr>
        <p:spPr>
          <a:xfrm rot="10800000">
            <a:off x="11756536" y="-324737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46" name="Triangolo isoscele 18">
            <a:extLst>
              <a:ext uri="{FF2B5EF4-FFF2-40B4-BE49-F238E27FC236}">
                <a16:creationId xmlns:a16="http://schemas.microsoft.com/office/drawing/2014/main" id="{D54EB677-97FD-F743-9D3D-CD500711D9FF}"/>
              </a:ext>
            </a:extLst>
          </p:cNvPr>
          <p:cNvSpPr/>
          <p:nvPr/>
        </p:nvSpPr>
        <p:spPr>
          <a:xfrm>
            <a:off x="303127" y="6950754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47" name="Triangolo isoscele 19">
            <a:extLst>
              <a:ext uri="{FF2B5EF4-FFF2-40B4-BE49-F238E27FC236}">
                <a16:creationId xmlns:a16="http://schemas.microsoft.com/office/drawing/2014/main" id="{E7F48C78-5D4E-C74E-A264-0AA7EDCA6EC4}"/>
              </a:ext>
            </a:extLst>
          </p:cNvPr>
          <p:cNvSpPr/>
          <p:nvPr/>
        </p:nvSpPr>
        <p:spPr>
          <a:xfrm>
            <a:off x="11756536" y="6950754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48" name="Triangolo isoscele 20">
            <a:extLst>
              <a:ext uri="{FF2B5EF4-FFF2-40B4-BE49-F238E27FC236}">
                <a16:creationId xmlns:a16="http://schemas.microsoft.com/office/drawing/2014/main" id="{2EA1158F-2651-C645-90E4-379CA5A7BA3A}"/>
              </a:ext>
            </a:extLst>
          </p:cNvPr>
          <p:cNvSpPr/>
          <p:nvPr/>
        </p:nvSpPr>
        <p:spPr>
          <a:xfrm rot="5400000">
            <a:off x="-276040" y="885372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49" name="Triangolo isoscele 21">
            <a:extLst>
              <a:ext uri="{FF2B5EF4-FFF2-40B4-BE49-F238E27FC236}">
                <a16:creationId xmlns:a16="http://schemas.microsoft.com/office/drawing/2014/main" id="{56076811-7453-3C4A-8181-F24AA4F078B8}"/>
              </a:ext>
            </a:extLst>
          </p:cNvPr>
          <p:cNvSpPr/>
          <p:nvPr/>
        </p:nvSpPr>
        <p:spPr>
          <a:xfrm rot="5400000">
            <a:off x="-276039" y="5982836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50" name="Triangolo isoscele 22">
            <a:extLst>
              <a:ext uri="{FF2B5EF4-FFF2-40B4-BE49-F238E27FC236}">
                <a16:creationId xmlns:a16="http://schemas.microsoft.com/office/drawing/2014/main" id="{682AA43D-CAB9-CA4F-83A0-049886152ADD}"/>
              </a:ext>
            </a:extLst>
          </p:cNvPr>
          <p:cNvSpPr/>
          <p:nvPr/>
        </p:nvSpPr>
        <p:spPr>
          <a:xfrm rot="16200000">
            <a:off x="12331119" y="885372"/>
            <a:ext cx="132336" cy="261257"/>
          </a:xfrm>
          <a:prstGeom prst="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51" name="Triangolo isoscele 23">
            <a:extLst>
              <a:ext uri="{FF2B5EF4-FFF2-40B4-BE49-F238E27FC236}">
                <a16:creationId xmlns:a16="http://schemas.microsoft.com/office/drawing/2014/main" id="{1708F8F8-FCA9-C848-9FC5-6FF13706B05F}"/>
              </a:ext>
            </a:extLst>
          </p:cNvPr>
          <p:cNvSpPr/>
          <p:nvPr/>
        </p:nvSpPr>
        <p:spPr>
          <a:xfrm rot="16200000">
            <a:off x="12331120" y="5982836"/>
            <a:ext cx="132336" cy="261257"/>
          </a:xfrm>
          <a:prstGeom prst="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52" name="Triangolo isoscele 31">
            <a:extLst>
              <a:ext uri="{FF2B5EF4-FFF2-40B4-BE49-F238E27FC236}">
                <a16:creationId xmlns:a16="http://schemas.microsoft.com/office/drawing/2014/main" id="{9B28D70A-69C8-5242-A2B0-3F5BCED24C2F}"/>
              </a:ext>
            </a:extLst>
          </p:cNvPr>
          <p:cNvSpPr/>
          <p:nvPr/>
        </p:nvSpPr>
        <p:spPr>
          <a:xfrm rot="10800000">
            <a:off x="303127" y="-324737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53" name="Triangolo isoscele 32">
            <a:extLst>
              <a:ext uri="{FF2B5EF4-FFF2-40B4-BE49-F238E27FC236}">
                <a16:creationId xmlns:a16="http://schemas.microsoft.com/office/drawing/2014/main" id="{76634F86-E7ED-574C-994D-FC124BB645B0}"/>
              </a:ext>
            </a:extLst>
          </p:cNvPr>
          <p:cNvSpPr/>
          <p:nvPr/>
        </p:nvSpPr>
        <p:spPr>
          <a:xfrm rot="10800000">
            <a:off x="11756536" y="-324737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54" name="Triangolo isoscele 33">
            <a:extLst>
              <a:ext uri="{FF2B5EF4-FFF2-40B4-BE49-F238E27FC236}">
                <a16:creationId xmlns:a16="http://schemas.microsoft.com/office/drawing/2014/main" id="{F0C239CC-3F01-8646-AFB8-32FAEEB5C7BD}"/>
              </a:ext>
            </a:extLst>
          </p:cNvPr>
          <p:cNvSpPr/>
          <p:nvPr/>
        </p:nvSpPr>
        <p:spPr>
          <a:xfrm>
            <a:off x="303127" y="6950754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55" name="Triangolo isoscele 34">
            <a:extLst>
              <a:ext uri="{FF2B5EF4-FFF2-40B4-BE49-F238E27FC236}">
                <a16:creationId xmlns:a16="http://schemas.microsoft.com/office/drawing/2014/main" id="{B9905A1F-19EC-F642-B4CF-506FCDC91984}"/>
              </a:ext>
            </a:extLst>
          </p:cNvPr>
          <p:cNvSpPr/>
          <p:nvPr/>
        </p:nvSpPr>
        <p:spPr>
          <a:xfrm>
            <a:off x="11756536" y="6950754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56" name="Triangolo isoscele 35">
            <a:extLst>
              <a:ext uri="{FF2B5EF4-FFF2-40B4-BE49-F238E27FC236}">
                <a16:creationId xmlns:a16="http://schemas.microsoft.com/office/drawing/2014/main" id="{23E32353-F772-DF4E-BDDD-A446A73317F4}"/>
              </a:ext>
            </a:extLst>
          </p:cNvPr>
          <p:cNvSpPr/>
          <p:nvPr/>
        </p:nvSpPr>
        <p:spPr>
          <a:xfrm rot="5400000">
            <a:off x="-276040" y="885372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57" name="Triangolo isoscele 36">
            <a:extLst>
              <a:ext uri="{FF2B5EF4-FFF2-40B4-BE49-F238E27FC236}">
                <a16:creationId xmlns:a16="http://schemas.microsoft.com/office/drawing/2014/main" id="{4EE0911A-F9A6-6B43-964F-FFADD14EEE26}"/>
              </a:ext>
            </a:extLst>
          </p:cNvPr>
          <p:cNvSpPr/>
          <p:nvPr/>
        </p:nvSpPr>
        <p:spPr>
          <a:xfrm rot="5400000">
            <a:off x="-276039" y="5982836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58" name="Triangolo isoscele 37">
            <a:extLst>
              <a:ext uri="{FF2B5EF4-FFF2-40B4-BE49-F238E27FC236}">
                <a16:creationId xmlns:a16="http://schemas.microsoft.com/office/drawing/2014/main" id="{2CD37047-E6A3-AE4F-A71C-B3919F92D833}"/>
              </a:ext>
            </a:extLst>
          </p:cNvPr>
          <p:cNvSpPr/>
          <p:nvPr/>
        </p:nvSpPr>
        <p:spPr>
          <a:xfrm rot="16200000">
            <a:off x="12331119" y="885372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59" name="Triangolo isoscele 38">
            <a:extLst>
              <a:ext uri="{FF2B5EF4-FFF2-40B4-BE49-F238E27FC236}">
                <a16:creationId xmlns:a16="http://schemas.microsoft.com/office/drawing/2014/main" id="{C6FE0B21-ADC5-034C-BB79-71BA437995AC}"/>
              </a:ext>
            </a:extLst>
          </p:cNvPr>
          <p:cNvSpPr/>
          <p:nvPr/>
        </p:nvSpPr>
        <p:spPr>
          <a:xfrm rot="16200000">
            <a:off x="12331120" y="5982836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pic>
        <p:nvPicPr>
          <p:cNvPr id="60" name="Elemento grafico 59">
            <a:extLst>
              <a:ext uri="{FF2B5EF4-FFF2-40B4-BE49-F238E27FC236}">
                <a16:creationId xmlns:a16="http://schemas.microsoft.com/office/drawing/2014/main" id="{B1272A90-AB49-9145-A7BA-0E3C11FF932E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081892" y="-5080"/>
            <a:ext cx="1560273" cy="309880"/>
          </a:xfrm>
          <a:prstGeom prst="rect">
            <a:avLst/>
          </a:prstGeom>
        </p:spPr>
      </p:pic>
      <p:sp>
        <p:nvSpPr>
          <p:cNvPr id="61" name="object 267">
            <a:extLst>
              <a:ext uri="{FF2B5EF4-FFF2-40B4-BE49-F238E27FC236}">
                <a16:creationId xmlns:a16="http://schemas.microsoft.com/office/drawing/2014/main" id="{DA845558-2BFB-1F47-AF9B-27F32116A9AE}"/>
              </a:ext>
            </a:extLst>
          </p:cNvPr>
          <p:cNvSpPr/>
          <p:nvPr/>
        </p:nvSpPr>
        <p:spPr>
          <a:xfrm>
            <a:off x="0" y="1251482"/>
            <a:ext cx="675518" cy="45719"/>
          </a:xfrm>
          <a:custGeom>
            <a:avLst/>
            <a:gdLst/>
            <a:ahLst/>
            <a:cxnLst/>
            <a:rect l="l" t="t" r="r" b="b"/>
            <a:pathLst>
              <a:path w="657225">
                <a:moveTo>
                  <a:pt x="0" y="0"/>
                </a:moveTo>
                <a:lnTo>
                  <a:pt x="656678" y="0"/>
                </a:lnTo>
              </a:path>
            </a:pathLst>
          </a:custGeom>
          <a:ln w="76200">
            <a:solidFill>
              <a:srgbClr val="EEDC00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JhengHei UI Light" panose="020B0304030504040204" pitchFamily="34" charset="-120"/>
              <a:ea typeface="Microsoft JhengHei UI Light" panose="020B0304030504040204" pitchFamily="34" charset="-120"/>
              <a:cs typeface="+mn-cs"/>
            </a:endParaRPr>
          </a:p>
        </p:txBody>
      </p:sp>
      <p:grpSp>
        <p:nvGrpSpPr>
          <p:cNvPr id="62" name="Gruppo 61">
            <a:extLst>
              <a:ext uri="{FF2B5EF4-FFF2-40B4-BE49-F238E27FC236}">
                <a16:creationId xmlns:a16="http://schemas.microsoft.com/office/drawing/2014/main" id="{6B809B67-CE76-D64B-87FA-9D98C0B46A2F}"/>
              </a:ext>
            </a:extLst>
          </p:cNvPr>
          <p:cNvGrpSpPr/>
          <p:nvPr/>
        </p:nvGrpSpPr>
        <p:grpSpPr>
          <a:xfrm>
            <a:off x="633940" y="1509967"/>
            <a:ext cx="756000" cy="756000"/>
            <a:chOff x="633940" y="1509967"/>
            <a:chExt cx="756000" cy="756000"/>
          </a:xfrm>
        </p:grpSpPr>
        <p:sp>
          <p:nvSpPr>
            <p:cNvPr id="63" name="object 46">
              <a:extLst>
                <a:ext uri="{FF2B5EF4-FFF2-40B4-BE49-F238E27FC236}">
                  <a16:creationId xmlns:a16="http://schemas.microsoft.com/office/drawing/2014/main" id="{96F19CDA-0952-6843-9B81-3A8FF4071F40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33940" y="1509967"/>
              <a:ext cx="756000" cy="756000"/>
            </a:xfrm>
            <a:custGeom>
              <a:avLst/>
              <a:gdLst/>
              <a:ahLst/>
              <a:cxnLst/>
              <a:rect l="l" t="t" r="r" b="b"/>
              <a:pathLst>
                <a:path w="1009650" h="1009650">
                  <a:moveTo>
                    <a:pt x="1009637" y="504825"/>
                  </a:moveTo>
                  <a:lnTo>
                    <a:pt x="1007326" y="553440"/>
                  </a:lnTo>
                  <a:lnTo>
                    <a:pt x="1000534" y="600748"/>
                  </a:lnTo>
                  <a:lnTo>
                    <a:pt x="989474" y="646537"/>
                  </a:lnTo>
                  <a:lnTo>
                    <a:pt x="974355" y="690596"/>
                  </a:lnTo>
                  <a:lnTo>
                    <a:pt x="955391" y="732714"/>
                  </a:lnTo>
                  <a:lnTo>
                    <a:pt x="932791" y="772678"/>
                  </a:lnTo>
                  <a:lnTo>
                    <a:pt x="906769" y="810276"/>
                  </a:lnTo>
                  <a:lnTo>
                    <a:pt x="877535" y="845298"/>
                  </a:lnTo>
                  <a:lnTo>
                    <a:pt x="845302" y="877532"/>
                  </a:lnTo>
                  <a:lnTo>
                    <a:pt x="810279" y="906766"/>
                  </a:lnTo>
                  <a:lnTo>
                    <a:pt x="772680" y="932789"/>
                  </a:lnTo>
                  <a:lnTo>
                    <a:pt x="732715" y="955389"/>
                  </a:lnTo>
                  <a:lnTo>
                    <a:pt x="690596" y="974354"/>
                  </a:lnTo>
                  <a:lnTo>
                    <a:pt x="646535" y="989473"/>
                  </a:lnTo>
                  <a:lnTo>
                    <a:pt x="600743" y="1000534"/>
                  </a:lnTo>
                  <a:lnTo>
                    <a:pt x="553431" y="1007326"/>
                  </a:lnTo>
                  <a:lnTo>
                    <a:pt x="504812" y="1009637"/>
                  </a:lnTo>
                  <a:lnTo>
                    <a:pt x="456197" y="1007326"/>
                  </a:lnTo>
                  <a:lnTo>
                    <a:pt x="408888" y="1000534"/>
                  </a:lnTo>
                  <a:lnTo>
                    <a:pt x="363099" y="989473"/>
                  </a:lnTo>
                  <a:lnTo>
                    <a:pt x="319040" y="974354"/>
                  </a:lnTo>
                  <a:lnTo>
                    <a:pt x="276923" y="955389"/>
                  </a:lnTo>
                  <a:lnTo>
                    <a:pt x="236959" y="932789"/>
                  </a:lnTo>
                  <a:lnTo>
                    <a:pt x="199360" y="906766"/>
                  </a:lnTo>
                  <a:lnTo>
                    <a:pt x="164338" y="877532"/>
                  </a:lnTo>
                  <a:lnTo>
                    <a:pt x="132104" y="845298"/>
                  </a:lnTo>
                  <a:lnTo>
                    <a:pt x="102870" y="810276"/>
                  </a:lnTo>
                  <a:lnTo>
                    <a:pt x="76847" y="772678"/>
                  </a:lnTo>
                  <a:lnTo>
                    <a:pt x="54248" y="732714"/>
                  </a:lnTo>
                  <a:lnTo>
                    <a:pt x="35283" y="690596"/>
                  </a:lnTo>
                  <a:lnTo>
                    <a:pt x="20164" y="646537"/>
                  </a:lnTo>
                  <a:lnTo>
                    <a:pt x="9102" y="600748"/>
                  </a:lnTo>
                  <a:lnTo>
                    <a:pt x="2310" y="553440"/>
                  </a:lnTo>
                  <a:lnTo>
                    <a:pt x="0" y="504825"/>
                  </a:lnTo>
                  <a:lnTo>
                    <a:pt x="2310" y="456207"/>
                  </a:lnTo>
                  <a:lnTo>
                    <a:pt x="9102" y="408897"/>
                  </a:lnTo>
                  <a:lnTo>
                    <a:pt x="20164" y="363106"/>
                  </a:lnTo>
                  <a:lnTo>
                    <a:pt x="35283" y="319045"/>
                  </a:lnTo>
                  <a:lnTo>
                    <a:pt x="54248" y="276927"/>
                  </a:lnTo>
                  <a:lnTo>
                    <a:pt x="76847" y="236962"/>
                  </a:lnTo>
                  <a:lnTo>
                    <a:pt x="102870" y="199363"/>
                  </a:lnTo>
                  <a:lnTo>
                    <a:pt x="132104" y="164340"/>
                  </a:lnTo>
                  <a:lnTo>
                    <a:pt x="164338" y="132105"/>
                  </a:lnTo>
                  <a:lnTo>
                    <a:pt x="199360" y="102871"/>
                  </a:lnTo>
                  <a:lnTo>
                    <a:pt x="236959" y="76848"/>
                  </a:lnTo>
                  <a:lnTo>
                    <a:pt x="276923" y="54248"/>
                  </a:lnTo>
                  <a:lnTo>
                    <a:pt x="319040" y="35283"/>
                  </a:lnTo>
                  <a:lnTo>
                    <a:pt x="363099" y="20164"/>
                  </a:lnTo>
                  <a:lnTo>
                    <a:pt x="408888" y="9102"/>
                  </a:lnTo>
                  <a:lnTo>
                    <a:pt x="456197" y="2310"/>
                  </a:lnTo>
                  <a:lnTo>
                    <a:pt x="504812" y="0"/>
                  </a:lnTo>
                  <a:lnTo>
                    <a:pt x="553431" y="2310"/>
                  </a:lnTo>
                  <a:lnTo>
                    <a:pt x="600743" y="9102"/>
                  </a:lnTo>
                  <a:lnTo>
                    <a:pt x="646535" y="20164"/>
                  </a:lnTo>
                  <a:lnTo>
                    <a:pt x="690596" y="35283"/>
                  </a:lnTo>
                  <a:lnTo>
                    <a:pt x="732715" y="54248"/>
                  </a:lnTo>
                  <a:lnTo>
                    <a:pt x="772680" y="76848"/>
                  </a:lnTo>
                  <a:lnTo>
                    <a:pt x="810279" y="102871"/>
                  </a:lnTo>
                  <a:lnTo>
                    <a:pt x="845302" y="132105"/>
                  </a:lnTo>
                  <a:lnTo>
                    <a:pt x="877535" y="164340"/>
                  </a:lnTo>
                  <a:lnTo>
                    <a:pt x="906769" y="199363"/>
                  </a:lnTo>
                  <a:lnTo>
                    <a:pt x="932791" y="236962"/>
                  </a:lnTo>
                  <a:lnTo>
                    <a:pt x="955391" y="276927"/>
                  </a:lnTo>
                  <a:lnTo>
                    <a:pt x="974355" y="319045"/>
                  </a:lnTo>
                  <a:lnTo>
                    <a:pt x="989474" y="363106"/>
                  </a:lnTo>
                  <a:lnTo>
                    <a:pt x="1000534" y="408897"/>
                  </a:lnTo>
                  <a:lnTo>
                    <a:pt x="1007326" y="456207"/>
                  </a:lnTo>
                  <a:lnTo>
                    <a:pt x="1009637" y="504825"/>
                  </a:lnTo>
                  <a:close/>
                </a:path>
              </a:pathLst>
            </a:custGeom>
            <a:solidFill>
              <a:schemeClr val="bg1"/>
            </a:solidFill>
            <a:ln w="12700">
              <a:solidFill>
                <a:srgbClr val="0046BA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3B3B3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64" name="object 47">
              <a:extLst>
                <a:ext uri="{FF2B5EF4-FFF2-40B4-BE49-F238E27FC236}">
                  <a16:creationId xmlns:a16="http://schemas.microsoft.com/office/drawing/2014/main" id="{648A8F46-8F0B-AA46-8556-B52CFDFB722D}"/>
                </a:ext>
              </a:extLst>
            </p:cNvPr>
            <p:cNvSpPr/>
            <p:nvPr userDrawn="1"/>
          </p:nvSpPr>
          <p:spPr>
            <a:xfrm>
              <a:off x="687940" y="1563967"/>
              <a:ext cx="648000" cy="648000"/>
            </a:xfrm>
            <a:custGeom>
              <a:avLst/>
              <a:gdLst/>
              <a:ahLst/>
              <a:cxnLst/>
              <a:rect l="l" t="t" r="r" b="b"/>
              <a:pathLst>
                <a:path w="836294" h="836294">
                  <a:moveTo>
                    <a:pt x="417944" y="0"/>
                  </a:moveTo>
                  <a:lnTo>
                    <a:pt x="369203" y="2811"/>
                  </a:lnTo>
                  <a:lnTo>
                    <a:pt x="322114" y="11038"/>
                  </a:lnTo>
                  <a:lnTo>
                    <a:pt x="276989" y="24365"/>
                  </a:lnTo>
                  <a:lnTo>
                    <a:pt x="234143" y="42480"/>
                  </a:lnTo>
                  <a:lnTo>
                    <a:pt x="193890" y="65069"/>
                  </a:lnTo>
                  <a:lnTo>
                    <a:pt x="156542" y="91818"/>
                  </a:lnTo>
                  <a:lnTo>
                    <a:pt x="122413" y="122413"/>
                  </a:lnTo>
                  <a:lnTo>
                    <a:pt x="91818" y="156542"/>
                  </a:lnTo>
                  <a:lnTo>
                    <a:pt x="65069" y="193890"/>
                  </a:lnTo>
                  <a:lnTo>
                    <a:pt x="42480" y="234143"/>
                  </a:lnTo>
                  <a:lnTo>
                    <a:pt x="24365" y="276989"/>
                  </a:lnTo>
                  <a:lnTo>
                    <a:pt x="11038" y="322114"/>
                  </a:lnTo>
                  <a:lnTo>
                    <a:pt x="2811" y="369203"/>
                  </a:lnTo>
                  <a:lnTo>
                    <a:pt x="0" y="417944"/>
                  </a:lnTo>
                  <a:lnTo>
                    <a:pt x="2811" y="466685"/>
                  </a:lnTo>
                  <a:lnTo>
                    <a:pt x="11038" y="513774"/>
                  </a:lnTo>
                  <a:lnTo>
                    <a:pt x="24365" y="558898"/>
                  </a:lnTo>
                  <a:lnTo>
                    <a:pt x="42480" y="601744"/>
                  </a:lnTo>
                  <a:lnTo>
                    <a:pt x="65069" y="641998"/>
                  </a:lnTo>
                  <a:lnTo>
                    <a:pt x="91818" y="679346"/>
                  </a:lnTo>
                  <a:lnTo>
                    <a:pt x="122413" y="713474"/>
                  </a:lnTo>
                  <a:lnTo>
                    <a:pt x="156542" y="744070"/>
                  </a:lnTo>
                  <a:lnTo>
                    <a:pt x="193890" y="770819"/>
                  </a:lnTo>
                  <a:lnTo>
                    <a:pt x="234143" y="793407"/>
                  </a:lnTo>
                  <a:lnTo>
                    <a:pt x="276989" y="811522"/>
                  </a:lnTo>
                  <a:lnTo>
                    <a:pt x="322114" y="824850"/>
                  </a:lnTo>
                  <a:lnTo>
                    <a:pt x="369203" y="833076"/>
                  </a:lnTo>
                  <a:lnTo>
                    <a:pt x="417944" y="835888"/>
                  </a:lnTo>
                  <a:lnTo>
                    <a:pt x="466685" y="833076"/>
                  </a:lnTo>
                  <a:lnTo>
                    <a:pt x="513774" y="824850"/>
                  </a:lnTo>
                  <a:lnTo>
                    <a:pt x="558898" y="811522"/>
                  </a:lnTo>
                  <a:lnTo>
                    <a:pt x="601744" y="793407"/>
                  </a:lnTo>
                  <a:lnTo>
                    <a:pt x="641998" y="770819"/>
                  </a:lnTo>
                  <a:lnTo>
                    <a:pt x="679346" y="744070"/>
                  </a:lnTo>
                  <a:lnTo>
                    <a:pt x="713474" y="713474"/>
                  </a:lnTo>
                  <a:lnTo>
                    <a:pt x="744070" y="679346"/>
                  </a:lnTo>
                  <a:lnTo>
                    <a:pt x="770819" y="641998"/>
                  </a:lnTo>
                  <a:lnTo>
                    <a:pt x="793407" y="601744"/>
                  </a:lnTo>
                  <a:lnTo>
                    <a:pt x="811522" y="558898"/>
                  </a:lnTo>
                  <a:lnTo>
                    <a:pt x="824850" y="513774"/>
                  </a:lnTo>
                  <a:lnTo>
                    <a:pt x="833076" y="466685"/>
                  </a:lnTo>
                  <a:lnTo>
                    <a:pt x="835888" y="417944"/>
                  </a:lnTo>
                  <a:lnTo>
                    <a:pt x="833076" y="369203"/>
                  </a:lnTo>
                  <a:lnTo>
                    <a:pt x="824850" y="322114"/>
                  </a:lnTo>
                  <a:lnTo>
                    <a:pt x="811522" y="276989"/>
                  </a:lnTo>
                  <a:lnTo>
                    <a:pt x="793407" y="234143"/>
                  </a:lnTo>
                  <a:lnTo>
                    <a:pt x="770819" y="193890"/>
                  </a:lnTo>
                  <a:lnTo>
                    <a:pt x="744070" y="156542"/>
                  </a:lnTo>
                  <a:lnTo>
                    <a:pt x="713474" y="122413"/>
                  </a:lnTo>
                  <a:lnTo>
                    <a:pt x="679346" y="91818"/>
                  </a:lnTo>
                  <a:lnTo>
                    <a:pt x="641998" y="65069"/>
                  </a:lnTo>
                  <a:lnTo>
                    <a:pt x="601744" y="42480"/>
                  </a:lnTo>
                  <a:lnTo>
                    <a:pt x="558898" y="24365"/>
                  </a:lnTo>
                  <a:lnTo>
                    <a:pt x="513774" y="11038"/>
                  </a:lnTo>
                  <a:lnTo>
                    <a:pt x="466685" y="2811"/>
                  </a:lnTo>
                  <a:lnTo>
                    <a:pt x="417944" y="0"/>
                  </a:lnTo>
                  <a:close/>
                </a:path>
              </a:pathLst>
            </a:custGeom>
            <a:solidFill>
              <a:srgbClr val="EEDC00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srgbClr val="3B3B3A"/>
                </a:solidFill>
                <a:effectLst/>
                <a:uLnTx/>
                <a:uFillTx/>
                <a:latin typeface="Avenir Next LT Pro" panose="020B0504020202020204" pitchFamily="34" charset="77"/>
                <a:ea typeface="+mn-ea"/>
                <a:cs typeface="+mn-cs"/>
              </a:endParaRPr>
            </a:p>
          </p:txBody>
        </p:sp>
      </p:grpSp>
      <p:cxnSp>
        <p:nvCxnSpPr>
          <p:cNvPr id="65" name="Connettore 1 46">
            <a:extLst>
              <a:ext uri="{FF2B5EF4-FFF2-40B4-BE49-F238E27FC236}">
                <a16:creationId xmlns:a16="http://schemas.microsoft.com/office/drawing/2014/main" id="{AF2BBACD-3DA2-234B-9A0D-F8F1F346743C}"/>
              </a:ext>
            </a:extLst>
          </p:cNvPr>
          <p:cNvCxnSpPr>
            <a:cxnSpLocks/>
          </p:cNvCxnSpPr>
          <p:nvPr/>
        </p:nvCxnSpPr>
        <p:spPr>
          <a:xfrm>
            <a:off x="1395006" y="1889852"/>
            <a:ext cx="4140000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CasellaDiTesto 1">
            <a:extLst>
              <a:ext uri="{FF2B5EF4-FFF2-40B4-BE49-F238E27FC236}">
                <a16:creationId xmlns:a16="http://schemas.microsoft.com/office/drawing/2014/main" id="{15488B3D-FD54-DE45-9349-5EB6B933BB01}"/>
              </a:ext>
            </a:extLst>
          </p:cNvPr>
          <p:cNvSpPr txBox="1"/>
          <p:nvPr userDrawn="1"/>
        </p:nvSpPr>
        <p:spPr>
          <a:xfrm>
            <a:off x="3916392" y="6623540"/>
            <a:ext cx="739499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it-IT" sz="800" i="1" dirty="0"/>
              <a:t>Documento ad uso esclusivamente interno, da intendersi come strettamente riservato; non è autorizzata la trasmissione ad altri e la divulgazione all’esterno.</a:t>
            </a:r>
            <a:endParaRPr lang="en-US" sz="800" i="1" dirty="0"/>
          </a:p>
        </p:txBody>
      </p:sp>
    </p:spTree>
    <p:extLst>
      <p:ext uri="{BB962C8B-B14F-4D97-AF65-F5344CB8AC3E}">
        <p14:creationId xmlns:p14="http://schemas.microsoft.com/office/powerpoint/2010/main" val="1008729613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6" orient="horz" pos="3725">
          <p15:clr>
            <a:srgbClr val="FBAE40"/>
          </p15:clr>
        </p15:guide>
        <p15:guide id="7" pos="3840">
          <p15:clr>
            <a:srgbClr val="FBAE40"/>
          </p15:clr>
        </p15:guide>
        <p15:guide id="8" pos="325">
          <p15:clr>
            <a:srgbClr val="FBAE40"/>
          </p15:clr>
        </p15:guide>
        <p15:guide id="9" pos="7333">
          <p15:clr>
            <a:srgbClr val="FBAE40"/>
          </p15:clr>
        </p15:guide>
        <p15:guide id="10" orient="horz" pos="1480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Pagina 2 box DX + 1 box SX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bg object 16">
            <a:extLst>
              <a:ext uri="{FF2B5EF4-FFF2-40B4-BE49-F238E27FC236}">
                <a16:creationId xmlns:a16="http://schemas.microsoft.com/office/drawing/2014/main" id="{BCFAEBF8-790C-A54A-9E47-3E3639BCC461}"/>
              </a:ext>
            </a:extLst>
          </p:cNvPr>
          <p:cNvSpPr/>
          <p:nvPr/>
        </p:nvSpPr>
        <p:spPr>
          <a:xfrm>
            <a:off x="11330381" y="6448615"/>
            <a:ext cx="311785" cy="410845"/>
          </a:xfrm>
          <a:custGeom>
            <a:avLst/>
            <a:gdLst/>
            <a:ahLst/>
            <a:cxnLst/>
            <a:rect l="l" t="t" r="r" b="b"/>
            <a:pathLst>
              <a:path w="311784" h="410845">
                <a:moveTo>
                  <a:pt x="311645" y="0"/>
                </a:moveTo>
                <a:lnTo>
                  <a:pt x="0" y="0"/>
                </a:lnTo>
                <a:lnTo>
                  <a:pt x="0" y="410438"/>
                </a:lnTo>
                <a:lnTo>
                  <a:pt x="311645" y="410438"/>
                </a:lnTo>
                <a:lnTo>
                  <a:pt x="311645" y="0"/>
                </a:lnTo>
                <a:close/>
              </a:path>
            </a:pathLst>
          </a:custGeom>
          <a:solidFill>
            <a:srgbClr val="0047B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" name="Holder 7">
            <a:extLst>
              <a:ext uri="{FF2B5EF4-FFF2-40B4-BE49-F238E27FC236}">
                <a16:creationId xmlns:a16="http://schemas.microsoft.com/office/drawing/2014/main" id="{EADEFA5D-780C-4841-8968-F8DA8FB77458}"/>
              </a:ext>
            </a:extLst>
          </p:cNvPr>
          <p:cNvSpPr txBox="1">
            <a:spLocks/>
          </p:cNvSpPr>
          <p:nvPr/>
        </p:nvSpPr>
        <p:spPr>
          <a:xfrm>
            <a:off x="11342726" y="6520516"/>
            <a:ext cx="256044" cy="16158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it-IT"/>
            </a:defPPr>
            <a:lvl1pPr marL="0" algn="l" defTabSz="914400" rtl="0" eaLnBrk="1" latinLnBrk="0" hangingPunct="1">
              <a:defRPr sz="850" b="1" i="0" kern="1200">
                <a:solidFill>
                  <a:schemeClr val="bg1"/>
                </a:solidFill>
                <a:latin typeface="Verdana"/>
                <a:ea typeface="+mn-ea"/>
                <a:cs typeface="Verdana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8100" algn="ctr">
              <a:spcBef>
                <a:spcPts val="105"/>
              </a:spcBef>
            </a:pPr>
            <a:fld id="{81D60167-4931-47E6-BA6A-407CBD079E47}" type="slidenum">
              <a:rPr lang="it-IT" sz="1050" b="0" i="0" spc="5" smtClean="0">
                <a:latin typeface="Avenir Next LT Pro" pitchFamily="2" charset="0"/>
              </a:rPr>
              <a:pPr marL="38100" algn="ctr">
                <a:spcBef>
                  <a:spcPts val="105"/>
                </a:spcBef>
              </a:pPr>
              <a:t>‹N›</a:t>
            </a:fld>
            <a:endParaRPr lang="it-IT" sz="1050" b="0" i="0" spc="5" dirty="0">
              <a:latin typeface="Avenir Next LT Pro" pitchFamily="2" charset="0"/>
            </a:endParaRPr>
          </a:p>
        </p:txBody>
      </p:sp>
      <p:sp>
        <p:nvSpPr>
          <p:cNvPr id="6" name="Triangolo isoscele 16">
            <a:extLst>
              <a:ext uri="{FF2B5EF4-FFF2-40B4-BE49-F238E27FC236}">
                <a16:creationId xmlns:a16="http://schemas.microsoft.com/office/drawing/2014/main" id="{8A368720-335F-0F45-860A-0606EE42684C}"/>
              </a:ext>
            </a:extLst>
          </p:cNvPr>
          <p:cNvSpPr/>
          <p:nvPr/>
        </p:nvSpPr>
        <p:spPr>
          <a:xfrm rot="10800000">
            <a:off x="303127" y="-324737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7" name="Triangolo isoscele 17">
            <a:extLst>
              <a:ext uri="{FF2B5EF4-FFF2-40B4-BE49-F238E27FC236}">
                <a16:creationId xmlns:a16="http://schemas.microsoft.com/office/drawing/2014/main" id="{E2772AA6-60C9-0B42-835F-13797EE9ED3C}"/>
              </a:ext>
            </a:extLst>
          </p:cNvPr>
          <p:cNvSpPr/>
          <p:nvPr/>
        </p:nvSpPr>
        <p:spPr>
          <a:xfrm rot="10800000">
            <a:off x="11756536" y="-324737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8" name="Triangolo isoscele 18">
            <a:extLst>
              <a:ext uri="{FF2B5EF4-FFF2-40B4-BE49-F238E27FC236}">
                <a16:creationId xmlns:a16="http://schemas.microsoft.com/office/drawing/2014/main" id="{C7BF371F-A6F2-FD41-82B8-D9B554CACAF1}"/>
              </a:ext>
            </a:extLst>
          </p:cNvPr>
          <p:cNvSpPr/>
          <p:nvPr/>
        </p:nvSpPr>
        <p:spPr>
          <a:xfrm>
            <a:off x="303127" y="6950754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9" name="Triangolo isoscele 19">
            <a:extLst>
              <a:ext uri="{FF2B5EF4-FFF2-40B4-BE49-F238E27FC236}">
                <a16:creationId xmlns:a16="http://schemas.microsoft.com/office/drawing/2014/main" id="{FCEF8EFB-88B6-D747-9382-15136CFCC56E}"/>
              </a:ext>
            </a:extLst>
          </p:cNvPr>
          <p:cNvSpPr/>
          <p:nvPr/>
        </p:nvSpPr>
        <p:spPr>
          <a:xfrm>
            <a:off x="11756536" y="6950754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10" name="Triangolo isoscele 20">
            <a:extLst>
              <a:ext uri="{FF2B5EF4-FFF2-40B4-BE49-F238E27FC236}">
                <a16:creationId xmlns:a16="http://schemas.microsoft.com/office/drawing/2014/main" id="{47007676-0BFD-5F42-846B-AA823A1BFA60}"/>
              </a:ext>
            </a:extLst>
          </p:cNvPr>
          <p:cNvSpPr/>
          <p:nvPr/>
        </p:nvSpPr>
        <p:spPr>
          <a:xfrm rot="5400000">
            <a:off x="-276040" y="885372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11" name="Triangolo isoscele 21">
            <a:extLst>
              <a:ext uri="{FF2B5EF4-FFF2-40B4-BE49-F238E27FC236}">
                <a16:creationId xmlns:a16="http://schemas.microsoft.com/office/drawing/2014/main" id="{9F8B8967-D8B7-EF40-A160-9FD75894783B}"/>
              </a:ext>
            </a:extLst>
          </p:cNvPr>
          <p:cNvSpPr/>
          <p:nvPr/>
        </p:nvSpPr>
        <p:spPr>
          <a:xfrm rot="5400000">
            <a:off x="-276039" y="5982836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12" name="Triangolo isoscele 22">
            <a:extLst>
              <a:ext uri="{FF2B5EF4-FFF2-40B4-BE49-F238E27FC236}">
                <a16:creationId xmlns:a16="http://schemas.microsoft.com/office/drawing/2014/main" id="{58B46DE6-6338-7140-8CA8-25EC1DE4AEB7}"/>
              </a:ext>
            </a:extLst>
          </p:cNvPr>
          <p:cNvSpPr/>
          <p:nvPr/>
        </p:nvSpPr>
        <p:spPr>
          <a:xfrm rot="16200000">
            <a:off x="12331119" y="885372"/>
            <a:ext cx="132336" cy="261257"/>
          </a:xfrm>
          <a:prstGeom prst="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13" name="Triangolo isoscele 23">
            <a:extLst>
              <a:ext uri="{FF2B5EF4-FFF2-40B4-BE49-F238E27FC236}">
                <a16:creationId xmlns:a16="http://schemas.microsoft.com/office/drawing/2014/main" id="{BA951F18-3E6B-F245-B833-D4E6A22CAE34}"/>
              </a:ext>
            </a:extLst>
          </p:cNvPr>
          <p:cNvSpPr/>
          <p:nvPr/>
        </p:nvSpPr>
        <p:spPr>
          <a:xfrm rot="16200000">
            <a:off x="12331120" y="5982836"/>
            <a:ext cx="132336" cy="261257"/>
          </a:xfrm>
          <a:prstGeom prst="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14" name="Triangolo isoscele 31">
            <a:extLst>
              <a:ext uri="{FF2B5EF4-FFF2-40B4-BE49-F238E27FC236}">
                <a16:creationId xmlns:a16="http://schemas.microsoft.com/office/drawing/2014/main" id="{07246241-C678-DB48-84D0-2C7143C6A157}"/>
              </a:ext>
            </a:extLst>
          </p:cNvPr>
          <p:cNvSpPr/>
          <p:nvPr/>
        </p:nvSpPr>
        <p:spPr>
          <a:xfrm rot="10800000">
            <a:off x="303127" y="-324737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15" name="Triangolo isoscele 32">
            <a:extLst>
              <a:ext uri="{FF2B5EF4-FFF2-40B4-BE49-F238E27FC236}">
                <a16:creationId xmlns:a16="http://schemas.microsoft.com/office/drawing/2014/main" id="{A3BC8E3A-7E5D-BE49-8DBD-35856251134F}"/>
              </a:ext>
            </a:extLst>
          </p:cNvPr>
          <p:cNvSpPr/>
          <p:nvPr/>
        </p:nvSpPr>
        <p:spPr>
          <a:xfrm rot="10800000">
            <a:off x="11756536" y="-324737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16" name="Triangolo isoscele 33">
            <a:extLst>
              <a:ext uri="{FF2B5EF4-FFF2-40B4-BE49-F238E27FC236}">
                <a16:creationId xmlns:a16="http://schemas.microsoft.com/office/drawing/2014/main" id="{E9B5EA53-1DC4-1940-8594-3256ADD5AE0C}"/>
              </a:ext>
            </a:extLst>
          </p:cNvPr>
          <p:cNvSpPr/>
          <p:nvPr/>
        </p:nvSpPr>
        <p:spPr>
          <a:xfrm>
            <a:off x="303127" y="6950754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21" name="Triangolo isoscele 34">
            <a:extLst>
              <a:ext uri="{FF2B5EF4-FFF2-40B4-BE49-F238E27FC236}">
                <a16:creationId xmlns:a16="http://schemas.microsoft.com/office/drawing/2014/main" id="{749E0E17-FFD8-164C-B560-1DFF3FBB41DF}"/>
              </a:ext>
            </a:extLst>
          </p:cNvPr>
          <p:cNvSpPr/>
          <p:nvPr/>
        </p:nvSpPr>
        <p:spPr>
          <a:xfrm>
            <a:off x="11756536" y="6950754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22" name="Triangolo isoscele 35">
            <a:extLst>
              <a:ext uri="{FF2B5EF4-FFF2-40B4-BE49-F238E27FC236}">
                <a16:creationId xmlns:a16="http://schemas.microsoft.com/office/drawing/2014/main" id="{2449D32D-31E9-1E41-8135-CF757AF1ADCB}"/>
              </a:ext>
            </a:extLst>
          </p:cNvPr>
          <p:cNvSpPr/>
          <p:nvPr/>
        </p:nvSpPr>
        <p:spPr>
          <a:xfrm rot="5400000">
            <a:off x="-276040" y="885372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23" name="Triangolo isoscele 36">
            <a:extLst>
              <a:ext uri="{FF2B5EF4-FFF2-40B4-BE49-F238E27FC236}">
                <a16:creationId xmlns:a16="http://schemas.microsoft.com/office/drawing/2014/main" id="{92505FB0-1068-1143-AB9B-F5A849D826DE}"/>
              </a:ext>
            </a:extLst>
          </p:cNvPr>
          <p:cNvSpPr/>
          <p:nvPr/>
        </p:nvSpPr>
        <p:spPr>
          <a:xfrm rot="5400000">
            <a:off x="-276039" y="5982836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24" name="Triangolo isoscele 37">
            <a:extLst>
              <a:ext uri="{FF2B5EF4-FFF2-40B4-BE49-F238E27FC236}">
                <a16:creationId xmlns:a16="http://schemas.microsoft.com/office/drawing/2014/main" id="{D60FCBF0-3D48-CF40-ABA6-F53B703D88CA}"/>
              </a:ext>
            </a:extLst>
          </p:cNvPr>
          <p:cNvSpPr/>
          <p:nvPr/>
        </p:nvSpPr>
        <p:spPr>
          <a:xfrm rot="16200000">
            <a:off x="12331119" y="885372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25" name="Triangolo isoscele 38">
            <a:extLst>
              <a:ext uri="{FF2B5EF4-FFF2-40B4-BE49-F238E27FC236}">
                <a16:creationId xmlns:a16="http://schemas.microsoft.com/office/drawing/2014/main" id="{95E14022-E59F-9F4C-998B-8575096AA6A0}"/>
              </a:ext>
            </a:extLst>
          </p:cNvPr>
          <p:cNvSpPr/>
          <p:nvPr/>
        </p:nvSpPr>
        <p:spPr>
          <a:xfrm rot="16200000">
            <a:off x="12331120" y="5982836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pic>
        <p:nvPicPr>
          <p:cNvPr id="36" name="Elemento grafico 35">
            <a:extLst>
              <a:ext uri="{FF2B5EF4-FFF2-40B4-BE49-F238E27FC236}">
                <a16:creationId xmlns:a16="http://schemas.microsoft.com/office/drawing/2014/main" id="{9531B5A1-7BA2-E141-B54D-FEC62D4B762E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081892" y="-5080"/>
            <a:ext cx="1560273" cy="309880"/>
          </a:xfrm>
          <a:prstGeom prst="rect">
            <a:avLst/>
          </a:prstGeom>
        </p:spPr>
      </p:pic>
      <p:sp>
        <p:nvSpPr>
          <p:cNvPr id="37" name="object 267">
            <a:extLst>
              <a:ext uri="{FF2B5EF4-FFF2-40B4-BE49-F238E27FC236}">
                <a16:creationId xmlns:a16="http://schemas.microsoft.com/office/drawing/2014/main" id="{1A701277-6B82-924C-9434-545B7977906E}"/>
              </a:ext>
            </a:extLst>
          </p:cNvPr>
          <p:cNvSpPr/>
          <p:nvPr/>
        </p:nvSpPr>
        <p:spPr>
          <a:xfrm>
            <a:off x="0" y="1251482"/>
            <a:ext cx="675518" cy="45719"/>
          </a:xfrm>
          <a:custGeom>
            <a:avLst/>
            <a:gdLst/>
            <a:ahLst/>
            <a:cxnLst/>
            <a:rect l="l" t="t" r="r" b="b"/>
            <a:pathLst>
              <a:path w="657225">
                <a:moveTo>
                  <a:pt x="0" y="0"/>
                </a:moveTo>
                <a:lnTo>
                  <a:pt x="656678" y="0"/>
                </a:lnTo>
              </a:path>
            </a:pathLst>
          </a:custGeom>
          <a:ln w="76200">
            <a:solidFill>
              <a:srgbClr val="EEDC00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JhengHei UI Light" panose="020B0304030504040204" pitchFamily="34" charset="-120"/>
              <a:ea typeface="Microsoft JhengHei UI Light" panose="020B0304030504040204" pitchFamily="34" charset="-120"/>
              <a:cs typeface="+mn-cs"/>
            </a:endParaRPr>
          </a:p>
        </p:txBody>
      </p:sp>
      <p:sp>
        <p:nvSpPr>
          <p:cNvPr id="34" name="Segnaposto testo 2">
            <a:extLst>
              <a:ext uri="{FF2B5EF4-FFF2-40B4-BE49-F238E27FC236}">
                <a16:creationId xmlns:a16="http://schemas.microsoft.com/office/drawing/2014/main" id="{1B74C236-B652-4041-99ED-254A64385C7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49834" y="503037"/>
            <a:ext cx="10412412" cy="655637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 b="0" i="0">
                <a:solidFill>
                  <a:srgbClr val="0047BB"/>
                </a:solidFill>
                <a:latin typeface="Avenir Next LT Pro" panose="020B0504020202020204" pitchFamily="34" charset="77"/>
              </a:defRPr>
            </a:lvl1pPr>
            <a:lvl2pPr marL="457200" indent="0">
              <a:buNone/>
              <a:defRPr sz="4000" b="0" i="0">
                <a:latin typeface="Avenir Next LT Pro" panose="020B0504020202020204" pitchFamily="34" charset="77"/>
              </a:defRPr>
            </a:lvl2pPr>
            <a:lvl3pPr marL="914400" indent="0">
              <a:buNone/>
              <a:defRPr sz="4000" b="0" i="0">
                <a:latin typeface="Avenir Next LT Pro" panose="020B0504020202020204" pitchFamily="34" charset="77"/>
              </a:defRPr>
            </a:lvl3pPr>
            <a:lvl4pPr marL="1371600" indent="0">
              <a:buNone/>
              <a:defRPr sz="4000" b="0" i="0">
                <a:latin typeface="Avenir Next LT Pro" panose="020B0504020202020204" pitchFamily="34" charset="77"/>
              </a:defRPr>
            </a:lvl4pPr>
            <a:lvl5pPr marL="1828800" indent="0">
              <a:buNone/>
              <a:defRPr sz="4000" b="0" i="0">
                <a:latin typeface="Avenir Next LT Pro" panose="020B0504020202020204" pitchFamily="34" charset="77"/>
              </a:defRPr>
            </a:lvl5pPr>
          </a:lstStyle>
          <a:p>
            <a:pPr lvl="0"/>
            <a:r>
              <a:rPr lang="it-IT" dirty="0"/>
              <a:t>FARE CLIC PER MODIFICARE TITOLO DIAPOSITIVA</a:t>
            </a:r>
          </a:p>
        </p:txBody>
      </p:sp>
      <p:sp>
        <p:nvSpPr>
          <p:cNvPr id="40" name="Segnaposto testo 4">
            <a:extLst>
              <a:ext uri="{FF2B5EF4-FFF2-40B4-BE49-F238E27FC236}">
                <a16:creationId xmlns:a16="http://schemas.microsoft.com/office/drawing/2014/main" id="{597E06C8-CAFB-E24B-A154-8EA093E0C54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49834" y="5917932"/>
            <a:ext cx="9402763" cy="573088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900" b="0" i="0">
                <a:latin typeface="Avenir Next LT Pro" panose="020B0504020202020204" pitchFamily="34" charset="77"/>
              </a:defRPr>
            </a:lvl1pPr>
            <a:lvl2pPr marL="457200" indent="0">
              <a:buNone/>
              <a:defRPr sz="900" b="0" i="0">
                <a:latin typeface="Avenir Next LT Pro" panose="020B0504020202020204" pitchFamily="34" charset="77"/>
              </a:defRPr>
            </a:lvl2pPr>
            <a:lvl3pPr marL="914400" indent="0">
              <a:buNone/>
              <a:defRPr sz="900" b="0" i="0">
                <a:latin typeface="Avenir Next LT Pro" panose="020B0504020202020204" pitchFamily="34" charset="77"/>
              </a:defRPr>
            </a:lvl3pPr>
            <a:lvl4pPr marL="1371600" indent="0">
              <a:buNone/>
              <a:defRPr sz="900" b="0" i="0">
                <a:latin typeface="Avenir Next LT Pro" panose="020B0504020202020204" pitchFamily="34" charset="77"/>
              </a:defRPr>
            </a:lvl4pPr>
            <a:lvl5pPr marL="1828800" indent="0">
              <a:buNone/>
              <a:defRPr sz="900" b="0" i="0">
                <a:latin typeface="Avenir Next LT Pro" panose="020B0504020202020204" pitchFamily="34" charset="77"/>
              </a:defRPr>
            </a:lvl5pPr>
          </a:lstStyle>
          <a:p>
            <a:pPr lvl="0"/>
            <a:r>
              <a:rPr lang="it-IT" dirty="0"/>
              <a:t>1. Fare clic per modificare le note 2. Fare clic per modificare le note 3. Fare clic per modificare le note </a:t>
            </a:r>
          </a:p>
        </p:txBody>
      </p:sp>
      <p:sp>
        <p:nvSpPr>
          <p:cNvPr id="4" name="Segnaposto contenuto 3">
            <a:extLst>
              <a:ext uri="{FF2B5EF4-FFF2-40B4-BE49-F238E27FC236}">
                <a16:creationId xmlns:a16="http://schemas.microsoft.com/office/drawing/2014/main" id="{B72FE258-5D20-BA45-BACF-20ED1C313B4C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515938" y="2355296"/>
            <a:ext cx="5580062" cy="1579646"/>
          </a:xfrm>
          <a:prstGeom prst="rect">
            <a:avLst/>
          </a:prstGeom>
        </p:spPr>
        <p:txBody>
          <a:bodyPr lIns="144000" tIns="144000" rIns="144000" bIns="144000"/>
          <a:lstStyle>
            <a:lvl1pPr marL="228600" indent="-228600">
              <a:buClr>
                <a:schemeClr val="accent2"/>
              </a:buClr>
              <a:buFont typeface="Font di sistema regolare"/>
              <a:buChar char="●"/>
              <a:defRPr sz="1400">
                <a:solidFill>
                  <a:schemeClr val="tx1"/>
                </a:solidFill>
              </a:defRPr>
            </a:lvl1pPr>
            <a:lvl2pPr marL="685800" indent="-228600">
              <a:buClr>
                <a:schemeClr val="accent2"/>
              </a:buClr>
              <a:buFont typeface="Font di sistema regolare"/>
              <a:buChar char="●"/>
              <a:defRPr sz="1400">
                <a:solidFill>
                  <a:schemeClr val="tx1"/>
                </a:solidFill>
              </a:defRPr>
            </a:lvl2pPr>
            <a:lvl3pPr marL="1143000" indent="-228600">
              <a:buClr>
                <a:schemeClr val="accent2"/>
              </a:buClr>
              <a:buFont typeface="Font di sistema regolare"/>
              <a:buChar char="●"/>
              <a:defRPr sz="1400">
                <a:solidFill>
                  <a:schemeClr val="tx1"/>
                </a:solidFill>
              </a:defRPr>
            </a:lvl3pPr>
            <a:lvl4pPr marL="1600200" indent="-228600">
              <a:buClr>
                <a:schemeClr val="accent2"/>
              </a:buClr>
              <a:buFont typeface="Font di sistema regolare"/>
              <a:buChar char="●"/>
              <a:defRPr sz="1400">
                <a:solidFill>
                  <a:schemeClr val="tx1"/>
                </a:solidFill>
              </a:defRPr>
            </a:lvl4pPr>
            <a:lvl5pPr marL="2057400" indent="-228600">
              <a:buClr>
                <a:schemeClr val="accent2"/>
              </a:buClr>
              <a:buFont typeface="Font di sistema regolare"/>
              <a:buChar char="●"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it-IT" dirty="0"/>
          </a:p>
        </p:txBody>
      </p:sp>
      <p:sp>
        <p:nvSpPr>
          <p:cNvPr id="38" name="Estrai 37">
            <a:extLst>
              <a:ext uri="{FF2B5EF4-FFF2-40B4-BE49-F238E27FC236}">
                <a16:creationId xmlns:a16="http://schemas.microsoft.com/office/drawing/2014/main" id="{FEEBD974-110E-0D4D-932F-EA9CC93BD9ED}"/>
              </a:ext>
            </a:extLst>
          </p:cNvPr>
          <p:cNvSpPr/>
          <p:nvPr/>
        </p:nvSpPr>
        <p:spPr>
          <a:xfrm rot="5400000">
            <a:off x="5471797" y="3489972"/>
            <a:ext cx="1567955" cy="451172"/>
          </a:xfrm>
          <a:prstGeom prst="flowChartExtract">
            <a:avLst/>
          </a:prstGeom>
          <a:gradFill flip="none" rotWithShape="1">
            <a:gsLst>
              <a:gs pos="0">
                <a:srgbClr val="0047BB">
                  <a:alpha val="0"/>
                </a:srgbClr>
              </a:gs>
              <a:gs pos="90000">
                <a:srgbClr val="0047BB">
                  <a:alpha val="30000"/>
                </a:srgb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venir Next LT Pro" panose="020B0504020202020204" pitchFamily="34" charset="77"/>
              <a:ea typeface="+mn-ea"/>
              <a:cs typeface="+mn-cs"/>
            </a:endParaRPr>
          </a:p>
        </p:txBody>
      </p:sp>
      <p:sp>
        <p:nvSpPr>
          <p:cNvPr id="44" name="Segnaposto contenuto 3">
            <a:extLst>
              <a:ext uri="{FF2B5EF4-FFF2-40B4-BE49-F238E27FC236}">
                <a16:creationId xmlns:a16="http://schemas.microsoft.com/office/drawing/2014/main" id="{9A0953E8-917B-BA41-B29F-B2B74E2C1947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33448" y="5074391"/>
            <a:ext cx="5580062" cy="1105242"/>
          </a:xfrm>
          <a:prstGeom prst="rect">
            <a:avLst/>
          </a:prstGeom>
        </p:spPr>
        <p:txBody>
          <a:bodyPr lIns="144000" tIns="144000" rIns="144000" bIns="144000"/>
          <a:lstStyle>
            <a:lvl1pPr marL="228600" indent="-228600">
              <a:buClr>
                <a:schemeClr val="accent2"/>
              </a:buClr>
              <a:buFont typeface="Font di sistema regolare"/>
              <a:buChar char="●"/>
              <a:defRPr sz="1400">
                <a:solidFill>
                  <a:schemeClr val="tx1"/>
                </a:solidFill>
              </a:defRPr>
            </a:lvl1pPr>
            <a:lvl2pPr marL="685800" indent="-228600">
              <a:buClr>
                <a:schemeClr val="accent2"/>
              </a:buClr>
              <a:buFont typeface="Font di sistema regolare"/>
              <a:buChar char="●"/>
              <a:defRPr sz="1400">
                <a:solidFill>
                  <a:schemeClr val="tx1"/>
                </a:solidFill>
              </a:defRPr>
            </a:lvl2pPr>
            <a:lvl3pPr marL="1143000" indent="-228600">
              <a:buClr>
                <a:schemeClr val="accent2"/>
              </a:buClr>
              <a:buFont typeface="Font di sistema regolare"/>
              <a:buChar char="●"/>
              <a:defRPr sz="1400">
                <a:solidFill>
                  <a:schemeClr val="tx1"/>
                </a:solidFill>
              </a:defRPr>
            </a:lvl3pPr>
            <a:lvl4pPr marL="1600200" indent="-228600">
              <a:buClr>
                <a:schemeClr val="accent2"/>
              </a:buClr>
              <a:buFont typeface="Font di sistema regolare"/>
              <a:buChar char="●"/>
              <a:defRPr sz="1400">
                <a:solidFill>
                  <a:schemeClr val="tx1"/>
                </a:solidFill>
              </a:defRPr>
            </a:lvl4pPr>
            <a:lvl5pPr marL="2057400" indent="-228600">
              <a:buClr>
                <a:schemeClr val="accent2"/>
              </a:buClr>
              <a:buFont typeface="Font di sistema regolare"/>
              <a:buChar char="●"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</p:txBody>
      </p:sp>
      <p:sp>
        <p:nvSpPr>
          <p:cNvPr id="45" name="Segnaposto contenuto 3">
            <a:extLst>
              <a:ext uri="{FF2B5EF4-FFF2-40B4-BE49-F238E27FC236}">
                <a16:creationId xmlns:a16="http://schemas.microsoft.com/office/drawing/2014/main" id="{CF20747C-3A1B-0D4C-AA1C-8CF6BC2174F0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6445045" y="1251483"/>
            <a:ext cx="5177042" cy="4928150"/>
          </a:xfrm>
          <a:prstGeom prst="rect">
            <a:avLst/>
          </a:prstGeom>
        </p:spPr>
        <p:txBody>
          <a:bodyPr lIns="144000" tIns="144000" rIns="144000" bIns="144000"/>
          <a:lstStyle>
            <a:lvl1pPr marL="228600" indent="-228600">
              <a:buClr>
                <a:schemeClr val="accent2"/>
              </a:buClr>
              <a:buFont typeface="Font di sistema regolare"/>
              <a:buChar char="●"/>
              <a:defRPr sz="1400">
                <a:solidFill>
                  <a:schemeClr val="tx1"/>
                </a:solidFill>
              </a:defRPr>
            </a:lvl1pPr>
            <a:lvl2pPr marL="685800" indent="-228600">
              <a:buClr>
                <a:schemeClr val="accent2"/>
              </a:buClr>
              <a:buFont typeface="Font di sistema regolare"/>
              <a:buChar char="●"/>
              <a:defRPr sz="1400">
                <a:solidFill>
                  <a:schemeClr val="tx1"/>
                </a:solidFill>
              </a:defRPr>
            </a:lvl2pPr>
            <a:lvl3pPr marL="1143000" indent="-228600">
              <a:buClr>
                <a:schemeClr val="accent2"/>
              </a:buClr>
              <a:buFont typeface="Font di sistema regolare"/>
              <a:buChar char="●"/>
              <a:defRPr sz="1400">
                <a:solidFill>
                  <a:schemeClr val="tx1"/>
                </a:solidFill>
              </a:defRPr>
            </a:lvl3pPr>
            <a:lvl4pPr marL="1600200" indent="-228600">
              <a:buClr>
                <a:schemeClr val="accent2"/>
              </a:buClr>
              <a:buFont typeface="Font di sistema regolare"/>
              <a:buChar char="●"/>
              <a:defRPr sz="1400">
                <a:solidFill>
                  <a:schemeClr val="tx1"/>
                </a:solidFill>
              </a:defRPr>
            </a:lvl4pPr>
            <a:lvl5pPr marL="2057400" indent="-228600">
              <a:buClr>
                <a:schemeClr val="accent2"/>
              </a:buClr>
              <a:buFont typeface="Font di sistema regolare"/>
              <a:buChar char="●"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it-IT" dirty="0"/>
          </a:p>
        </p:txBody>
      </p:sp>
      <p:grpSp>
        <p:nvGrpSpPr>
          <p:cNvPr id="46" name="Gruppo 45">
            <a:extLst>
              <a:ext uri="{FF2B5EF4-FFF2-40B4-BE49-F238E27FC236}">
                <a16:creationId xmlns:a16="http://schemas.microsoft.com/office/drawing/2014/main" id="{BA666BCC-44DC-49B5-A071-F099B85EC93E}"/>
              </a:ext>
            </a:extLst>
          </p:cNvPr>
          <p:cNvGrpSpPr/>
          <p:nvPr/>
        </p:nvGrpSpPr>
        <p:grpSpPr>
          <a:xfrm>
            <a:off x="633940" y="1509967"/>
            <a:ext cx="756000" cy="756000"/>
            <a:chOff x="633940" y="1509967"/>
            <a:chExt cx="756000" cy="756000"/>
          </a:xfrm>
        </p:grpSpPr>
        <p:sp>
          <p:nvSpPr>
            <p:cNvPr id="48" name="object 46">
              <a:extLst>
                <a:ext uri="{FF2B5EF4-FFF2-40B4-BE49-F238E27FC236}">
                  <a16:creationId xmlns:a16="http://schemas.microsoft.com/office/drawing/2014/main" id="{90EB34BD-0C11-443C-BCCC-EE4265998C01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33940" y="1509967"/>
              <a:ext cx="756000" cy="756000"/>
            </a:xfrm>
            <a:custGeom>
              <a:avLst/>
              <a:gdLst/>
              <a:ahLst/>
              <a:cxnLst/>
              <a:rect l="l" t="t" r="r" b="b"/>
              <a:pathLst>
                <a:path w="1009650" h="1009650">
                  <a:moveTo>
                    <a:pt x="1009637" y="504825"/>
                  </a:moveTo>
                  <a:lnTo>
                    <a:pt x="1007326" y="553440"/>
                  </a:lnTo>
                  <a:lnTo>
                    <a:pt x="1000534" y="600748"/>
                  </a:lnTo>
                  <a:lnTo>
                    <a:pt x="989474" y="646537"/>
                  </a:lnTo>
                  <a:lnTo>
                    <a:pt x="974355" y="690596"/>
                  </a:lnTo>
                  <a:lnTo>
                    <a:pt x="955391" y="732714"/>
                  </a:lnTo>
                  <a:lnTo>
                    <a:pt x="932791" y="772678"/>
                  </a:lnTo>
                  <a:lnTo>
                    <a:pt x="906769" y="810276"/>
                  </a:lnTo>
                  <a:lnTo>
                    <a:pt x="877535" y="845298"/>
                  </a:lnTo>
                  <a:lnTo>
                    <a:pt x="845302" y="877532"/>
                  </a:lnTo>
                  <a:lnTo>
                    <a:pt x="810279" y="906766"/>
                  </a:lnTo>
                  <a:lnTo>
                    <a:pt x="772680" y="932789"/>
                  </a:lnTo>
                  <a:lnTo>
                    <a:pt x="732715" y="955389"/>
                  </a:lnTo>
                  <a:lnTo>
                    <a:pt x="690596" y="974354"/>
                  </a:lnTo>
                  <a:lnTo>
                    <a:pt x="646535" y="989473"/>
                  </a:lnTo>
                  <a:lnTo>
                    <a:pt x="600743" y="1000534"/>
                  </a:lnTo>
                  <a:lnTo>
                    <a:pt x="553431" y="1007326"/>
                  </a:lnTo>
                  <a:lnTo>
                    <a:pt x="504812" y="1009637"/>
                  </a:lnTo>
                  <a:lnTo>
                    <a:pt x="456197" y="1007326"/>
                  </a:lnTo>
                  <a:lnTo>
                    <a:pt x="408888" y="1000534"/>
                  </a:lnTo>
                  <a:lnTo>
                    <a:pt x="363099" y="989473"/>
                  </a:lnTo>
                  <a:lnTo>
                    <a:pt x="319040" y="974354"/>
                  </a:lnTo>
                  <a:lnTo>
                    <a:pt x="276923" y="955389"/>
                  </a:lnTo>
                  <a:lnTo>
                    <a:pt x="236959" y="932789"/>
                  </a:lnTo>
                  <a:lnTo>
                    <a:pt x="199360" y="906766"/>
                  </a:lnTo>
                  <a:lnTo>
                    <a:pt x="164338" y="877532"/>
                  </a:lnTo>
                  <a:lnTo>
                    <a:pt x="132104" y="845298"/>
                  </a:lnTo>
                  <a:lnTo>
                    <a:pt x="102870" y="810276"/>
                  </a:lnTo>
                  <a:lnTo>
                    <a:pt x="76847" y="772678"/>
                  </a:lnTo>
                  <a:lnTo>
                    <a:pt x="54248" y="732714"/>
                  </a:lnTo>
                  <a:lnTo>
                    <a:pt x="35283" y="690596"/>
                  </a:lnTo>
                  <a:lnTo>
                    <a:pt x="20164" y="646537"/>
                  </a:lnTo>
                  <a:lnTo>
                    <a:pt x="9102" y="600748"/>
                  </a:lnTo>
                  <a:lnTo>
                    <a:pt x="2310" y="553440"/>
                  </a:lnTo>
                  <a:lnTo>
                    <a:pt x="0" y="504825"/>
                  </a:lnTo>
                  <a:lnTo>
                    <a:pt x="2310" y="456207"/>
                  </a:lnTo>
                  <a:lnTo>
                    <a:pt x="9102" y="408897"/>
                  </a:lnTo>
                  <a:lnTo>
                    <a:pt x="20164" y="363106"/>
                  </a:lnTo>
                  <a:lnTo>
                    <a:pt x="35283" y="319045"/>
                  </a:lnTo>
                  <a:lnTo>
                    <a:pt x="54248" y="276927"/>
                  </a:lnTo>
                  <a:lnTo>
                    <a:pt x="76847" y="236962"/>
                  </a:lnTo>
                  <a:lnTo>
                    <a:pt x="102870" y="199363"/>
                  </a:lnTo>
                  <a:lnTo>
                    <a:pt x="132104" y="164340"/>
                  </a:lnTo>
                  <a:lnTo>
                    <a:pt x="164338" y="132105"/>
                  </a:lnTo>
                  <a:lnTo>
                    <a:pt x="199360" y="102871"/>
                  </a:lnTo>
                  <a:lnTo>
                    <a:pt x="236959" y="76848"/>
                  </a:lnTo>
                  <a:lnTo>
                    <a:pt x="276923" y="54248"/>
                  </a:lnTo>
                  <a:lnTo>
                    <a:pt x="319040" y="35283"/>
                  </a:lnTo>
                  <a:lnTo>
                    <a:pt x="363099" y="20164"/>
                  </a:lnTo>
                  <a:lnTo>
                    <a:pt x="408888" y="9102"/>
                  </a:lnTo>
                  <a:lnTo>
                    <a:pt x="456197" y="2310"/>
                  </a:lnTo>
                  <a:lnTo>
                    <a:pt x="504812" y="0"/>
                  </a:lnTo>
                  <a:lnTo>
                    <a:pt x="553431" y="2310"/>
                  </a:lnTo>
                  <a:lnTo>
                    <a:pt x="600743" y="9102"/>
                  </a:lnTo>
                  <a:lnTo>
                    <a:pt x="646535" y="20164"/>
                  </a:lnTo>
                  <a:lnTo>
                    <a:pt x="690596" y="35283"/>
                  </a:lnTo>
                  <a:lnTo>
                    <a:pt x="732715" y="54248"/>
                  </a:lnTo>
                  <a:lnTo>
                    <a:pt x="772680" y="76848"/>
                  </a:lnTo>
                  <a:lnTo>
                    <a:pt x="810279" y="102871"/>
                  </a:lnTo>
                  <a:lnTo>
                    <a:pt x="845302" y="132105"/>
                  </a:lnTo>
                  <a:lnTo>
                    <a:pt x="877535" y="164340"/>
                  </a:lnTo>
                  <a:lnTo>
                    <a:pt x="906769" y="199363"/>
                  </a:lnTo>
                  <a:lnTo>
                    <a:pt x="932791" y="236962"/>
                  </a:lnTo>
                  <a:lnTo>
                    <a:pt x="955391" y="276927"/>
                  </a:lnTo>
                  <a:lnTo>
                    <a:pt x="974355" y="319045"/>
                  </a:lnTo>
                  <a:lnTo>
                    <a:pt x="989474" y="363106"/>
                  </a:lnTo>
                  <a:lnTo>
                    <a:pt x="1000534" y="408897"/>
                  </a:lnTo>
                  <a:lnTo>
                    <a:pt x="1007326" y="456207"/>
                  </a:lnTo>
                  <a:lnTo>
                    <a:pt x="1009637" y="504825"/>
                  </a:lnTo>
                  <a:close/>
                </a:path>
              </a:pathLst>
            </a:custGeom>
            <a:solidFill>
              <a:schemeClr val="bg1"/>
            </a:solidFill>
            <a:ln w="12700">
              <a:solidFill>
                <a:srgbClr val="0046BA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3B3B3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9" name="object 47">
              <a:extLst>
                <a:ext uri="{FF2B5EF4-FFF2-40B4-BE49-F238E27FC236}">
                  <a16:creationId xmlns:a16="http://schemas.microsoft.com/office/drawing/2014/main" id="{8F331CB3-93E8-4732-9782-A87F582C3D6F}"/>
                </a:ext>
              </a:extLst>
            </p:cNvPr>
            <p:cNvSpPr/>
            <p:nvPr/>
          </p:nvSpPr>
          <p:spPr>
            <a:xfrm>
              <a:off x="687940" y="1563967"/>
              <a:ext cx="648000" cy="648000"/>
            </a:xfrm>
            <a:custGeom>
              <a:avLst/>
              <a:gdLst/>
              <a:ahLst/>
              <a:cxnLst/>
              <a:rect l="l" t="t" r="r" b="b"/>
              <a:pathLst>
                <a:path w="836294" h="836294">
                  <a:moveTo>
                    <a:pt x="417944" y="0"/>
                  </a:moveTo>
                  <a:lnTo>
                    <a:pt x="369203" y="2811"/>
                  </a:lnTo>
                  <a:lnTo>
                    <a:pt x="322114" y="11038"/>
                  </a:lnTo>
                  <a:lnTo>
                    <a:pt x="276989" y="24365"/>
                  </a:lnTo>
                  <a:lnTo>
                    <a:pt x="234143" y="42480"/>
                  </a:lnTo>
                  <a:lnTo>
                    <a:pt x="193890" y="65069"/>
                  </a:lnTo>
                  <a:lnTo>
                    <a:pt x="156542" y="91818"/>
                  </a:lnTo>
                  <a:lnTo>
                    <a:pt x="122413" y="122413"/>
                  </a:lnTo>
                  <a:lnTo>
                    <a:pt x="91818" y="156542"/>
                  </a:lnTo>
                  <a:lnTo>
                    <a:pt x="65069" y="193890"/>
                  </a:lnTo>
                  <a:lnTo>
                    <a:pt x="42480" y="234143"/>
                  </a:lnTo>
                  <a:lnTo>
                    <a:pt x="24365" y="276989"/>
                  </a:lnTo>
                  <a:lnTo>
                    <a:pt x="11038" y="322114"/>
                  </a:lnTo>
                  <a:lnTo>
                    <a:pt x="2811" y="369203"/>
                  </a:lnTo>
                  <a:lnTo>
                    <a:pt x="0" y="417944"/>
                  </a:lnTo>
                  <a:lnTo>
                    <a:pt x="2811" y="466685"/>
                  </a:lnTo>
                  <a:lnTo>
                    <a:pt x="11038" y="513774"/>
                  </a:lnTo>
                  <a:lnTo>
                    <a:pt x="24365" y="558898"/>
                  </a:lnTo>
                  <a:lnTo>
                    <a:pt x="42480" y="601744"/>
                  </a:lnTo>
                  <a:lnTo>
                    <a:pt x="65069" y="641998"/>
                  </a:lnTo>
                  <a:lnTo>
                    <a:pt x="91818" y="679346"/>
                  </a:lnTo>
                  <a:lnTo>
                    <a:pt x="122413" y="713474"/>
                  </a:lnTo>
                  <a:lnTo>
                    <a:pt x="156542" y="744070"/>
                  </a:lnTo>
                  <a:lnTo>
                    <a:pt x="193890" y="770819"/>
                  </a:lnTo>
                  <a:lnTo>
                    <a:pt x="234143" y="793407"/>
                  </a:lnTo>
                  <a:lnTo>
                    <a:pt x="276989" y="811522"/>
                  </a:lnTo>
                  <a:lnTo>
                    <a:pt x="322114" y="824850"/>
                  </a:lnTo>
                  <a:lnTo>
                    <a:pt x="369203" y="833076"/>
                  </a:lnTo>
                  <a:lnTo>
                    <a:pt x="417944" y="835888"/>
                  </a:lnTo>
                  <a:lnTo>
                    <a:pt x="466685" y="833076"/>
                  </a:lnTo>
                  <a:lnTo>
                    <a:pt x="513774" y="824850"/>
                  </a:lnTo>
                  <a:lnTo>
                    <a:pt x="558898" y="811522"/>
                  </a:lnTo>
                  <a:lnTo>
                    <a:pt x="601744" y="793407"/>
                  </a:lnTo>
                  <a:lnTo>
                    <a:pt x="641998" y="770819"/>
                  </a:lnTo>
                  <a:lnTo>
                    <a:pt x="679346" y="744070"/>
                  </a:lnTo>
                  <a:lnTo>
                    <a:pt x="713474" y="713474"/>
                  </a:lnTo>
                  <a:lnTo>
                    <a:pt x="744070" y="679346"/>
                  </a:lnTo>
                  <a:lnTo>
                    <a:pt x="770819" y="641998"/>
                  </a:lnTo>
                  <a:lnTo>
                    <a:pt x="793407" y="601744"/>
                  </a:lnTo>
                  <a:lnTo>
                    <a:pt x="811522" y="558898"/>
                  </a:lnTo>
                  <a:lnTo>
                    <a:pt x="824850" y="513774"/>
                  </a:lnTo>
                  <a:lnTo>
                    <a:pt x="833076" y="466685"/>
                  </a:lnTo>
                  <a:lnTo>
                    <a:pt x="835888" y="417944"/>
                  </a:lnTo>
                  <a:lnTo>
                    <a:pt x="833076" y="369203"/>
                  </a:lnTo>
                  <a:lnTo>
                    <a:pt x="824850" y="322114"/>
                  </a:lnTo>
                  <a:lnTo>
                    <a:pt x="811522" y="276989"/>
                  </a:lnTo>
                  <a:lnTo>
                    <a:pt x="793407" y="234143"/>
                  </a:lnTo>
                  <a:lnTo>
                    <a:pt x="770819" y="193890"/>
                  </a:lnTo>
                  <a:lnTo>
                    <a:pt x="744070" y="156542"/>
                  </a:lnTo>
                  <a:lnTo>
                    <a:pt x="713474" y="122413"/>
                  </a:lnTo>
                  <a:lnTo>
                    <a:pt x="679346" y="91818"/>
                  </a:lnTo>
                  <a:lnTo>
                    <a:pt x="641998" y="65069"/>
                  </a:lnTo>
                  <a:lnTo>
                    <a:pt x="601744" y="42480"/>
                  </a:lnTo>
                  <a:lnTo>
                    <a:pt x="558898" y="24365"/>
                  </a:lnTo>
                  <a:lnTo>
                    <a:pt x="513774" y="11038"/>
                  </a:lnTo>
                  <a:lnTo>
                    <a:pt x="466685" y="2811"/>
                  </a:lnTo>
                  <a:lnTo>
                    <a:pt x="417944" y="0"/>
                  </a:lnTo>
                  <a:close/>
                </a:path>
              </a:pathLst>
            </a:custGeom>
            <a:solidFill>
              <a:srgbClr val="EEDC00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srgbClr val="3B3B3A"/>
                </a:solidFill>
                <a:effectLst/>
                <a:uLnTx/>
                <a:uFillTx/>
                <a:latin typeface="Avenir Next LT Pro" panose="020B0504020202020204" pitchFamily="34" charset="77"/>
                <a:ea typeface="+mn-ea"/>
                <a:cs typeface="+mn-cs"/>
              </a:endParaRPr>
            </a:p>
          </p:txBody>
        </p:sp>
      </p:grpSp>
      <p:cxnSp>
        <p:nvCxnSpPr>
          <p:cNvPr id="50" name="Connettore 1 46">
            <a:extLst>
              <a:ext uri="{FF2B5EF4-FFF2-40B4-BE49-F238E27FC236}">
                <a16:creationId xmlns:a16="http://schemas.microsoft.com/office/drawing/2014/main" id="{85864B72-E701-4192-9B26-CFB79C43061B}"/>
              </a:ext>
            </a:extLst>
          </p:cNvPr>
          <p:cNvCxnSpPr>
            <a:cxnSpLocks/>
          </p:cNvCxnSpPr>
          <p:nvPr/>
        </p:nvCxnSpPr>
        <p:spPr>
          <a:xfrm>
            <a:off x="1395006" y="1889852"/>
            <a:ext cx="4140000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Segnaposto testo 46">
            <a:extLst>
              <a:ext uri="{FF2B5EF4-FFF2-40B4-BE49-F238E27FC236}">
                <a16:creationId xmlns:a16="http://schemas.microsoft.com/office/drawing/2014/main" id="{89CCFDCF-E1D4-4624-850B-95B324DCBB1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457282" y="1158675"/>
            <a:ext cx="4140000" cy="746498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 b="0" i="0">
                <a:solidFill>
                  <a:srgbClr val="0047BB"/>
                </a:solidFill>
                <a:latin typeface="Avenir Next LT Pro" panose="020B0504020202020204" pitchFamily="34" charset="77"/>
              </a:defRPr>
            </a:lvl1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grpSp>
        <p:nvGrpSpPr>
          <p:cNvPr id="52" name="Gruppo 51">
            <a:extLst>
              <a:ext uri="{FF2B5EF4-FFF2-40B4-BE49-F238E27FC236}">
                <a16:creationId xmlns:a16="http://schemas.microsoft.com/office/drawing/2014/main" id="{8D0F1046-FA1C-4EF3-A161-6FC5EA3F7CBD}"/>
              </a:ext>
            </a:extLst>
          </p:cNvPr>
          <p:cNvGrpSpPr/>
          <p:nvPr/>
        </p:nvGrpSpPr>
        <p:grpSpPr>
          <a:xfrm>
            <a:off x="629053" y="4156346"/>
            <a:ext cx="756000" cy="756000"/>
            <a:chOff x="633940" y="1509967"/>
            <a:chExt cx="756000" cy="756000"/>
          </a:xfrm>
        </p:grpSpPr>
        <p:sp>
          <p:nvSpPr>
            <p:cNvPr id="53" name="object 46">
              <a:extLst>
                <a:ext uri="{FF2B5EF4-FFF2-40B4-BE49-F238E27FC236}">
                  <a16:creationId xmlns:a16="http://schemas.microsoft.com/office/drawing/2014/main" id="{45B72BCD-97C7-4D74-9AC2-0F89A5683BB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33940" y="1509967"/>
              <a:ext cx="756000" cy="756000"/>
            </a:xfrm>
            <a:custGeom>
              <a:avLst/>
              <a:gdLst/>
              <a:ahLst/>
              <a:cxnLst/>
              <a:rect l="l" t="t" r="r" b="b"/>
              <a:pathLst>
                <a:path w="1009650" h="1009650">
                  <a:moveTo>
                    <a:pt x="1009637" y="504825"/>
                  </a:moveTo>
                  <a:lnTo>
                    <a:pt x="1007326" y="553440"/>
                  </a:lnTo>
                  <a:lnTo>
                    <a:pt x="1000534" y="600748"/>
                  </a:lnTo>
                  <a:lnTo>
                    <a:pt x="989474" y="646537"/>
                  </a:lnTo>
                  <a:lnTo>
                    <a:pt x="974355" y="690596"/>
                  </a:lnTo>
                  <a:lnTo>
                    <a:pt x="955391" y="732714"/>
                  </a:lnTo>
                  <a:lnTo>
                    <a:pt x="932791" y="772678"/>
                  </a:lnTo>
                  <a:lnTo>
                    <a:pt x="906769" y="810276"/>
                  </a:lnTo>
                  <a:lnTo>
                    <a:pt x="877535" y="845298"/>
                  </a:lnTo>
                  <a:lnTo>
                    <a:pt x="845302" y="877532"/>
                  </a:lnTo>
                  <a:lnTo>
                    <a:pt x="810279" y="906766"/>
                  </a:lnTo>
                  <a:lnTo>
                    <a:pt x="772680" y="932789"/>
                  </a:lnTo>
                  <a:lnTo>
                    <a:pt x="732715" y="955389"/>
                  </a:lnTo>
                  <a:lnTo>
                    <a:pt x="690596" y="974354"/>
                  </a:lnTo>
                  <a:lnTo>
                    <a:pt x="646535" y="989473"/>
                  </a:lnTo>
                  <a:lnTo>
                    <a:pt x="600743" y="1000534"/>
                  </a:lnTo>
                  <a:lnTo>
                    <a:pt x="553431" y="1007326"/>
                  </a:lnTo>
                  <a:lnTo>
                    <a:pt x="504812" y="1009637"/>
                  </a:lnTo>
                  <a:lnTo>
                    <a:pt x="456197" y="1007326"/>
                  </a:lnTo>
                  <a:lnTo>
                    <a:pt x="408888" y="1000534"/>
                  </a:lnTo>
                  <a:lnTo>
                    <a:pt x="363099" y="989473"/>
                  </a:lnTo>
                  <a:lnTo>
                    <a:pt x="319040" y="974354"/>
                  </a:lnTo>
                  <a:lnTo>
                    <a:pt x="276923" y="955389"/>
                  </a:lnTo>
                  <a:lnTo>
                    <a:pt x="236959" y="932789"/>
                  </a:lnTo>
                  <a:lnTo>
                    <a:pt x="199360" y="906766"/>
                  </a:lnTo>
                  <a:lnTo>
                    <a:pt x="164338" y="877532"/>
                  </a:lnTo>
                  <a:lnTo>
                    <a:pt x="132104" y="845298"/>
                  </a:lnTo>
                  <a:lnTo>
                    <a:pt x="102870" y="810276"/>
                  </a:lnTo>
                  <a:lnTo>
                    <a:pt x="76847" y="772678"/>
                  </a:lnTo>
                  <a:lnTo>
                    <a:pt x="54248" y="732714"/>
                  </a:lnTo>
                  <a:lnTo>
                    <a:pt x="35283" y="690596"/>
                  </a:lnTo>
                  <a:lnTo>
                    <a:pt x="20164" y="646537"/>
                  </a:lnTo>
                  <a:lnTo>
                    <a:pt x="9102" y="600748"/>
                  </a:lnTo>
                  <a:lnTo>
                    <a:pt x="2310" y="553440"/>
                  </a:lnTo>
                  <a:lnTo>
                    <a:pt x="0" y="504825"/>
                  </a:lnTo>
                  <a:lnTo>
                    <a:pt x="2310" y="456207"/>
                  </a:lnTo>
                  <a:lnTo>
                    <a:pt x="9102" y="408897"/>
                  </a:lnTo>
                  <a:lnTo>
                    <a:pt x="20164" y="363106"/>
                  </a:lnTo>
                  <a:lnTo>
                    <a:pt x="35283" y="319045"/>
                  </a:lnTo>
                  <a:lnTo>
                    <a:pt x="54248" y="276927"/>
                  </a:lnTo>
                  <a:lnTo>
                    <a:pt x="76847" y="236962"/>
                  </a:lnTo>
                  <a:lnTo>
                    <a:pt x="102870" y="199363"/>
                  </a:lnTo>
                  <a:lnTo>
                    <a:pt x="132104" y="164340"/>
                  </a:lnTo>
                  <a:lnTo>
                    <a:pt x="164338" y="132105"/>
                  </a:lnTo>
                  <a:lnTo>
                    <a:pt x="199360" y="102871"/>
                  </a:lnTo>
                  <a:lnTo>
                    <a:pt x="236959" y="76848"/>
                  </a:lnTo>
                  <a:lnTo>
                    <a:pt x="276923" y="54248"/>
                  </a:lnTo>
                  <a:lnTo>
                    <a:pt x="319040" y="35283"/>
                  </a:lnTo>
                  <a:lnTo>
                    <a:pt x="363099" y="20164"/>
                  </a:lnTo>
                  <a:lnTo>
                    <a:pt x="408888" y="9102"/>
                  </a:lnTo>
                  <a:lnTo>
                    <a:pt x="456197" y="2310"/>
                  </a:lnTo>
                  <a:lnTo>
                    <a:pt x="504812" y="0"/>
                  </a:lnTo>
                  <a:lnTo>
                    <a:pt x="553431" y="2310"/>
                  </a:lnTo>
                  <a:lnTo>
                    <a:pt x="600743" y="9102"/>
                  </a:lnTo>
                  <a:lnTo>
                    <a:pt x="646535" y="20164"/>
                  </a:lnTo>
                  <a:lnTo>
                    <a:pt x="690596" y="35283"/>
                  </a:lnTo>
                  <a:lnTo>
                    <a:pt x="732715" y="54248"/>
                  </a:lnTo>
                  <a:lnTo>
                    <a:pt x="772680" y="76848"/>
                  </a:lnTo>
                  <a:lnTo>
                    <a:pt x="810279" y="102871"/>
                  </a:lnTo>
                  <a:lnTo>
                    <a:pt x="845302" y="132105"/>
                  </a:lnTo>
                  <a:lnTo>
                    <a:pt x="877535" y="164340"/>
                  </a:lnTo>
                  <a:lnTo>
                    <a:pt x="906769" y="199363"/>
                  </a:lnTo>
                  <a:lnTo>
                    <a:pt x="932791" y="236962"/>
                  </a:lnTo>
                  <a:lnTo>
                    <a:pt x="955391" y="276927"/>
                  </a:lnTo>
                  <a:lnTo>
                    <a:pt x="974355" y="319045"/>
                  </a:lnTo>
                  <a:lnTo>
                    <a:pt x="989474" y="363106"/>
                  </a:lnTo>
                  <a:lnTo>
                    <a:pt x="1000534" y="408897"/>
                  </a:lnTo>
                  <a:lnTo>
                    <a:pt x="1007326" y="456207"/>
                  </a:lnTo>
                  <a:lnTo>
                    <a:pt x="1009637" y="504825"/>
                  </a:lnTo>
                  <a:close/>
                </a:path>
              </a:pathLst>
            </a:custGeom>
            <a:solidFill>
              <a:schemeClr val="bg1"/>
            </a:solidFill>
            <a:ln w="12700">
              <a:solidFill>
                <a:srgbClr val="0046BA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3B3B3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54" name="object 47">
              <a:extLst>
                <a:ext uri="{FF2B5EF4-FFF2-40B4-BE49-F238E27FC236}">
                  <a16:creationId xmlns:a16="http://schemas.microsoft.com/office/drawing/2014/main" id="{912E4A23-8F3E-471D-A292-6B3544E02CFF}"/>
                </a:ext>
              </a:extLst>
            </p:cNvPr>
            <p:cNvSpPr/>
            <p:nvPr/>
          </p:nvSpPr>
          <p:spPr>
            <a:xfrm>
              <a:off x="687940" y="1563967"/>
              <a:ext cx="648000" cy="648000"/>
            </a:xfrm>
            <a:custGeom>
              <a:avLst/>
              <a:gdLst/>
              <a:ahLst/>
              <a:cxnLst/>
              <a:rect l="l" t="t" r="r" b="b"/>
              <a:pathLst>
                <a:path w="836294" h="836294">
                  <a:moveTo>
                    <a:pt x="417944" y="0"/>
                  </a:moveTo>
                  <a:lnTo>
                    <a:pt x="369203" y="2811"/>
                  </a:lnTo>
                  <a:lnTo>
                    <a:pt x="322114" y="11038"/>
                  </a:lnTo>
                  <a:lnTo>
                    <a:pt x="276989" y="24365"/>
                  </a:lnTo>
                  <a:lnTo>
                    <a:pt x="234143" y="42480"/>
                  </a:lnTo>
                  <a:lnTo>
                    <a:pt x="193890" y="65069"/>
                  </a:lnTo>
                  <a:lnTo>
                    <a:pt x="156542" y="91818"/>
                  </a:lnTo>
                  <a:lnTo>
                    <a:pt x="122413" y="122413"/>
                  </a:lnTo>
                  <a:lnTo>
                    <a:pt x="91818" y="156542"/>
                  </a:lnTo>
                  <a:lnTo>
                    <a:pt x="65069" y="193890"/>
                  </a:lnTo>
                  <a:lnTo>
                    <a:pt x="42480" y="234143"/>
                  </a:lnTo>
                  <a:lnTo>
                    <a:pt x="24365" y="276989"/>
                  </a:lnTo>
                  <a:lnTo>
                    <a:pt x="11038" y="322114"/>
                  </a:lnTo>
                  <a:lnTo>
                    <a:pt x="2811" y="369203"/>
                  </a:lnTo>
                  <a:lnTo>
                    <a:pt x="0" y="417944"/>
                  </a:lnTo>
                  <a:lnTo>
                    <a:pt x="2811" y="466685"/>
                  </a:lnTo>
                  <a:lnTo>
                    <a:pt x="11038" y="513774"/>
                  </a:lnTo>
                  <a:lnTo>
                    <a:pt x="24365" y="558898"/>
                  </a:lnTo>
                  <a:lnTo>
                    <a:pt x="42480" y="601744"/>
                  </a:lnTo>
                  <a:lnTo>
                    <a:pt x="65069" y="641998"/>
                  </a:lnTo>
                  <a:lnTo>
                    <a:pt x="91818" y="679346"/>
                  </a:lnTo>
                  <a:lnTo>
                    <a:pt x="122413" y="713474"/>
                  </a:lnTo>
                  <a:lnTo>
                    <a:pt x="156542" y="744070"/>
                  </a:lnTo>
                  <a:lnTo>
                    <a:pt x="193890" y="770819"/>
                  </a:lnTo>
                  <a:lnTo>
                    <a:pt x="234143" y="793407"/>
                  </a:lnTo>
                  <a:lnTo>
                    <a:pt x="276989" y="811522"/>
                  </a:lnTo>
                  <a:lnTo>
                    <a:pt x="322114" y="824850"/>
                  </a:lnTo>
                  <a:lnTo>
                    <a:pt x="369203" y="833076"/>
                  </a:lnTo>
                  <a:lnTo>
                    <a:pt x="417944" y="835888"/>
                  </a:lnTo>
                  <a:lnTo>
                    <a:pt x="466685" y="833076"/>
                  </a:lnTo>
                  <a:lnTo>
                    <a:pt x="513774" y="824850"/>
                  </a:lnTo>
                  <a:lnTo>
                    <a:pt x="558898" y="811522"/>
                  </a:lnTo>
                  <a:lnTo>
                    <a:pt x="601744" y="793407"/>
                  </a:lnTo>
                  <a:lnTo>
                    <a:pt x="641998" y="770819"/>
                  </a:lnTo>
                  <a:lnTo>
                    <a:pt x="679346" y="744070"/>
                  </a:lnTo>
                  <a:lnTo>
                    <a:pt x="713474" y="713474"/>
                  </a:lnTo>
                  <a:lnTo>
                    <a:pt x="744070" y="679346"/>
                  </a:lnTo>
                  <a:lnTo>
                    <a:pt x="770819" y="641998"/>
                  </a:lnTo>
                  <a:lnTo>
                    <a:pt x="793407" y="601744"/>
                  </a:lnTo>
                  <a:lnTo>
                    <a:pt x="811522" y="558898"/>
                  </a:lnTo>
                  <a:lnTo>
                    <a:pt x="824850" y="513774"/>
                  </a:lnTo>
                  <a:lnTo>
                    <a:pt x="833076" y="466685"/>
                  </a:lnTo>
                  <a:lnTo>
                    <a:pt x="835888" y="417944"/>
                  </a:lnTo>
                  <a:lnTo>
                    <a:pt x="833076" y="369203"/>
                  </a:lnTo>
                  <a:lnTo>
                    <a:pt x="824850" y="322114"/>
                  </a:lnTo>
                  <a:lnTo>
                    <a:pt x="811522" y="276989"/>
                  </a:lnTo>
                  <a:lnTo>
                    <a:pt x="793407" y="234143"/>
                  </a:lnTo>
                  <a:lnTo>
                    <a:pt x="770819" y="193890"/>
                  </a:lnTo>
                  <a:lnTo>
                    <a:pt x="744070" y="156542"/>
                  </a:lnTo>
                  <a:lnTo>
                    <a:pt x="713474" y="122413"/>
                  </a:lnTo>
                  <a:lnTo>
                    <a:pt x="679346" y="91818"/>
                  </a:lnTo>
                  <a:lnTo>
                    <a:pt x="641998" y="65069"/>
                  </a:lnTo>
                  <a:lnTo>
                    <a:pt x="601744" y="42480"/>
                  </a:lnTo>
                  <a:lnTo>
                    <a:pt x="558898" y="24365"/>
                  </a:lnTo>
                  <a:lnTo>
                    <a:pt x="513774" y="11038"/>
                  </a:lnTo>
                  <a:lnTo>
                    <a:pt x="466685" y="2811"/>
                  </a:lnTo>
                  <a:lnTo>
                    <a:pt x="417944" y="0"/>
                  </a:lnTo>
                  <a:close/>
                </a:path>
              </a:pathLst>
            </a:custGeom>
            <a:solidFill>
              <a:srgbClr val="EEDC00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srgbClr val="3B3B3A"/>
                </a:solidFill>
                <a:effectLst/>
                <a:uLnTx/>
                <a:uFillTx/>
                <a:latin typeface="Avenir Next LT Pro" panose="020B0504020202020204" pitchFamily="34" charset="77"/>
                <a:ea typeface="+mn-ea"/>
                <a:cs typeface="+mn-cs"/>
              </a:endParaRPr>
            </a:p>
          </p:txBody>
        </p:sp>
      </p:grpSp>
      <p:cxnSp>
        <p:nvCxnSpPr>
          <p:cNvPr id="55" name="Connettore 1 46">
            <a:extLst>
              <a:ext uri="{FF2B5EF4-FFF2-40B4-BE49-F238E27FC236}">
                <a16:creationId xmlns:a16="http://schemas.microsoft.com/office/drawing/2014/main" id="{174344DF-560C-4135-8F45-E083B518B087}"/>
              </a:ext>
            </a:extLst>
          </p:cNvPr>
          <p:cNvCxnSpPr>
            <a:cxnSpLocks/>
          </p:cNvCxnSpPr>
          <p:nvPr/>
        </p:nvCxnSpPr>
        <p:spPr>
          <a:xfrm>
            <a:off x="1390119" y="4536231"/>
            <a:ext cx="4140000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Segnaposto testo 46">
            <a:extLst>
              <a:ext uri="{FF2B5EF4-FFF2-40B4-BE49-F238E27FC236}">
                <a16:creationId xmlns:a16="http://schemas.microsoft.com/office/drawing/2014/main" id="{9F48E5E8-A0EF-4A33-8758-F3AE698D405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452395" y="3805054"/>
            <a:ext cx="4140000" cy="746498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 b="0" i="0">
                <a:solidFill>
                  <a:srgbClr val="0047BB"/>
                </a:solidFill>
                <a:latin typeface="Avenir Next LT Pro" panose="020B0504020202020204" pitchFamily="34" charset="77"/>
              </a:defRPr>
            </a:lvl1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39" name="bg object 16">
            <a:extLst>
              <a:ext uri="{FF2B5EF4-FFF2-40B4-BE49-F238E27FC236}">
                <a16:creationId xmlns:a16="http://schemas.microsoft.com/office/drawing/2014/main" id="{4AABB290-E287-AF4D-969B-AB0215E97E2F}"/>
              </a:ext>
            </a:extLst>
          </p:cNvPr>
          <p:cNvSpPr/>
          <p:nvPr/>
        </p:nvSpPr>
        <p:spPr>
          <a:xfrm>
            <a:off x="11330381" y="6448615"/>
            <a:ext cx="311785" cy="410845"/>
          </a:xfrm>
          <a:custGeom>
            <a:avLst/>
            <a:gdLst/>
            <a:ahLst/>
            <a:cxnLst/>
            <a:rect l="l" t="t" r="r" b="b"/>
            <a:pathLst>
              <a:path w="311784" h="410845">
                <a:moveTo>
                  <a:pt x="311645" y="0"/>
                </a:moveTo>
                <a:lnTo>
                  <a:pt x="0" y="0"/>
                </a:lnTo>
                <a:lnTo>
                  <a:pt x="0" y="410438"/>
                </a:lnTo>
                <a:lnTo>
                  <a:pt x="311645" y="410438"/>
                </a:lnTo>
                <a:lnTo>
                  <a:pt x="311645" y="0"/>
                </a:lnTo>
                <a:close/>
              </a:path>
            </a:pathLst>
          </a:custGeom>
          <a:solidFill>
            <a:srgbClr val="0047B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1" name="Holder 7">
            <a:extLst>
              <a:ext uri="{FF2B5EF4-FFF2-40B4-BE49-F238E27FC236}">
                <a16:creationId xmlns:a16="http://schemas.microsoft.com/office/drawing/2014/main" id="{E867D971-18BA-304C-8F6B-119956F49CB4}"/>
              </a:ext>
            </a:extLst>
          </p:cNvPr>
          <p:cNvSpPr txBox="1">
            <a:spLocks/>
          </p:cNvSpPr>
          <p:nvPr/>
        </p:nvSpPr>
        <p:spPr>
          <a:xfrm>
            <a:off x="11342726" y="6520516"/>
            <a:ext cx="256044" cy="16158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it-IT"/>
            </a:defPPr>
            <a:lvl1pPr marL="0" algn="l" defTabSz="914400" rtl="0" eaLnBrk="1" latinLnBrk="0" hangingPunct="1">
              <a:defRPr sz="850" b="1" i="0" kern="1200">
                <a:solidFill>
                  <a:schemeClr val="bg1"/>
                </a:solidFill>
                <a:latin typeface="Verdana"/>
                <a:ea typeface="+mn-ea"/>
                <a:cs typeface="Verdana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8100" algn="ctr">
              <a:spcBef>
                <a:spcPts val="105"/>
              </a:spcBef>
            </a:pPr>
            <a:fld id="{81D60167-4931-47E6-BA6A-407CBD079E47}" type="slidenum">
              <a:rPr lang="it-IT" sz="1050" b="0" i="0" spc="5" smtClean="0">
                <a:latin typeface="Avenir Next LT Pro" pitchFamily="2" charset="0"/>
              </a:rPr>
              <a:pPr marL="38100" algn="ctr">
                <a:spcBef>
                  <a:spcPts val="105"/>
                </a:spcBef>
              </a:pPr>
              <a:t>‹N›</a:t>
            </a:fld>
            <a:endParaRPr lang="it-IT" sz="1050" b="0" i="0" spc="5" dirty="0">
              <a:latin typeface="Avenir Next LT Pro" pitchFamily="2" charset="0"/>
            </a:endParaRPr>
          </a:p>
        </p:txBody>
      </p:sp>
      <p:sp>
        <p:nvSpPr>
          <p:cNvPr id="43" name="Triangolo isoscele 16">
            <a:extLst>
              <a:ext uri="{FF2B5EF4-FFF2-40B4-BE49-F238E27FC236}">
                <a16:creationId xmlns:a16="http://schemas.microsoft.com/office/drawing/2014/main" id="{423B432F-E34F-3F4A-88C6-7DA16DDB2FC4}"/>
              </a:ext>
            </a:extLst>
          </p:cNvPr>
          <p:cNvSpPr/>
          <p:nvPr/>
        </p:nvSpPr>
        <p:spPr>
          <a:xfrm rot="10800000">
            <a:off x="303127" y="-324737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47" name="Triangolo isoscele 17">
            <a:extLst>
              <a:ext uri="{FF2B5EF4-FFF2-40B4-BE49-F238E27FC236}">
                <a16:creationId xmlns:a16="http://schemas.microsoft.com/office/drawing/2014/main" id="{637F9E76-8384-9344-8544-0D55BCFD2EFF}"/>
              </a:ext>
            </a:extLst>
          </p:cNvPr>
          <p:cNvSpPr/>
          <p:nvPr/>
        </p:nvSpPr>
        <p:spPr>
          <a:xfrm rot="10800000">
            <a:off x="11756536" y="-324737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57" name="Triangolo isoscele 18">
            <a:extLst>
              <a:ext uri="{FF2B5EF4-FFF2-40B4-BE49-F238E27FC236}">
                <a16:creationId xmlns:a16="http://schemas.microsoft.com/office/drawing/2014/main" id="{B26CDDA2-7BFF-0A4F-B99B-3C86DD35CAF1}"/>
              </a:ext>
            </a:extLst>
          </p:cNvPr>
          <p:cNvSpPr/>
          <p:nvPr/>
        </p:nvSpPr>
        <p:spPr>
          <a:xfrm>
            <a:off x="303127" y="6950754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58" name="Triangolo isoscele 19">
            <a:extLst>
              <a:ext uri="{FF2B5EF4-FFF2-40B4-BE49-F238E27FC236}">
                <a16:creationId xmlns:a16="http://schemas.microsoft.com/office/drawing/2014/main" id="{5AF47AD9-EB55-204E-B0FC-82987479D5CE}"/>
              </a:ext>
            </a:extLst>
          </p:cNvPr>
          <p:cNvSpPr/>
          <p:nvPr/>
        </p:nvSpPr>
        <p:spPr>
          <a:xfrm>
            <a:off x="11756536" y="6950754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59" name="Triangolo isoscele 20">
            <a:extLst>
              <a:ext uri="{FF2B5EF4-FFF2-40B4-BE49-F238E27FC236}">
                <a16:creationId xmlns:a16="http://schemas.microsoft.com/office/drawing/2014/main" id="{A44CD567-D9F1-9347-8C52-B9E67B237BF0}"/>
              </a:ext>
            </a:extLst>
          </p:cNvPr>
          <p:cNvSpPr/>
          <p:nvPr/>
        </p:nvSpPr>
        <p:spPr>
          <a:xfrm rot="5400000">
            <a:off x="-276040" y="885372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60" name="Triangolo isoscele 21">
            <a:extLst>
              <a:ext uri="{FF2B5EF4-FFF2-40B4-BE49-F238E27FC236}">
                <a16:creationId xmlns:a16="http://schemas.microsoft.com/office/drawing/2014/main" id="{B6761352-BCEA-E44B-A4C7-803F8F76B3F7}"/>
              </a:ext>
            </a:extLst>
          </p:cNvPr>
          <p:cNvSpPr/>
          <p:nvPr/>
        </p:nvSpPr>
        <p:spPr>
          <a:xfrm rot="5400000">
            <a:off x="-276039" y="5982836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61" name="Triangolo isoscele 22">
            <a:extLst>
              <a:ext uri="{FF2B5EF4-FFF2-40B4-BE49-F238E27FC236}">
                <a16:creationId xmlns:a16="http://schemas.microsoft.com/office/drawing/2014/main" id="{C6399DC8-2F4D-D441-83D0-7F2A89A09EC2}"/>
              </a:ext>
            </a:extLst>
          </p:cNvPr>
          <p:cNvSpPr/>
          <p:nvPr/>
        </p:nvSpPr>
        <p:spPr>
          <a:xfrm rot="16200000">
            <a:off x="12331119" y="885372"/>
            <a:ext cx="132336" cy="261257"/>
          </a:xfrm>
          <a:prstGeom prst="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62" name="Triangolo isoscele 23">
            <a:extLst>
              <a:ext uri="{FF2B5EF4-FFF2-40B4-BE49-F238E27FC236}">
                <a16:creationId xmlns:a16="http://schemas.microsoft.com/office/drawing/2014/main" id="{0329F371-EC8E-3C4B-966D-2906497DC095}"/>
              </a:ext>
            </a:extLst>
          </p:cNvPr>
          <p:cNvSpPr/>
          <p:nvPr/>
        </p:nvSpPr>
        <p:spPr>
          <a:xfrm rot="16200000">
            <a:off x="12331120" y="5982836"/>
            <a:ext cx="132336" cy="261257"/>
          </a:xfrm>
          <a:prstGeom prst="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63" name="Triangolo isoscele 31">
            <a:extLst>
              <a:ext uri="{FF2B5EF4-FFF2-40B4-BE49-F238E27FC236}">
                <a16:creationId xmlns:a16="http://schemas.microsoft.com/office/drawing/2014/main" id="{63384D65-22B8-E24D-ADB9-E486C32519E6}"/>
              </a:ext>
            </a:extLst>
          </p:cNvPr>
          <p:cNvSpPr/>
          <p:nvPr/>
        </p:nvSpPr>
        <p:spPr>
          <a:xfrm rot="10800000">
            <a:off x="303127" y="-324737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64" name="Triangolo isoscele 32">
            <a:extLst>
              <a:ext uri="{FF2B5EF4-FFF2-40B4-BE49-F238E27FC236}">
                <a16:creationId xmlns:a16="http://schemas.microsoft.com/office/drawing/2014/main" id="{B1D20870-9EA8-BE47-ACAF-6C3DDC19F0E9}"/>
              </a:ext>
            </a:extLst>
          </p:cNvPr>
          <p:cNvSpPr/>
          <p:nvPr/>
        </p:nvSpPr>
        <p:spPr>
          <a:xfrm rot="10800000">
            <a:off x="11756536" y="-324737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65" name="Triangolo isoscele 33">
            <a:extLst>
              <a:ext uri="{FF2B5EF4-FFF2-40B4-BE49-F238E27FC236}">
                <a16:creationId xmlns:a16="http://schemas.microsoft.com/office/drawing/2014/main" id="{8FA28E8D-4E22-2A43-A0CA-0CBEA0E68DA0}"/>
              </a:ext>
            </a:extLst>
          </p:cNvPr>
          <p:cNvSpPr/>
          <p:nvPr/>
        </p:nvSpPr>
        <p:spPr>
          <a:xfrm>
            <a:off x="303127" y="6950754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66" name="Triangolo isoscele 34">
            <a:extLst>
              <a:ext uri="{FF2B5EF4-FFF2-40B4-BE49-F238E27FC236}">
                <a16:creationId xmlns:a16="http://schemas.microsoft.com/office/drawing/2014/main" id="{2FB63059-7910-1C4C-B84D-BB0A56F73CB3}"/>
              </a:ext>
            </a:extLst>
          </p:cNvPr>
          <p:cNvSpPr/>
          <p:nvPr/>
        </p:nvSpPr>
        <p:spPr>
          <a:xfrm>
            <a:off x="11756536" y="6950754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67" name="Triangolo isoscele 35">
            <a:extLst>
              <a:ext uri="{FF2B5EF4-FFF2-40B4-BE49-F238E27FC236}">
                <a16:creationId xmlns:a16="http://schemas.microsoft.com/office/drawing/2014/main" id="{4E3302DD-2E72-FF4F-B090-66F4E4172F59}"/>
              </a:ext>
            </a:extLst>
          </p:cNvPr>
          <p:cNvSpPr/>
          <p:nvPr/>
        </p:nvSpPr>
        <p:spPr>
          <a:xfrm rot="5400000">
            <a:off x="-276040" y="885372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68" name="Triangolo isoscele 36">
            <a:extLst>
              <a:ext uri="{FF2B5EF4-FFF2-40B4-BE49-F238E27FC236}">
                <a16:creationId xmlns:a16="http://schemas.microsoft.com/office/drawing/2014/main" id="{FFF548D1-E814-ED45-B13F-011F98993545}"/>
              </a:ext>
            </a:extLst>
          </p:cNvPr>
          <p:cNvSpPr/>
          <p:nvPr/>
        </p:nvSpPr>
        <p:spPr>
          <a:xfrm rot="5400000">
            <a:off x="-276039" y="5982836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69" name="Triangolo isoscele 37">
            <a:extLst>
              <a:ext uri="{FF2B5EF4-FFF2-40B4-BE49-F238E27FC236}">
                <a16:creationId xmlns:a16="http://schemas.microsoft.com/office/drawing/2014/main" id="{BBD06D14-4475-2D4B-858E-8CCBC69E29DE}"/>
              </a:ext>
            </a:extLst>
          </p:cNvPr>
          <p:cNvSpPr/>
          <p:nvPr/>
        </p:nvSpPr>
        <p:spPr>
          <a:xfrm rot="16200000">
            <a:off x="12331119" y="885372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70" name="Triangolo isoscele 38">
            <a:extLst>
              <a:ext uri="{FF2B5EF4-FFF2-40B4-BE49-F238E27FC236}">
                <a16:creationId xmlns:a16="http://schemas.microsoft.com/office/drawing/2014/main" id="{11F94D96-987E-8E4A-926C-AAECB6B55708}"/>
              </a:ext>
            </a:extLst>
          </p:cNvPr>
          <p:cNvSpPr/>
          <p:nvPr/>
        </p:nvSpPr>
        <p:spPr>
          <a:xfrm rot="16200000">
            <a:off x="12331120" y="5982836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pic>
        <p:nvPicPr>
          <p:cNvPr id="71" name="Elemento grafico 70">
            <a:extLst>
              <a:ext uri="{FF2B5EF4-FFF2-40B4-BE49-F238E27FC236}">
                <a16:creationId xmlns:a16="http://schemas.microsoft.com/office/drawing/2014/main" id="{D24B76CA-E254-4F46-A3E2-4AC75BF829EE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081892" y="-5080"/>
            <a:ext cx="1560273" cy="309880"/>
          </a:xfrm>
          <a:prstGeom prst="rect">
            <a:avLst/>
          </a:prstGeom>
        </p:spPr>
      </p:pic>
      <p:sp>
        <p:nvSpPr>
          <p:cNvPr id="72" name="object 267">
            <a:extLst>
              <a:ext uri="{FF2B5EF4-FFF2-40B4-BE49-F238E27FC236}">
                <a16:creationId xmlns:a16="http://schemas.microsoft.com/office/drawing/2014/main" id="{1B1F0D68-9E91-FA49-BA43-DBE4F30B0332}"/>
              </a:ext>
            </a:extLst>
          </p:cNvPr>
          <p:cNvSpPr/>
          <p:nvPr/>
        </p:nvSpPr>
        <p:spPr>
          <a:xfrm>
            <a:off x="0" y="1251482"/>
            <a:ext cx="675518" cy="45719"/>
          </a:xfrm>
          <a:custGeom>
            <a:avLst/>
            <a:gdLst/>
            <a:ahLst/>
            <a:cxnLst/>
            <a:rect l="l" t="t" r="r" b="b"/>
            <a:pathLst>
              <a:path w="657225">
                <a:moveTo>
                  <a:pt x="0" y="0"/>
                </a:moveTo>
                <a:lnTo>
                  <a:pt x="656678" y="0"/>
                </a:lnTo>
              </a:path>
            </a:pathLst>
          </a:custGeom>
          <a:ln w="76200">
            <a:solidFill>
              <a:srgbClr val="EEDC00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JhengHei UI Light" panose="020B0304030504040204" pitchFamily="34" charset="-120"/>
              <a:ea typeface="Microsoft JhengHei UI Light" panose="020B0304030504040204" pitchFamily="34" charset="-120"/>
              <a:cs typeface="+mn-cs"/>
            </a:endParaRPr>
          </a:p>
        </p:txBody>
      </p:sp>
      <p:sp>
        <p:nvSpPr>
          <p:cNvPr id="73" name="Estrai 72">
            <a:extLst>
              <a:ext uri="{FF2B5EF4-FFF2-40B4-BE49-F238E27FC236}">
                <a16:creationId xmlns:a16="http://schemas.microsoft.com/office/drawing/2014/main" id="{F5F1EC3C-A95B-E243-B9D1-1689DCB785E2}"/>
              </a:ext>
            </a:extLst>
          </p:cNvPr>
          <p:cNvSpPr/>
          <p:nvPr/>
        </p:nvSpPr>
        <p:spPr>
          <a:xfrm rot="5400000">
            <a:off x="5471797" y="3489972"/>
            <a:ext cx="1567955" cy="451172"/>
          </a:xfrm>
          <a:prstGeom prst="flowChartExtract">
            <a:avLst/>
          </a:prstGeom>
          <a:gradFill flip="none" rotWithShape="1">
            <a:gsLst>
              <a:gs pos="0">
                <a:srgbClr val="0047BB">
                  <a:alpha val="0"/>
                </a:srgbClr>
              </a:gs>
              <a:gs pos="90000">
                <a:srgbClr val="0047BB">
                  <a:alpha val="30000"/>
                </a:srgb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venir Next LT Pro" panose="020B0504020202020204" pitchFamily="34" charset="77"/>
              <a:ea typeface="+mn-ea"/>
              <a:cs typeface="+mn-cs"/>
            </a:endParaRPr>
          </a:p>
        </p:txBody>
      </p:sp>
      <p:grpSp>
        <p:nvGrpSpPr>
          <p:cNvPr id="74" name="Gruppo 73">
            <a:extLst>
              <a:ext uri="{FF2B5EF4-FFF2-40B4-BE49-F238E27FC236}">
                <a16:creationId xmlns:a16="http://schemas.microsoft.com/office/drawing/2014/main" id="{0892F0E9-E272-DA4D-B9AC-8A766720A3AA}"/>
              </a:ext>
            </a:extLst>
          </p:cNvPr>
          <p:cNvGrpSpPr/>
          <p:nvPr/>
        </p:nvGrpSpPr>
        <p:grpSpPr>
          <a:xfrm>
            <a:off x="633940" y="1509967"/>
            <a:ext cx="756000" cy="756000"/>
            <a:chOff x="633940" y="1509967"/>
            <a:chExt cx="756000" cy="756000"/>
          </a:xfrm>
        </p:grpSpPr>
        <p:sp>
          <p:nvSpPr>
            <p:cNvPr id="75" name="object 46">
              <a:extLst>
                <a:ext uri="{FF2B5EF4-FFF2-40B4-BE49-F238E27FC236}">
                  <a16:creationId xmlns:a16="http://schemas.microsoft.com/office/drawing/2014/main" id="{132D278B-6098-484C-BC7B-F1B369A6C22B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33940" y="1509967"/>
              <a:ext cx="756000" cy="756000"/>
            </a:xfrm>
            <a:custGeom>
              <a:avLst/>
              <a:gdLst/>
              <a:ahLst/>
              <a:cxnLst/>
              <a:rect l="l" t="t" r="r" b="b"/>
              <a:pathLst>
                <a:path w="1009650" h="1009650">
                  <a:moveTo>
                    <a:pt x="1009637" y="504825"/>
                  </a:moveTo>
                  <a:lnTo>
                    <a:pt x="1007326" y="553440"/>
                  </a:lnTo>
                  <a:lnTo>
                    <a:pt x="1000534" y="600748"/>
                  </a:lnTo>
                  <a:lnTo>
                    <a:pt x="989474" y="646537"/>
                  </a:lnTo>
                  <a:lnTo>
                    <a:pt x="974355" y="690596"/>
                  </a:lnTo>
                  <a:lnTo>
                    <a:pt x="955391" y="732714"/>
                  </a:lnTo>
                  <a:lnTo>
                    <a:pt x="932791" y="772678"/>
                  </a:lnTo>
                  <a:lnTo>
                    <a:pt x="906769" y="810276"/>
                  </a:lnTo>
                  <a:lnTo>
                    <a:pt x="877535" y="845298"/>
                  </a:lnTo>
                  <a:lnTo>
                    <a:pt x="845302" y="877532"/>
                  </a:lnTo>
                  <a:lnTo>
                    <a:pt x="810279" y="906766"/>
                  </a:lnTo>
                  <a:lnTo>
                    <a:pt x="772680" y="932789"/>
                  </a:lnTo>
                  <a:lnTo>
                    <a:pt x="732715" y="955389"/>
                  </a:lnTo>
                  <a:lnTo>
                    <a:pt x="690596" y="974354"/>
                  </a:lnTo>
                  <a:lnTo>
                    <a:pt x="646535" y="989473"/>
                  </a:lnTo>
                  <a:lnTo>
                    <a:pt x="600743" y="1000534"/>
                  </a:lnTo>
                  <a:lnTo>
                    <a:pt x="553431" y="1007326"/>
                  </a:lnTo>
                  <a:lnTo>
                    <a:pt x="504812" y="1009637"/>
                  </a:lnTo>
                  <a:lnTo>
                    <a:pt x="456197" y="1007326"/>
                  </a:lnTo>
                  <a:lnTo>
                    <a:pt x="408888" y="1000534"/>
                  </a:lnTo>
                  <a:lnTo>
                    <a:pt x="363099" y="989473"/>
                  </a:lnTo>
                  <a:lnTo>
                    <a:pt x="319040" y="974354"/>
                  </a:lnTo>
                  <a:lnTo>
                    <a:pt x="276923" y="955389"/>
                  </a:lnTo>
                  <a:lnTo>
                    <a:pt x="236959" y="932789"/>
                  </a:lnTo>
                  <a:lnTo>
                    <a:pt x="199360" y="906766"/>
                  </a:lnTo>
                  <a:lnTo>
                    <a:pt x="164338" y="877532"/>
                  </a:lnTo>
                  <a:lnTo>
                    <a:pt x="132104" y="845298"/>
                  </a:lnTo>
                  <a:lnTo>
                    <a:pt x="102870" y="810276"/>
                  </a:lnTo>
                  <a:lnTo>
                    <a:pt x="76847" y="772678"/>
                  </a:lnTo>
                  <a:lnTo>
                    <a:pt x="54248" y="732714"/>
                  </a:lnTo>
                  <a:lnTo>
                    <a:pt x="35283" y="690596"/>
                  </a:lnTo>
                  <a:lnTo>
                    <a:pt x="20164" y="646537"/>
                  </a:lnTo>
                  <a:lnTo>
                    <a:pt x="9102" y="600748"/>
                  </a:lnTo>
                  <a:lnTo>
                    <a:pt x="2310" y="553440"/>
                  </a:lnTo>
                  <a:lnTo>
                    <a:pt x="0" y="504825"/>
                  </a:lnTo>
                  <a:lnTo>
                    <a:pt x="2310" y="456207"/>
                  </a:lnTo>
                  <a:lnTo>
                    <a:pt x="9102" y="408897"/>
                  </a:lnTo>
                  <a:lnTo>
                    <a:pt x="20164" y="363106"/>
                  </a:lnTo>
                  <a:lnTo>
                    <a:pt x="35283" y="319045"/>
                  </a:lnTo>
                  <a:lnTo>
                    <a:pt x="54248" y="276927"/>
                  </a:lnTo>
                  <a:lnTo>
                    <a:pt x="76847" y="236962"/>
                  </a:lnTo>
                  <a:lnTo>
                    <a:pt x="102870" y="199363"/>
                  </a:lnTo>
                  <a:lnTo>
                    <a:pt x="132104" y="164340"/>
                  </a:lnTo>
                  <a:lnTo>
                    <a:pt x="164338" y="132105"/>
                  </a:lnTo>
                  <a:lnTo>
                    <a:pt x="199360" y="102871"/>
                  </a:lnTo>
                  <a:lnTo>
                    <a:pt x="236959" y="76848"/>
                  </a:lnTo>
                  <a:lnTo>
                    <a:pt x="276923" y="54248"/>
                  </a:lnTo>
                  <a:lnTo>
                    <a:pt x="319040" y="35283"/>
                  </a:lnTo>
                  <a:lnTo>
                    <a:pt x="363099" y="20164"/>
                  </a:lnTo>
                  <a:lnTo>
                    <a:pt x="408888" y="9102"/>
                  </a:lnTo>
                  <a:lnTo>
                    <a:pt x="456197" y="2310"/>
                  </a:lnTo>
                  <a:lnTo>
                    <a:pt x="504812" y="0"/>
                  </a:lnTo>
                  <a:lnTo>
                    <a:pt x="553431" y="2310"/>
                  </a:lnTo>
                  <a:lnTo>
                    <a:pt x="600743" y="9102"/>
                  </a:lnTo>
                  <a:lnTo>
                    <a:pt x="646535" y="20164"/>
                  </a:lnTo>
                  <a:lnTo>
                    <a:pt x="690596" y="35283"/>
                  </a:lnTo>
                  <a:lnTo>
                    <a:pt x="732715" y="54248"/>
                  </a:lnTo>
                  <a:lnTo>
                    <a:pt x="772680" y="76848"/>
                  </a:lnTo>
                  <a:lnTo>
                    <a:pt x="810279" y="102871"/>
                  </a:lnTo>
                  <a:lnTo>
                    <a:pt x="845302" y="132105"/>
                  </a:lnTo>
                  <a:lnTo>
                    <a:pt x="877535" y="164340"/>
                  </a:lnTo>
                  <a:lnTo>
                    <a:pt x="906769" y="199363"/>
                  </a:lnTo>
                  <a:lnTo>
                    <a:pt x="932791" y="236962"/>
                  </a:lnTo>
                  <a:lnTo>
                    <a:pt x="955391" y="276927"/>
                  </a:lnTo>
                  <a:lnTo>
                    <a:pt x="974355" y="319045"/>
                  </a:lnTo>
                  <a:lnTo>
                    <a:pt x="989474" y="363106"/>
                  </a:lnTo>
                  <a:lnTo>
                    <a:pt x="1000534" y="408897"/>
                  </a:lnTo>
                  <a:lnTo>
                    <a:pt x="1007326" y="456207"/>
                  </a:lnTo>
                  <a:lnTo>
                    <a:pt x="1009637" y="504825"/>
                  </a:lnTo>
                  <a:close/>
                </a:path>
              </a:pathLst>
            </a:custGeom>
            <a:solidFill>
              <a:schemeClr val="bg1"/>
            </a:solidFill>
            <a:ln w="12700">
              <a:solidFill>
                <a:srgbClr val="0046BA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3B3B3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76" name="object 47">
              <a:extLst>
                <a:ext uri="{FF2B5EF4-FFF2-40B4-BE49-F238E27FC236}">
                  <a16:creationId xmlns:a16="http://schemas.microsoft.com/office/drawing/2014/main" id="{66E9A941-73FB-C940-A108-9A51D7B4D583}"/>
                </a:ext>
              </a:extLst>
            </p:cNvPr>
            <p:cNvSpPr/>
            <p:nvPr userDrawn="1"/>
          </p:nvSpPr>
          <p:spPr>
            <a:xfrm>
              <a:off x="687940" y="1563967"/>
              <a:ext cx="648000" cy="648000"/>
            </a:xfrm>
            <a:custGeom>
              <a:avLst/>
              <a:gdLst/>
              <a:ahLst/>
              <a:cxnLst/>
              <a:rect l="l" t="t" r="r" b="b"/>
              <a:pathLst>
                <a:path w="836294" h="836294">
                  <a:moveTo>
                    <a:pt x="417944" y="0"/>
                  </a:moveTo>
                  <a:lnTo>
                    <a:pt x="369203" y="2811"/>
                  </a:lnTo>
                  <a:lnTo>
                    <a:pt x="322114" y="11038"/>
                  </a:lnTo>
                  <a:lnTo>
                    <a:pt x="276989" y="24365"/>
                  </a:lnTo>
                  <a:lnTo>
                    <a:pt x="234143" y="42480"/>
                  </a:lnTo>
                  <a:lnTo>
                    <a:pt x="193890" y="65069"/>
                  </a:lnTo>
                  <a:lnTo>
                    <a:pt x="156542" y="91818"/>
                  </a:lnTo>
                  <a:lnTo>
                    <a:pt x="122413" y="122413"/>
                  </a:lnTo>
                  <a:lnTo>
                    <a:pt x="91818" y="156542"/>
                  </a:lnTo>
                  <a:lnTo>
                    <a:pt x="65069" y="193890"/>
                  </a:lnTo>
                  <a:lnTo>
                    <a:pt x="42480" y="234143"/>
                  </a:lnTo>
                  <a:lnTo>
                    <a:pt x="24365" y="276989"/>
                  </a:lnTo>
                  <a:lnTo>
                    <a:pt x="11038" y="322114"/>
                  </a:lnTo>
                  <a:lnTo>
                    <a:pt x="2811" y="369203"/>
                  </a:lnTo>
                  <a:lnTo>
                    <a:pt x="0" y="417944"/>
                  </a:lnTo>
                  <a:lnTo>
                    <a:pt x="2811" y="466685"/>
                  </a:lnTo>
                  <a:lnTo>
                    <a:pt x="11038" y="513774"/>
                  </a:lnTo>
                  <a:lnTo>
                    <a:pt x="24365" y="558898"/>
                  </a:lnTo>
                  <a:lnTo>
                    <a:pt x="42480" y="601744"/>
                  </a:lnTo>
                  <a:lnTo>
                    <a:pt x="65069" y="641998"/>
                  </a:lnTo>
                  <a:lnTo>
                    <a:pt x="91818" y="679346"/>
                  </a:lnTo>
                  <a:lnTo>
                    <a:pt x="122413" y="713474"/>
                  </a:lnTo>
                  <a:lnTo>
                    <a:pt x="156542" y="744070"/>
                  </a:lnTo>
                  <a:lnTo>
                    <a:pt x="193890" y="770819"/>
                  </a:lnTo>
                  <a:lnTo>
                    <a:pt x="234143" y="793407"/>
                  </a:lnTo>
                  <a:lnTo>
                    <a:pt x="276989" y="811522"/>
                  </a:lnTo>
                  <a:lnTo>
                    <a:pt x="322114" y="824850"/>
                  </a:lnTo>
                  <a:lnTo>
                    <a:pt x="369203" y="833076"/>
                  </a:lnTo>
                  <a:lnTo>
                    <a:pt x="417944" y="835888"/>
                  </a:lnTo>
                  <a:lnTo>
                    <a:pt x="466685" y="833076"/>
                  </a:lnTo>
                  <a:lnTo>
                    <a:pt x="513774" y="824850"/>
                  </a:lnTo>
                  <a:lnTo>
                    <a:pt x="558898" y="811522"/>
                  </a:lnTo>
                  <a:lnTo>
                    <a:pt x="601744" y="793407"/>
                  </a:lnTo>
                  <a:lnTo>
                    <a:pt x="641998" y="770819"/>
                  </a:lnTo>
                  <a:lnTo>
                    <a:pt x="679346" y="744070"/>
                  </a:lnTo>
                  <a:lnTo>
                    <a:pt x="713474" y="713474"/>
                  </a:lnTo>
                  <a:lnTo>
                    <a:pt x="744070" y="679346"/>
                  </a:lnTo>
                  <a:lnTo>
                    <a:pt x="770819" y="641998"/>
                  </a:lnTo>
                  <a:lnTo>
                    <a:pt x="793407" y="601744"/>
                  </a:lnTo>
                  <a:lnTo>
                    <a:pt x="811522" y="558898"/>
                  </a:lnTo>
                  <a:lnTo>
                    <a:pt x="824850" y="513774"/>
                  </a:lnTo>
                  <a:lnTo>
                    <a:pt x="833076" y="466685"/>
                  </a:lnTo>
                  <a:lnTo>
                    <a:pt x="835888" y="417944"/>
                  </a:lnTo>
                  <a:lnTo>
                    <a:pt x="833076" y="369203"/>
                  </a:lnTo>
                  <a:lnTo>
                    <a:pt x="824850" y="322114"/>
                  </a:lnTo>
                  <a:lnTo>
                    <a:pt x="811522" y="276989"/>
                  </a:lnTo>
                  <a:lnTo>
                    <a:pt x="793407" y="234143"/>
                  </a:lnTo>
                  <a:lnTo>
                    <a:pt x="770819" y="193890"/>
                  </a:lnTo>
                  <a:lnTo>
                    <a:pt x="744070" y="156542"/>
                  </a:lnTo>
                  <a:lnTo>
                    <a:pt x="713474" y="122413"/>
                  </a:lnTo>
                  <a:lnTo>
                    <a:pt x="679346" y="91818"/>
                  </a:lnTo>
                  <a:lnTo>
                    <a:pt x="641998" y="65069"/>
                  </a:lnTo>
                  <a:lnTo>
                    <a:pt x="601744" y="42480"/>
                  </a:lnTo>
                  <a:lnTo>
                    <a:pt x="558898" y="24365"/>
                  </a:lnTo>
                  <a:lnTo>
                    <a:pt x="513774" y="11038"/>
                  </a:lnTo>
                  <a:lnTo>
                    <a:pt x="466685" y="2811"/>
                  </a:lnTo>
                  <a:lnTo>
                    <a:pt x="417944" y="0"/>
                  </a:lnTo>
                  <a:close/>
                </a:path>
              </a:pathLst>
            </a:custGeom>
            <a:solidFill>
              <a:srgbClr val="EEDC00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srgbClr val="3B3B3A"/>
                </a:solidFill>
                <a:effectLst/>
                <a:uLnTx/>
                <a:uFillTx/>
                <a:latin typeface="Avenir Next LT Pro" panose="020B0504020202020204" pitchFamily="34" charset="77"/>
                <a:ea typeface="+mn-ea"/>
                <a:cs typeface="+mn-cs"/>
              </a:endParaRPr>
            </a:p>
          </p:txBody>
        </p:sp>
      </p:grpSp>
      <p:cxnSp>
        <p:nvCxnSpPr>
          <p:cNvPr id="77" name="Connettore 1 46">
            <a:extLst>
              <a:ext uri="{FF2B5EF4-FFF2-40B4-BE49-F238E27FC236}">
                <a16:creationId xmlns:a16="http://schemas.microsoft.com/office/drawing/2014/main" id="{F4EA321C-5927-C044-998E-D94077234B74}"/>
              </a:ext>
            </a:extLst>
          </p:cNvPr>
          <p:cNvCxnSpPr>
            <a:cxnSpLocks/>
          </p:cNvCxnSpPr>
          <p:nvPr/>
        </p:nvCxnSpPr>
        <p:spPr>
          <a:xfrm>
            <a:off x="1395006" y="1889852"/>
            <a:ext cx="4140000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8" name="Gruppo 77">
            <a:extLst>
              <a:ext uri="{FF2B5EF4-FFF2-40B4-BE49-F238E27FC236}">
                <a16:creationId xmlns:a16="http://schemas.microsoft.com/office/drawing/2014/main" id="{364C0991-A5CD-024E-B8E0-551125589E03}"/>
              </a:ext>
            </a:extLst>
          </p:cNvPr>
          <p:cNvGrpSpPr/>
          <p:nvPr/>
        </p:nvGrpSpPr>
        <p:grpSpPr>
          <a:xfrm>
            <a:off x="629053" y="4156346"/>
            <a:ext cx="756000" cy="756000"/>
            <a:chOff x="633940" y="1509967"/>
            <a:chExt cx="756000" cy="756000"/>
          </a:xfrm>
        </p:grpSpPr>
        <p:sp>
          <p:nvSpPr>
            <p:cNvPr id="79" name="object 46">
              <a:extLst>
                <a:ext uri="{FF2B5EF4-FFF2-40B4-BE49-F238E27FC236}">
                  <a16:creationId xmlns:a16="http://schemas.microsoft.com/office/drawing/2014/main" id="{BE4A79C2-8592-5F48-809B-5FFFAEB0505E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33940" y="1509967"/>
              <a:ext cx="756000" cy="756000"/>
            </a:xfrm>
            <a:custGeom>
              <a:avLst/>
              <a:gdLst/>
              <a:ahLst/>
              <a:cxnLst/>
              <a:rect l="l" t="t" r="r" b="b"/>
              <a:pathLst>
                <a:path w="1009650" h="1009650">
                  <a:moveTo>
                    <a:pt x="1009637" y="504825"/>
                  </a:moveTo>
                  <a:lnTo>
                    <a:pt x="1007326" y="553440"/>
                  </a:lnTo>
                  <a:lnTo>
                    <a:pt x="1000534" y="600748"/>
                  </a:lnTo>
                  <a:lnTo>
                    <a:pt x="989474" y="646537"/>
                  </a:lnTo>
                  <a:lnTo>
                    <a:pt x="974355" y="690596"/>
                  </a:lnTo>
                  <a:lnTo>
                    <a:pt x="955391" y="732714"/>
                  </a:lnTo>
                  <a:lnTo>
                    <a:pt x="932791" y="772678"/>
                  </a:lnTo>
                  <a:lnTo>
                    <a:pt x="906769" y="810276"/>
                  </a:lnTo>
                  <a:lnTo>
                    <a:pt x="877535" y="845298"/>
                  </a:lnTo>
                  <a:lnTo>
                    <a:pt x="845302" y="877532"/>
                  </a:lnTo>
                  <a:lnTo>
                    <a:pt x="810279" y="906766"/>
                  </a:lnTo>
                  <a:lnTo>
                    <a:pt x="772680" y="932789"/>
                  </a:lnTo>
                  <a:lnTo>
                    <a:pt x="732715" y="955389"/>
                  </a:lnTo>
                  <a:lnTo>
                    <a:pt x="690596" y="974354"/>
                  </a:lnTo>
                  <a:lnTo>
                    <a:pt x="646535" y="989473"/>
                  </a:lnTo>
                  <a:lnTo>
                    <a:pt x="600743" y="1000534"/>
                  </a:lnTo>
                  <a:lnTo>
                    <a:pt x="553431" y="1007326"/>
                  </a:lnTo>
                  <a:lnTo>
                    <a:pt x="504812" y="1009637"/>
                  </a:lnTo>
                  <a:lnTo>
                    <a:pt x="456197" y="1007326"/>
                  </a:lnTo>
                  <a:lnTo>
                    <a:pt x="408888" y="1000534"/>
                  </a:lnTo>
                  <a:lnTo>
                    <a:pt x="363099" y="989473"/>
                  </a:lnTo>
                  <a:lnTo>
                    <a:pt x="319040" y="974354"/>
                  </a:lnTo>
                  <a:lnTo>
                    <a:pt x="276923" y="955389"/>
                  </a:lnTo>
                  <a:lnTo>
                    <a:pt x="236959" y="932789"/>
                  </a:lnTo>
                  <a:lnTo>
                    <a:pt x="199360" y="906766"/>
                  </a:lnTo>
                  <a:lnTo>
                    <a:pt x="164338" y="877532"/>
                  </a:lnTo>
                  <a:lnTo>
                    <a:pt x="132104" y="845298"/>
                  </a:lnTo>
                  <a:lnTo>
                    <a:pt x="102870" y="810276"/>
                  </a:lnTo>
                  <a:lnTo>
                    <a:pt x="76847" y="772678"/>
                  </a:lnTo>
                  <a:lnTo>
                    <a:pt x="54248" y="732714"/>
                  </a:lnTo>
                  <a:lnTo>
                    <a:pt x="35283" y="690596"/>
                  </a:lnTo>
                  <a:lnTo>
                    <a:pt x="20164" y="646537"/>
                  </a:lnTo>
                  <a:lnTo>
                    <a:pt x="9102" y="600748"/>
                  </a:lnTo>
                  <a:lnTo>
                    <a:pt x="2310" y="553440"/>
                  </a:lnTo>
                  <a:lnTo>
                    <a:pt x="0" y="504825"/>
                  </a:lnTo>
                  <a:lnTo>
                    <a:pt x="2310" y="456207"/>
                  </a:lnTo>
                  <a:lnTo>
                    <a:pt x="9102" y="408897"/>
                  </a:lnTo>
                  <a:lnTo>
                    <a:pt x="20164" y="363106"/>
                  </a:lnTo>
                  <a:lnTo>
                    <a:pt x="35283" y="319045"/>
                  </a:lnTo>
                  <a:lnTo>
                    <a:pt x="54248" y="276927"/>
                  </a:lnTo>
                  <a:lnTo>
                    <a:pt x="76847" y="236962"/>
                  </a:lnTo>
                  <a:lnTo>
                    <a:pt x="102870" y="199363"/>
                  </a:lnTo>
                  <a:lnTo>
                    <a:pt x="132104" y="164340"/>
                  </a:lnTo>
                  <a:lnTo>
                    <a:pt x="164338" y="132105"/>
                  </a:lnTo>
                  <a:lnTo>
                    <a:pt x="199360" y="102871"/>
                  </a:lnTo>
                  <a:lnTo>
                    <a:pt x="236959" y="76848"/>
                  </a:lnTo>
                  <a:lnTo>
                    <a:pt x="276923" y="54248"/>
                  </a:lnTo>
                  <a:lnTo>
                    <a:pt x="319040" y="35283"/>
                  </a:lnTo>
                  <a:lnTo>
                    <a:pt x="363099" y="20164"/>
                  </a:lnTo>
                  <a:lnTo>
                    <a:pt x="408888" y="9102"/>
                  </a:lnTo>
                  <a:lnTo>
                    <a:pt x="456197" y="2310"/>
                  </a:lnTo>
                  <a:lnTo>
                    <a:pt x="504812" y="0"/>
                  </a:lnTo>
                  <a:lnTo>
                    <a:pt x="553431" y="2310"/>
                  </a:lnTo>
                  <a:lnTo>
                    <a:pt x="600743" y="9102"/>
                  </a:lnTo>
                  <a:lnTo>
                    <a:pt x="646535" y="20164"/>
                  </a:lnTo>
                  <a:lnTo>
                    <a:pt x="690596" y="35283"/>
                  </a:lnTo>
                  <a:lnTo>
                    <a:pt x="732715" y="54248"/>
                  </a:lnTo>
                  <a:lnTo>
                    <a:pt x="772680" y="76848"/>
                  </a:lnTo>
                  <a:lnTo>
                    <a:pt x="810279" y="102871"/>
                  </a:lnTo>
                  <a:lnTo>
                    <a:pt x="845302" y="132105"/>
                  </a:lnTo>
                  <a:lnTo>
                    <a:pt x="877535" y="164340"/>
                  </a:lnTo>
                  <a:lnTo>
                    <a:pt x="906769" y="199363"/>
                  </a:lnTo>
                  <a:lnTo>
                    <a:pt x="932791" y="236962"/>
                  </a:lnTo>
                  <a:lnTo>
                    <a:pt x="955391" y="276927"/>
                  </a:lnTo>
                  <a:lnTo>
                    <a:pt x="974355" y="319045"/>
                  </a:lnTo>
                  <a:lnTo>
                    <a:pt x="989474" y="363106"/>
                  </a:lnTo>
                  <a:lnTo>
                    <a:pt x="1000534" y="408897"/>
                  </a:lnTo>
                  <a:lnTo>
                    <a:pt x="1007326" y="456207"/>
                  </a:lnTo>
                  <a:lnTo>
                    <a:pt x="1009637" y="504825"/>
                  </a:lnTo>
                  <a:close/>
                </a:path>
              </a:pathLst>
            </a:custGeom>
            <a:solidFill>
              <a:schemeClr val="bg1"/>
            </a:solidFill>
            <a:ln w="12700">
              <a:solidFill>
                <a:srgbClr val="0046BA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3B3B3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80" name="object 47">
              <a:extLst>
                <a:ext uri="{FF2B5EF4-FFF2-40B4-BE49-F238E27FC236}">
                  <a16:creationId xmlns:a16="http://schemas.microsoft.com/office/drawing/2014/main" id="{96375D70-9925-4F42-AEAE-8DCCCB01BD51}"/>
                </a:ext>
              </a:extLst>
            </p:cNvPr>
            <p:cNvSpPr/>
            <p:nvPr userDrawn="1"/>
          </p:nvSpPr>
          <p:spPr>
            <a:xfrm>
              <a:off x="687940" y="1563967"/>
              <a:ext cx="648000" cy="648000"/>
            </a:xfrm>
            <a:custGeom>
              <a:avLst/>
              <a:gdLst/>
              <a:ahLst/>
              <a:cxnLst/>
              <a:rect l="l" t="t" r="r" b="b"/>
              <a:pathLst>
                <a:path w="836294" h="836294">
                  <a:moveTo>
                    <a:pt x="417944" y="0"/>
                  </a:moveTo>
                  <a:lnTo>
                    <a:pt x="369203" y="2811"/>
                  </a:lnTo>
                  <a:lnTo>
                    <a:pt x="322114" y="11038"/>
                  </a:lnTo>
                  <a:lnTo>
                    <a:pt x="276989" y="24365"/>
                  </a:lnTo>
                  <a:lnTo>
                    <a:pt x="234143" y="42480"/>
                  </a:lnTo>
                  <a:lnTo>
                    <a:pt x="193890" y="65069"/>
                  </a:lnTo>
                  <a:lnTo>
                    <a:pt x="156542" y="91818"/>
                  </a:lnTo>
                  <a:lnTo>
                    <a:pt x="122413" y="122413"/>
                  </a:lnTo>
                  <a:lnTo>
                    <a:pt x="91818" y="156542"/>
                  </a:lnTo>
                  <a:lnTo>
                    <a:pt x="65069" y="193890"/>
                  </a:lnTo>
                  <a:lnTo>
                    <a:pt x="42480" y="234143"/>
                  </a:lnTo>
                  <a:lnTo>
                    <a:pt x="24365" y="276989"/>
                  </a:lnTo>
                  <a:lnTo>
                    <a:pt x="11038" y="322114"/>
                  </a:lnTo>
                  <a:lnTo>
                    <a:pt x="2811" y="369203"/>
                  </a:lnTo>
                  <a:lnTo>
                    <a:pt x="0" y="417944"/>
                  </a:lnTo>
                  <a:lnTo>
                    <a:pt x="2811" y="466685"/>
                  </a:lnTo>
                  <a:lnTo>
                    <a:pt x="11038" y="513774"/>
                  </a:lnTo>
                  <a:lnTo>
                    <a:pt x="24365" y="558898"/>
                  </a:lnTo>
                  <a:lnTo>
                    <a:pt x="42480" y="601744"/>
                  </a:lnTo>
                  <a:lnTo>
                    <a:pt x="65069" y="641998"/>
                  </a:lnTo>
                  <a:lnTo>
                    <a:pt x="91818" y="679346"/>
                  </a:lnTo>
                  <a:lnTo>
                    <a:pt x="122413" y="713474"/>
                  </a:lnTo>
                  <a:lnTo>
                    <a:pt x="156542" y="744070"/>
                  </a:lnTo>
                  <a:lnTo>
                    <a:pt x="193890" y="770819"/>
                  </a:lnTo>
                  <a:lnTo>
                    <a:pt x="234143" y="793407"/>
                  </a:lnTo>
                  <a:lnTo>
                    <a:pt x="276989" y="811522"/>
                  </a:lnTo>
                  <a:lnTo>
                    <a:pt x="322114" y="824850"/>
                  </a:lnTo>
                  <a:lnTo>
                    <a:pt x="369203" y="833076"/>
                  </a:lnTo>
                  <a:lnTo>
                    <a:pt x="417944" y="835888"/>
                  </a:lnTo>
                  <a:lnTo>
                    <a:pt x="466685" y="833076"/>
                  </a:lnTo>
                  <a:lnTo>
                    <a:pt x="513774" y="824850"/>
                  </a:lnTo>
                  <a:lnTo>
                    <a:pt x="558898" y="811522"/>
                  </a:lnTo>
                  <a:lnTo>
                    <a:pt x="601744" y="793407"/>
                  </a:lnTo>
                  <a:lnTo>
                    <a:pt x="641998" y="770819"/>
                  </a:lnTo>
                  <a:lnTo>
                    <a:pt x="679346" y="744070"/>
                  </a:lnTo>
                  <a:lnTo>
                    <a:pt x="713474" y="713474"/>
                  </a:lnTo>
                  <a:lnTo>
                    <a:pt x="744070" y="679346"/>
                  </a:lnTo>
                  <a:lnTo>
                    <a:pt x="770819" y="641998"/>
                  </a:lnTo>
                  <a:lnTo>
                    <a:pt x="793407" y="601744"/>
                  </a:lnTo>
                  <a:lnTo>
                    <a:pt x="811522" y="558898"/>
                  </a:lnTo>
                  <a:lnTo>
                    <a:pt x="824850" y="513774"/>
                  </a:lnTo>
                  <a:lnTo>
                    <a:pt x="833076" y="466685"/>
                  </a:lnTo>
                  <a:lnTo>
                    <a:pt x="835888" y="417944"/>
                  </a:lnTo>
                  <a:lnTo>
                    <a:pt x="833076" y="369203"/>
                  </a:lnTo>
                  <a:lnTo>
                    <a:pt x="824850" y="322114"/>
                  </a:lnTo>
                  <a:lnTo>
                    <a:pt x="811522" y="276989"/>
                  </a:lnTo>
                  <a:lnTo>
                    <a:pt x="793407" y="234143"/>
                  </a:lnTo>
                  <a:lnTo>
                    <a:pt x="770819" y="193890"/>
                  </a:lnTo>
                  <a:lnTo>
                    <a:pt x="744070" y="156542"/>
                  </a:lnTo>
                  <a:lnTo>
                    <a:pt x="713474" y="122413"/>
                  </a:lnTo>
                  <a:lnTo>
                    <a:pt x="679346" y="91818"/>
                  </a:lnTo>
                  <a:lnTo>
                    <a:pt x="641998" y="65069"/>
                  </a:lnTo>
                  <a:lnTo>
                    <a:pt x="601744" y="42480"/>
                  </a:lnTo>
                  <a:lnTo>
                    <a:pt x="558898" y="24365"/>
                  </a:lnTo>
                  <a:lnTo>
                    <a:pt x="513774" y="11038"/>
                  </a:lnTo>
                  <a:lnTo>
                    <a:pt x="466685" y="2811"/>
                  </a:lnTo>
                  <a:lnTo>
                    <a:pt x="417944" y="0"/>
                  </a:lnTo>
                  <a:close/>
                </a:path>
              </a:pathLst>
            </a:custGeom>
            <a:solidFill>
              <a:srgbClr val="EEDC00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srgbClr val="3B3B3A"/>
                </a:solidFill>
                <a:effectLst/>
                <a:uLnTx/>
                <a:uFillTx/>
                <a:latin typeface="Avenir Next LT Pro" panose="020B0504020202020204" pitchFamily="34" charset="77"/>
                <a:ea typeface="+mn-ea"/>
                <a:cs typeface="+mn-cs"/>
              </a:endParaRPr>
            </a:p>
          </p:txBody>
        </p:sp>
      </p:grpSp>
      <p:cxnSp>
        <p:nvCxnSpPr>
          <p:cNvPr id="81" name="Connettore 1 46">
            <a:extLst>
              <a:ext uri="{FF2B5EF4-FFF2-40B4-BE49-F238E27FC236}">
                <a16:creationId xmlns:a16="http://schemas.microsoft.com/office/drawing/2014/main" id="{6C47996B-507E-1D4F-9901-B49634A11943}"/>
              </a:ext>
            </a:extLst>
          </p:cNvPr>
          <p:cNvCxnSpPr>
            <a:cxnSpLocks/>
          </p:cNvCxnSpPr>
          <p:nvPr/>
        </p:nvCxnSpPr>
        <p:spPr>
          <a:xfrm>
            <a:off x="1390119" y="4536231"/>
            <a:ext cx="4140000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CasellaDiTesto 1">
            <a:extLst>
              <a:ext uri="{FF2B5EF4-FFF2-40B4-BE49-F238E27FC236}">
                <a16:creationId xmlns:a16="http://schemas.microsoft.com/office/drawing/2014/main" id="{FCCFF676-0830-8391-4AC3-DDBBF450C85F}"/>
              </a:ext>
            </a:extLst>
          </p:cNvPr>
          <p:cNvSpPr txBox="1"/>
          <p:nvPr userDrawn="1"/>
        </p:nvSpPr>
        <p:spPr>
          <a:xfrm>
            <a:off x="3916392" y="6623540"/>
            <a:ext cx="739499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it-IT" sz="800" i="1" dirty="0"/>
              <a:t>Documento ad uso esclusivamente interno, da intendersi come strettamente riservato; non è autorizzata la trasmissione ad altri e la divulgazione all’esterno.</a:t>
            </a:r>
            <a:endParaRPr lang="en-US" sz="800" i="1" dirty="0"/>
          </a:p>
        </p:txBody>
      </p:sp>
    </p:spTree>
    <p:extLst>
      <p:ext uri="{BB962C8B-B14F-4D97-AF65-F5344CB8AC3E}">
        <p14:creationId xmlns:p14="http://schemas.microsoft.com/office/powerpoint/2010/main" val="1591744382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6" orient="horz" pos="3725">
          <p15:clr>
            <a:srgbClr val="FBAE40"/>
          </p15:clr>
        </p15:guide>
        <p15:guide id="7" pos="3840">
          <p15:clr>
            <a:srgbClr val="FBAE40"/>
          </p15:clr>
        </p15:guide>
        <p15:guide id="8" pos="325">
          <p15:clr>
            <a:srgbClr val="FBAE40"/>
          </p15:clr>
        </p15:guide>
        <p15:guide id="9" pos="7333">
          <p15:clr>
            <a:srgbClr val="FBAE40"/>
          </p15:clr>
        </p15:guide>
        <p15:guide id="10" orient="horz" pos="1480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Pagina 2 box DX + 2 box SX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Segnaposto testo 4">
            <a:extLst>
              <a:ext uri="{FF2B5EF4-FFF2-40B4-BE49-F238E27FC236}">
                <a16:creationId xmlns:a16="http://schemas.microsoft.com/office/drawing/2014/main" id="{597E06C8-CAFB-E24B-A154-8EA093E0C54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49834" y="5917932"/>
            <a:ext cx="9402763" cy="573088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900" b="0" i="0">
                <a:latin typeface="Avenir Next LT Pro" panose="020B0504020202020204" pitchFamily="34" charset="77"/>
              </a:defRPr>
            </a:lvl1pPr>
            <a:lvl2pPr marL="457200" indent="0">
              <a:buNone/>
              <a:defRPr sz="900" b="0" i="0">
                <a:latin typeface="Avenir Next LT Pro" panose="020B0504020202020204" pitchFamily="34" charset="77"/>
              </a:defRPr>
            </a:lvl2pPr>
            <a:lvl3pPr marL="914400" indent="0">
              <a:buNone/>
              <a:defRPr sz="900" b="0" i="0">
                <a:latin typeface="Avenir Next LT Pro" panose="020B0504020202020204" pitchFamily="34" charset="77"/>
              </a:defRPr>
            </a:lvl3pPr>
            <a:lvl4pPr marL="1371600" indent="0">
              <a:buNone/>
              <a:defRPr sz="900" b="0" i="0">
                <a:latin typeface="Avenir Next LT Pro" panose="020B0504020202020204" pitchFamily="34" charset="77"/>
              </a:defRPr>
            </a:lvl4pPr>
            <a:lvl5pPr marL="1828800" indent="0">
              <a:buNone/>
              <a:defRPr sz="900" b="0" i="0">
                <a:latin typeface="Avenir Next LT Pro" panose="020B0504020202020204" pitchFamily="34" charset="77"/>
              </a:defRPr>
            </a:lvl5pPr>
          </a:lstStyle>
          <a:p>
            <a:pPr lvl="0"/>
            <a:r>
              <a:rPr lang="it-IT" dirty="0"/>
              <a:t>1. Fare clic per modificare le note 2. Fare clic per modificare le note 3. Fare clic per modificare le note </a:t>
            </a:r>
          </a:p>
        </p:txBody>
      </p:sp>
      <p:sp>
        <p:nvSpPr>
          <p:cNvPr id="4" name="Segnaposto contenuto 3">
            <a:extLst>
              <a:ext uri="{FF2B5EF4-FFF2-40B4-BE49-F238E27FC236}">
                <a16:creationId xmlns:a16="http://schemas.microsoft.com/office/drawing/2014/main" id="{B72FE258-5D20-BA45-BACF-20ED1C313B4C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515938" y="2355296"/>
            <a:ext cx="5580062" cy="1493281"/>
          </a:xfrm>
          <a:prstGeom prst="rect">
            <a:avLst/>
          </a:prstGeom>
        </p:spPr>
        <p:txBody>
          <a:bodyPr lIns="144000" tIns="144000" rIns="144000" bIns="144000"/>
          <a:lstStyle>
            <a:lvl1pPr marL="228600" indent="-228600">
              <a:buClr>
                <a:schemeClr val="accent2"/>
              </a:buClr>
              <a:buFont typeface="Font di sistema regolare"/>
              <a:buChar char="●"/>
              <a:defRPr sz="1400">
                <a:solidFill>
                  <a:schemeClr val="tx1"/>
                </a:solidFill>
              </a:defRPr>
            </a:lvl1pPr>
            <a:lvl2pPr marL="685800" indent="-228600">
              <a:buClr>
                <a:schemeClr val="accent2"/>
              </a:buClr>
              <a:buFont typeface="Font di sistema regolare"/>
              <a:buChar char="●"/>
              <a:defRPr sz="1400">
                <a:solidFill>
                  <a:schemeClr val="tx1"/>
                </a:solidFill>
              </a:defRPr>
            </a:lvl2pPr>
            <a:lvl3pPr marL="1143000" indent="-228600">
              <a:buClr>
                <a:schemeClr val="accent2"/>
              </a:buClr>
              <a:buFont typeface="Font di sistema regolare"/>
              <a:buChar char="●"/>
              <a:defRPr sz="1400">
                <a:solidFill>
                  <a:schemeClr val="tx1"/>
                </a:solidFill>
              </a:defRPr>
            </a:lvl3pPr>
            <a:lvl4pPr marL="1600200" indent="-228600">
              <a:buClr>
                <a:schemeClr val="accent2"/>
              </a:buClr>
              <a:buFont typeface="Font di sistema regolare"/>
              <a:buChar char="●"/>
              <a:defRPr sz="1400">
                <a:solidFill>
                  <a:schemeClr val="tx1"/>
                </a:solidFill>
              </a:defRPr>
            </a:lvl4pPr>
            <a:lvl5pPr marL="2057400" indent="-228600">
              <a:buClr>
                <a:schemeClr val="accent2"/>
              </a:buClr>
              <a:buFont typeface="Font di sistema regolare"/>
              <a:buChar char="●"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</p:txBody>
      </p:sp>
      <p:sp>
        <p:nvSpPr>
          <p:cNvPr id="44" name="Segnaposto contenuto 3">
            <a:extLst>
              <a:ext uri="{FF2B5EF4-FFF2-40B4-BE49-F238E27FC236}">
                <a16:creationId xmlns:a16="http://schemas.microsoft.com/office/drawing/2014/main" id="{9A0953E8-917B-BA41-B29F-B2B74E2C1947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33448" y="5074391"/>
            <a:ext cx="5580062" cy="1206913"/>
          </a:xfrm>
          <a:prstGeom prst="rect">
            <a:avLst/>
          </a:prstGeom>
        </p:spPr>
        <p:txBody>
          <a:bodyPr lIns="144000" tIns="144000" rIns="144000" bIns="144000"/>
          <a:lstStyle>
            <a:lvl1pPr marL="228600" indent="-228600">
              <a:buClr>
                <a:schemeClr val="accent2"/>
              </a:buClr>
              <a:buFont typeface="Font di sistema regolare"/>
              <a:buChar char="●"/>
              <a:defRPr sz="1400">
                <a:solidFill>
                  <a:schemeClr val="tx1"/>
                </a:solidFill>
              </a:defRPr>
            </a:lvl1pPr>
            <a:lvl2pPr marL="685800" indent="-228600">
              <a:buClr>
                <a:schemeClr val="accent2"/>
              </a:buClr>
              <a:buFont typeface="Font di sistema regolare"/>
              <a:buChar char="●"/>
              <a:defRPr sz="1400">
                <a:solidFill>
                  <a:schemeClr val="tx1"/>
                </a:solidFill>
              </a:defRPr>
            </a:lvl2pPr>
            <a:lvl3pPr marL="1143000" indent="-228600">
              <a:buClr>
                <a:schemeClr val="accent2"/>
              </a:buClr>
              <a:buFont typeface="Font di sistema regolare"/>
              <a:buChar char="●"/>
              <a:defRPr sz="1400">
                <a:solidFill>
                  <a:schemeClr val="tx1"/>
                </a:solidFill>
              </a:defRPr>
            </a:lvl3pPr>
            <a:lvl4pPr marL="1600200" indent="-228600">
              <a:buClr>
                <a:schemeClr val="accent2"/>
              </a:buClr>
              <a:buFont typeface="Font di sistema regolare"/>
              <a:buChar char="●"/>
              <a:defRPr sz="1400">
                <a:solidFill>
                  <a:schemeClr val="tx1"/>
                </a:solidFill>
              </a:defRPr>
            </a:lvl4pPr>
            <a:lvl5pPr marL="2057400" indent="-228600">
              <a:buClr>
                <a:schemeClr val="accent2"/>
              </a:buClr>
              <a:buFont typeface="Font di sistema regolare"/>
              <a:buChar char="●"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</p:txBody>
      </p:sp>
      <p:sp>
        <p:nvSpPr>
          <p:cNvPr id="64" name="Segnaposto contenuto 3">
            <a:extLst>
              <a:ext uri="{FF2B5EF4-FFF2-40B4-BE49-F238E27FC236}">
                <a16:creationId xmlns:a16="http://schemas.microsoft.com/office/drawing/2014/main" id="{49639FD2-98D1-B247-950E-6A99B36E9E38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6079614" y="2339975"/>
            <a:ext cx="5580062" cy="1477962"/>
          </a:xfrm>
          <a:prstGeom prst="rect">
            <a:avLst/>
          </a:prstGeom>
        </p:spPr>
        <p:txBody>
          <a:bodyPr lIns="144000" tIns="144000" rIns="144000" bIns="144000"/>
          <a:lstStyle>
            <a:lvl1pPr marL="228600" indent="-228600">
              <a:buClr>
                <a:schemeClr val="accent2"/>
              </a:buClr>
              <a:buFont typeface="Font di sistema regolare"/>
              <a:buChar char="●"/>
              <a:defRPr sz="1400">
                <a:solidFill>
                  <a:schemeClr val="tx1"/>
                </a:solidFill>
              </a:defRPr>
            </a:lvl1pPr>
            <a:lvl2pPr marL="685800" indent="-228600">
              <a:buClr>
                <a:schemeClr val="accent2"/>
              </a:buClr>
              <a:buFont typeface="Font di sistema regolare"/>
              <a:buChar char="●"/>
              <a:defRPr sz="1400">
                <a:solidFill>
                  <a:schemeClr val="tx1"/>
                </a:solidFill>
              </a:defRPr>
            </a:lvl2pPr>
            <a:lvl3pPr marL="1143000" indent="-228600">
              <a:buClr>
                <a:schemeClr val="accent2"/>
              </a:buClr>
              <a:buFont typeface="Font di sistema regolare"/>
              <a:buChar char="●"/>
              <a:defRPr sz="1400">
                <a:solidFill>
                  <a:schemeClr val="tx1"/>
                </a:solidFill>
              </a:defRPr>
            </a:lvl3pPr>
            <a:lvl4pPr marL="1600200" indent="-228600">
              <a:buClr>
                <a:schemeClr val="accent2"/>
              </a:buClr>
              <a:buFont typeface="Font di sistema regolare"/>
              <a:buChar char="●"/>
              <a:defRPr sz="1400">
                <a:solidFill>
                  <a:schemeClr val="tx1"/>
                </a:solidFill>
              </a:defRPr>
            </a:lvl4pPr>
            <a:lvl5pPr marL="2057400" indent="-228600">
              <a:buClr>
                <a:schemeClr val="accent2"/>
              </a:buClr>
              <a:buFont typeface="Font di sistema regolare"/>
              <a:buChar char="●"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</p:txBody>
      </p:sp>
      <p:sp>
        <p:nvSpPr>
          <p:cNvPr id="70" name="Segnaposto contenuto 3">
            <a:extLst>
              <a:ext uri="{FF2B5EF4-FFF2-40B4-BE49-F238E27FC236}">
                <a16:creationId xmlns:a16="http://schemas.microsoft.com/office/drawing/2014/main" id="{CCF10811-6CE1-8D4A-8F47-9D4BC08F3084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6097124" y="5059070"/>
            <a:ext cx="5580062" cy="1222234"/>
          </a:xfrm>
          <a:prstGeom prst="rect">
            <a:avLst/>
          </a:prstGeom>
        </p:spPr>
        <p:txBody>
          <a:bodyPr lIns="144000" tIns="144000" rIns="144000" bIns="144000"/>
          <a:lstStyle>
            <a:lvl1pPr marL="228600" indent="-228600">
              <a:buClr>
                <a:schemeClr val="accent2"/>
              </a:buClr>
              <a:buFont typeface="Font di sistema regolare"/>
              <a:buChar char="●"/>
              <a:defRPr sz="1400">
                <a:solidFill>
                  <a:schemeClr val="tx1"/>
                </a:solidFill>
              </a:defRPr>
            </a:lvl1pPr>
            <a:lvl2pPr marL="685800" indent="-228600">
              <a:buClr>
                <a:schemeClr val="accent2"/>
              </a:buClr>
              <a:buFont typeface="Font di sistema regolare"/>
              <a:buChar char="●"/>
              <a:defRPr sz="1400">
                <a:solidFill>
                  <a:schemeClr val="tx1"/>
                </a:solidFill>
              </a:defRPr>
            </a:lvl2pPr>
            <a:lvl3pPr marL="1143000" indent="-228600">
              <a:buClr>
                <a:schemeClr val="accent2"/>
              </a:buClr>
              <a:buFont typeface="Font di sistema regolare"/>
              <a:buChar char="●"/>
              <a:defRPr sz="1400">
                <a:solidFill>
                  <a:schemeClr val="tx1"/>
                </a:solidFill>
              </a:defRPr>
            </a:lvl3pPr>
            <a:lvl4pPr marL="1600200" indent="-228600">
              <a:buClr>
                <a:schemeClr val="accent2"/>
              </a:buClr>
              <a:buFont typeface="Font di sistema regolare"/>
              <a:buChar char="●"/>
              <a:defRPr sz="1400">
                <a:solidFill>
                  <a:schemeClr val="tx1"/>
                </a:solidFill>
              </a:defRPr>
            </a:lvl4pPr>
            <a:lvl5pPr marL="2057400" indent="-228600">
              <a:buClr>
                <a:schemeClr val="accent2"/>
              </a:buClr>
              <a:buFont typeface="Font di sistema regolare"/>
              <a:buChar char="●"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</p:txBody>
      </p:sp>
      <p:sp>
        <p:nvSpPr>
          <p:cNvPr id="51" name="Segnaposto testo 46">
            <a:extLst>
              <a:ext uri="{FF2B5EF4-FFF2-40B4-BE49-F238E27FC236}">
                <a16:creationId xmlns:a16="http://schemas.microsoft.com/office/drawing/2014/main" id="{53CF265E-3947-425A-AA96-0C9E05FBE40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457282" y="1158675"/>
            <a:ext cx="4140000" cy="746498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 b="0" i="0">
                <a:solidFill>
                  <a:srgbClr val="0047BB"/>
                </a:solidFill>
                <a:latin typeface="Avenir Next LT Pro" panose="020B0504020202020204" pitchFamily="34" charset="77"/>
              </a:defRPr>
            </a:lvl1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56" name="Segnaposto testo 46">
            <a:extLst>
              <a:ext uri="{FF2B5EF4-FFF2-40B4-BE49-F238E27FC236}">
                <a16:creationId xmlns:a16="http://schemas.microsoft.com/office/drawing/2014/main" id="{00298619-C142-468C-9C96-5EBD5D148BBE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1452395" y="3805054"/>
            <a:ext cx="4140000" cy="746498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 b="0" i="0">
                <a:solidFill>
                  <a:srgbClr val="0047BB"/>
                </a:solidFill>
                <a:latin typeface="Avenir Next LT Pro" panose="020B0504020202020204" pitchFamily="34" charset="77"/>
              </a:defRPr>
            </a:lvl1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72" name="Segnaposto testo 46">
            <a:extLst>
              <a:ext uri="{FF2B5EF4-FFF2-40B4-BE49-F238E27FC236}">
                <a16:creationId xmlns:a16="http://schemas.microsoft.com/office/drawing/2014/main" id="{450C851E-A631-49F5-804D-DCDB96603988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749601" y="3807875"/>
            <a:ext cx="4117982" cy="746498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 b="0" i="0">
                <a:solidFill>
                  <a:srgbClr val="0047BB"/>
                </a:solidFill>
                <a:latin typeface="Avenir Next LT Pro" panose="020B0504020202020204" pitchFamily="34" charset="77"/>
              </a:defRPr>
            </a:lvl1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82" name="Segnaposto testo 46">
            <a:extLst>
              <a:ext uri="{FF2B5EF4-FFF2-40B4-BE49-F238E27FC236}">
                <a16:creationId xmlns:a16="http://schemas.microsoft.com/office/drawing/2014/main" id="{4A06C908-F7C4-4047-B2B1-B65242ADB4B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749601" y="1159611"/>
            <a:ext cx="4117982" cy="746498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 b="0" i="0">
                <a:solidFill>
                  <a:srgbClr val="0047BB"/>
                </a:solidFill>
                <a:latin typeface="Avenir Next LT Pro" panose="020B0504020202020204" pitchFamily="34" charset="77"/>
              </a:defRPr>
            </a:lvl1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60" name="bg object 16">
            <a:extLst>
              <a:ext uri="{FF2B5EF4-FFF2-40B4-BE49-F238E27FC236}">
                <a16:creationId xmlns:a16="http://schemas.microsoft.com/office/drawing/2014/main" id="{052C3956-3A3F-CE4D-A0FF-415397935402}"/>
              </a:ext>
            </a:extLst>
          </p:cNvPr>
          <p:cNvSpPr/>
          <p:nvPr/>
        </p:nvSpPr>
        <p:spPr>
          <a:xfrm>
            <a:off x="11330381" y="6448615"/>
            <a:ext cx="311785" cy="410845"/>
          </a:xfrm>
          <a:custGeom>
            <a:avLst/>
            <a:gdLst/>
            <a:ahLst/>
            <a:cxnLst/>
            <a:rect l="l" t="t" r="r" b="b"/>
            <a:pathLst>
              <a:path w="311784" h="410845">
                <a:moveTo>
                  <a:pt x="311645" y="0"/>
                </a:moveTo>
                <a:lnTo>
                  <a:pt x="0" y="0"/>
                </a:lnTo>
                <a:lnTo>
                  <a:pt x="0" y="410438"/>
                </a:lnTo>
                <a:lnTo>
                  <a:pt x="311645" y="410438"/>
                </a:lnTo>
                <a:lnTo>
                  <a:pt x="311645" y="0"/>
                </a:lnTo>
                <a:close/>
              </a:path>
            </a:pathLst>
          </a:custGeom>
          <a:solidFill>
            <a:srgbClr val="0047B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1" name="Holder 7">
            <a:extLst>
              <a:ext uri="{FF2B5EF4-FFF2-40B4-BE49-F238E27FC236}">
                <a16:creationId xmlns:a16="http://schemas.microsoft.com/office/drawing/2014/main" id="{9B132B12-5D70-C54E-9F67-574B0F5C5C27}"/>
              </a:ext>
            </a:extLst>
          </p:cNvPr>
          <p:cNvSpPr txBox="1">
            <a:spLocks/>
          </p:cNvSpPr>
          <p:nvPr/>
        </p:nvSpPr>
        <p:spPr>
          <a:xfrm>
            <a:off x="11342726" y="6520516"/>
            <a:ext cx="256044" cy="16158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it-IT"/>
            </a:defPPr>
            <a:lvl1pPr marL="0" algn="l" defTabSz="914400" rtl="0" eaLnBrk="1" latinLnBrk="0" hangingPunct="1">
              <a:defRPr sz="850" b="1" i="0" kern="1200">
                <a:solidFill>
                  <a:schemeClr val="bg1"/>
                </a:solidFill>
                <a:latin typeface="Verdana"/>
                <a:ea typeface="+mn-ea"/>
                <a:cs typeface="Verdana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8100" algn="ctr">
              <a:spcBef>
                <a:spcPts val="105"/>
              </a:spcBef>
            </a:pPr>
            <a:fld id="{81D60167-4931-47E6-BA6A-407CBD079E47}" type="slidenum">
              <a:rPr lang="it-IT" sz="1050" b="0" i="0" spc="5" smtClean="0">
                <a:latin typeface="Avenir Next LT Pro" pitchFamily="2" charset="0"/>
              </a:rPr>
              <a:pPr marL="38100" algn="ctr">
                <a:spcBef>
                  <a:spcPts val="105"/>
                </a:spcBef>
              </a:pPr>
              <a:t>‹N›</a:t>
            </a:fld>
            <a:endParaRPr lang="it-IT" sz="1050" b="0" i="0" spc="5" dirty="0">
              <a:latin typeface="Avenir Next LT Pro" pitchFamily="2" charset="0"/>
            </a:endParaRPr>
          </a:p>
        </p:txBody>
      </p:sp>
      <p:sp>
        <p:nvSpPr>
          <p:cNvPr id="63" name="Triangolo isoscele 16">
            <a:extLst>
              <a:ext uri="{FF2B5EF4-FFF2-40B4-BE49-F238E27FC236}">
                <a16:creationId xmlns:a16="http://schemas.microsoft.com/office/drawing/2014/main" id="{FC7DA696-F3EF-8A4D-AEF5-9A80CB68A22E}"/>
              </a:ext>
            </a:extLst>
          </p:cNvPr>
          <p:cNvSpPr/>
          <p:nvPr/>
        </p:nvSpPr>
        <p:spPr>
          <a:xfrm rot="10800000">
            <a:off x="303127" y="-324737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66" name="Triangolo isoscele 17">
            <a:extLst>
              <a:ext uri="{FF2B5EF4-FFF2-40B4-BE49-F238E27FC236}">
                <a16:creationId xmlns:a16="http://schemas.microsoft.com/office/drawing/2014/main" id="{A1456D50-290C-7940-B0A3-5F8B542DD060}"/>
              </a:ext>
            </a:extLst>
          </p:cNvPr>
          <p:cNvSpPr/>
          <p:nvPr/>
        </p:nvSpPr>
        <p:spPr>
          <a:xfrm rot="10800000">
            <a:off x="11756536" y="-324737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67" name="Triangolo isoscele 18">
            <a:extLst>
              <a:ext uri="{FF2B5EF4-FFF2-40B4-BE49-F238E27FC236}">
                <a16:creationId xmlns:a16="http://schemas.microsoft.com/office/drawing/2014/main" id="{FD786137-4ECB-FB4F-B231-EC2BB644716A}"/>
              </a:ext>
            </a:extLst>
          </p:cNvPr>
          <p:cNvSpPr/>
          <p:nvPr/>
        </p:nvSpPr>
        <p:spPr>
          <a:xfrm>
            <a:off x="303127" y="6950754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68" name="Triangolo isoscele 19">
            <a:extLst>
              <a:ext uri="{FF2B5EF4-FFF2-40B4-BE49-F238E27FC236}">
                <a16:creationId xmlns:a16="http://schemas.microsoft.com/office/drawing/2014/main" id="{93F9841D-4B7C-8149-B1FE-B63FA0329113}"/>
              </a:ext>
            </a:extLst>
          </p:cNvPr>
          <p:cNvSpPr/>
          <p:nvPr/>
        </p:nvSpPr>
        <p:spPr>
          <a:xfrm>
            <a:off x="11756536" y="6950754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69" name="Triangolo isoscele 20">
            <a:extLst>
              <a:ext uri="{FF2B5EF4-FFF2-40B4-BE49-F238E27FC236}">
                <a16:creationId xmlns:a16="http://schemas.microsoft.com/office/drawing/2014/main" id="{630C74CA-A41F-D847-BF39-B5E2F55B65F4}"/>
              </a:ext>
            </a:extLst>
          </p:cNvPr>
          <p:cNvSpPr/>
          <p:nvPr/>
        </p:nvSpPr>
        <p:spPr>
          <a:xfrm rot="5400000">
            <a:off x="-276040" y="885372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73" name="Triangolo isoscele 21">
            <a:extLst>
              <a:ext uri="{FF2B5EF4-FFF2-40B4-BE49-F238E27FC236}">
                <a16:creationId xmlns:a16="http://schemas.microsoft.com/office/drawing/2014/main" id="{647214B7-946E-5649-BA64-B2C601D59C7E}"/>
              </a:ext>
            </a:extLst>
          </p:cNvPr>
          <p:cNvSpPr/>
          <p:nvPr/>
        </p:nvSpPr>
        <p:spPr>
          <a:xfrm rot="5400000">
            <a:off x="-276039" y="5982836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74" name="Triangolo isoscele 22">
            <a:extLst>
              <a:ext uri="{FF2B5EF4-FFF2-40B4-BE49-F238E27FC236}">
                <a16:creationId xmlns:a16="http://schemas.microsoft.com/office/drawing/2014/main" id="{AA5E7346-4EDD-EF44-A9CD-52B62DBD01D8}"/>
              </a:ext>
            </a:extLst>
          </p:cNvPr>
          <p:cNvSpPr/>
          <p:nvPr/>
        </p:nvSpPr>
        <p:spPr>
          <a:xfrm rot="16200000">
            <a:off x="12331119" y="885372"/>
            <a:ext cx="132336" cy="261257"/>
          </a:xfrm>
          <a:prstGeom prst="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75" name="Triangolo isoscele 23">
            <a:extLst>
              <a:ext uri="{FF2B5EF4-FFF2-40B4-BE49-F238E27FC236}">
                <a16:creationId xmlns:a16="http://schemas.microsoft.com/office/drawing/2014/main" id="{FC4C19FF-9C40-8642-BD50-3A2F406E614A}"/>
              </a:ext>
            </a:extLst>
          </p:cNvPr>
          <p:cNvSpPr/>
          <p:nvPr/>
        </p:nvSpPr>
        <p:spPr>
          <a:xfrm rot="16200000">
            <a:off x="12331120" y="5982836"/>
            <a:ext cx="132336" cy="261257"/>
          </a:xfrm>
          <a:prstGeom prst="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76" name="Triangolo isoscele 31">
            <a:extLst>
              <a:ext uri="{FF2B5EF4-FFF2-40B4-BE49-F238E27FC236}">
                <a16:creationId xmlns:a16="http://schemas.microsoft.com/office/drawing/2014/main" id="{27EC9E48-1353-6144-BEB8-BBD16387549C}"/>
              </a:ext>
            </a:extLst>
          </p:cNvPr>
          <p:cNvSpPr/>
          <p:nvPr/>
        </p:nvSpPr>
        <p:spPr>
          <a:xfrm rot="10800000">
            <a:off x="303127" y="-324737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77" name="Triangolo isoscele 32">
            <a:extLst>
              <a:ext uri="{FF2B5EF4-FFF2-40B4-BE49-F238E27FC236}">
                <a16:creationId xmlns:a16="http://schemas.microsoft.com/office/drawing/2014/main" id="{FF98C1B3-2C23-D244-AEF9-970C546E2758}"/>
              </a:ext>
            </a:extLst>
          </p:cNvPr>
          <p:cNvSpPr/>
          <p:nvPr/>
        </p:nvSpPr>
        <p:spPr>
          <a:xfrm rot="10800000">
            <a:off x="11756536" y="-324737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83" name="Triangolo isoscele 33">
            <a:extLst>
              <a:ext uri="{FF2B5EF4-FFF2-40B4-BE49-F238E27FC236}">
                <a16:creationId xmlns:a16="http://schemas.microsoft.com/office/drawing/2014/main" id="{64A80733-F1BB-B24D-A22D-A742D0D9F1E1}"/>
              </a:ext>
            </a:extLst>
          </p:cNvPr>
          <p:cNvSpPr/>
          <p:nvPr/>
        </p:nvSpPr>
        <p:spPr>
          <a:xfrm>
            <a:off x="303127" y="6950754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84" name="Triangolo isoscele 34">
            <a:extLst>
              <a:ext uri="{FF2B5EF4-FFF2-40B4-BE49-F238E27FC236}">
                <a16:creationId xmlns:a16="http://schemas.microsoft.com/office/drawing/2014/main" id="{F9104502-34D6-E342-83C4-05EE6E837163}"/>
              </a:ext>
            </a:extLst>
          </p:cNvPr>
          <p:cNvSpPr/>
          <p:nvPr/>
        </p:nvSpPr>
        <p:spPr>
          <a:xfrm>
            <a:off x="11756536" y="6950754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85" name="Triangolo isoscele 35">
            <a:extLst>
              <a:ext uri="{FF2B5EF4-FFF2-40B4-BE49-F238E27FC236}">
                <a16:creationId xmlns:a16="http://schemas.microsoft.com/office/drawing/2014/main" id="{3036AF87-6A99-FC49-BA22-B792C85B81A7}"/>
              </a:ext>
            </a:extLst>
          </p:cNvPr>
          <p:cNvSpPr/>
          <p:nvPr/>
        </p:nvSpPr>
        <p:spPr>
          <a:xfrm rot="5400000">
            <a:off x="-276040" y="885372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86" name="Triangolo isoscele 36">
            <a:extLst>
              <a:ext uri="{FF2B5EF4-FFF2-40B4-BE49-F238E27FC236}">
                <a16:creationId xmlns:a16="http://schemas.microsoft.com/office/drawing/2014/main" id="{0FDF55DE-3FE7-234A-8A50-17212B8BA8ED}"/>
              </a:ext>
            </a:extLst>
          </p:cNvPr>
          <p:cNvSpPr/>
          <p:nvPr/>
        </p:nvSpPr>
        <p:spPr>
          <a:xfrm rot="5400000">
            <a:off x="-276039" y="5982836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87" name="Triangolo isoscele 37">
            <a:extLst>
              <a:ext uri="{FF2B5EF4-FFF2-40B4-BE49-F238E27FC236}">
                <a16:creationId xmlns:a16="http://schemas.microsoft.com/office/drawing/2014/main" id="{BF16E90B-BB93-5E43-9686-440A90AB65AD}"/>
              </a:ext>
            </a:extLst>
          </p:cNvPr>
          <p:cNvSpPr/>
          <p:nvPr/>
        </p:nvSpPr>
        <p:spPr>
          <a:xfrm rot="16200000">
            <a:off x="12331119" y="885372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88" name="Triangolo isoscele 38">
            <a:extLst>
              <a:ext uri="{FF2B5EF4-FFF2-40B4-BE49-F238E27FC236}">
                <a16:creationId xmlns:a16="http://schemas.microsoft.com/office/drawing/2014/main" id="{93137501-4C2E-9F49-A49F-FA2A5C123457}"/>
              </a:ext>
            </a:extLst>
          </p:cNvPr>
          <p:cNvSpPr/>
          <p:nvPr/>
        </p:nvSpPr>
        <p:spPr>
          <a:xfrm rot="16200000">
            <a:off x="12331120" y="5982836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pic>
        <p:nvPicPr>
          <p:cNvPr id="89" name="Elemento grafico 88">
            <a:extLst>
              <a:ext uri="{FF2B5EF4-FFF2-40B4-BE49-F238E27FC236}">
                <a16:creationId xmlns:a16="http://schemas.microsoft.com/office/drawing/2014/main" id="{6FAF2D5F-30F6-C340-970C-208EA90F02C5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081892" y="-5080"/>
            <a:ext cx="1560273" cy="309880"/>
          </a:xfrm>
          <a:prstGeom prst="rect">
            <a:avLst/>
          </a:prstGeom>
        </p:spPr>
      </p:pic>
      <p:sp>
        <p:nvSpPr>
          <p:cNvPr id="90" name="object 267">
            <a:extLst>
              <a:ext uri="{FF2B5EF4-FFF2-40B4-BE49-F238E27FC236}">
                <a16:creationId xmlns:a16="http://schemas.microsoft.com/office/drawing/2014/main" id="{00E22457-EC80-4A42-990A-6602829AC5BB}"/>
              </a:ext>
            </a:extLst>
          </p:cNvPr>
          <p:cNvSpPr/>
          <p:nvPr/>
        </p:nvSpPr>
        <p:spPr>
          <a:xfrm>
            <a:off x="0" y="1251482"/>
            <a:ext cx="675518" cy="45719"/>
          </a:xfrm>
          <a:custGeom>
            <a:avLst/>
            <a:gdLst/>
            <a:ahLst/>
            <a:cxnLst/>
            <a:rect l="l" t="t" r="r" b="b"/>
            <a:pathLst>
              <a:path w="657225">
                <a:moveTo>
                  <a:pt x="0" y="0"/>
                </a:moveTo>
                <a:lnTo>
                  <a:pt x="656678" y="0"/>
                </a:lnTo>
              </a:path>
            </a:pathLst>
          </a:custGeom>
          <a:ln w="76200">
            <a:solidFill>
              <a:srgbClr val="EEDC00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JhengHei UI Light" panose="020B0304030504040204" pitchFamily="34" charset="-120"/>
              <a:ea typeface="Microsoft JhengHei UI Light" panose="020B0304030504040204" pitchFamily="34" charset="-120"/>
              <a:cs typeface="+mn-cs"/>
            </a:endParaRPr>
          </a:p>
        </p:txBody>
      </p:sp>
      <p:sp>
        <p:nvSpPr>
          <p:cNvPr id="91" name="Triangolo isoscele 33">
            <a:extLst>
              <a:ext uri="{FF2B5EF4-FFF2-40B4-BE49-F238E27FC236}">
                <a16:creationId xmlns:a16="http://schemas.microsoft.com/office/drawing/2014/main" id="{31E9879F-AE2A-FA40-8B4E-1D8379E8702E}"/>
              </a:ext>
            </a:extLst>
          </p:cNvPr>
          <p:cNvSpPr/>
          <p:nvPr/>
        </p:nvSpPr>
        <p:spPr>
          <a:xfrm>
            <a:off x="5866803" y="6935433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grpSp>
        <p:nvGrpSpPr>
          <p:cNvPr id="92" name="Gruppo 91">
            <a:extLst>
              <a:ext uri="{FF2B5EF4-FFF2-40B4-BE49-F238E27FC236}">
                <a16:creationId xmlns:a16="http://schemas.microsoft.com/office/drawing/2014/main" id="{DA48A3D0-F0A4-1C44-B213-B03896BBCAE7}"/>
              </a:ext>
            </a:extLst>
          </p:cNvPr>
          <p:cNvGrpSpPr/>
          <p:nvPr/>
        </p:nvGrpSpPr>
        <p:grpSpPr>
          <a:xfrm>
            <a:off x="633940" y="1509967"/>
            <a:ext cx="756000" cy="756000"/>
            <a:chOff x="633940" y="1509967"/>
            <a:chExt cx="756000" cy="756000"/>
          </a:xfrm>
        </p:grpSpPr>
        <p:sp>
          <p:nvSpPr>
            <p:cNvPr id="93" name="object 46">
              <a:extLst>
                <a:ext uri="{FF2B5EF4-FFF2-40B4-BE49-F238E27FC236}">
                  <a16:creationId xmlns:a16="http://schemas.microsoft.com/office/drawing/2014/main" id="{EFE8E64A-0FF8-5F46-8C32-EA6B9E266262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33940" y="1509967"/>
              <a:ext cx="756000" cy="756000"/>
            </a:xfrm>
            <a:custGeom>
              <a:avLst/>
              <a:gdLst/>
              <a:ahLst/>
              <a:cxnLst/>
              <a:rect l="l" t="t" r="r" b="b"/>
              <a:pathLst>
                <a:path w="1009650" h="1009650">
                  <a:moveTo>
                    <a:pt x="1009637" y="504825"/>
                  </a:moveTo>
                  <a:lnTo>
                    <a:pt x="1007326" y="553440"/>
                  </a:lnTo>
                  <a:lnTo>
                    <a:pt x="1000534" y="600748"/>
                  </a:lnTo>
                  <a:lnTo>
                    <a:pt x="989474" y="646537"/>
                  </a:lnTo>
                  <a:lnTo>
                    <a:pt x="974355" y="690596"/>
                  </a:lnTo>
                  <a:lnTo>
                    <a:pt x="955391" y="732714"/>
                  </a:lnTo>
                  <a:lnTo>
                    <a:pt x="932791" y="772678"/>
                  </a:lnTo>
                  <a:lnTo>
                    <a:pt x="906769" y="810276"/>
                  </a:lnTo>
                  <a:lnTo>
                    <a:pt x="877535" y="845298"/>
                  </a:lnTo>
                  <a:lnTo>
                    <a:pt x="845302" y="877532"/>
                  </a:lnTo>
                  <a:lnTo>
                    <a:pt x="810279" y="906766"/>
                  </a:lnTo>
                  <a:lnTo>
                    <a:pt x="772680" y="932789"/>
                  </a:lnTo>
                  <a:lnTo>
                    <a:pt x="732715" y="955389"/>
                  </a:lnTo>
                  <a:lnTo>
                    <a:pt x="690596" y="974354"/>
                  </a:lnTo>
                  <a:lnTo>
                    <a:pt x="646535" y="989473"/>
                  </a:lnTo>
                  <a:lnTo>
                    <a:pt x="600743" y="1000534"/>
                  </a:lnTo>
                  <a:lnTo>
                    <a:pt x="553431" y="1007326"/>
                  </a:lnTo>
                  <a:lnTo>
                    <a:pt x="504812" y="1009637"/>
                  </a:lnTo>
                  <a:lnTo>
                    <a:pt x="456197" y="1007326"/>
                  </a:lnTo>
                  <a:lnTo>
                    <a:pt x="408888" y="1000534"/>
                  </a:lnTo>
                  <a:lnTo>
                    <a:pt x="363099" y="989473"/>
                  </a:lnTo>
                  <a:lnTo>
                    <a:pt x="319040" y="974354"/>
                  </a:lnTo>
                  <a:lnTo>
                    <a:pt x="276923" y="955389"/>
                  </a:lnTo>
                  <a:lnTo>
                    <a:pt x="236959" y="932789"/>
                  </a:lnTo>
                  <a:lnTo>
                    <a:pt x="199360" y="906766"/>
                  </a:lnTo>
                  <a:lnTo>
                    <a:pt x="164338" y="877532"/>
                  </a:lnTo>
                  <a:lnTo>
                    <a:pt x="132104" y="845298"/>
                  </a:lnTo>
                  <a:lnTo>
                    <a:pt x="102870" y="810276"/>
                  </a:lnTo>
                  <a:lnTo>
                    <a:pt x="76847" y="772678"/>
                  </a:lnTo>
                  <a:lnTo>
                    <a:pt x="54248" y="732714"/>
                  </a:lnTo>
                  <a:lnTo>
                    <a:pt x="35283" y="690596"/>
                  </a:lnTo>
                  <a:lnTo>
                    <a:pt x="20164" y="646537"/>
                  </a:lnTo>
                  <a:lnTo>
                    <a:pt x="9102" y="600748"/>
                  </a:lnTo>
                  <a:lnTo>
                    <a:pt x="2310" y="553440"/>
                  </a:lnTo>
                  <a:lnTo>
                    <a:pt x="0" y="504825"/>
                  </a:lnTo>
                  <a:lnTo>
                    <a:pt x="2310" y="456207"/>
                  </a:lnTo>
                  <a:lnTo>
                    <a:pt x="9102" y="408897"/>
                  </a:lnTo>
                  <a:lnTo>
                    <a:pt x="20164" y="363106"/>
                  </a:lnTo>
                  <a:lnTo>
                    <a:pt x="35283" y="319045"/>
                  </a:lnTo>
                  <a:lnTo>
                    <a:pt x="54248" y="276927"/>
                  </a:lnTo>
                  <a:lnTo>
                    <a:pt x="76847" y="236962"/>
                  </a:lnTo>
                  <a:lnTo>
                    <a:pt x="102870" y="199363"/>
                  </a:lnTo>
                  <a:lnTo>
                    <a:pt x="132104" y="164340"/>
                  </a:lnTo>
                  <a:lnTo>
                    <a:pt x="164338" y="132105"/>
                  </a:lnTo>
                  <a:lnTo>
                    <a:pt x="199360" y="102871"/>
                  </a:lnTo>
                  <a:lnTo>
                    <a:pt x="236959" y="76848"/>
                  </a:lnTo>
                  <a:lnTo>
                    <a:pt x="276923" y="54248"/>
                  </a:lnTo>
                  <a:lnTo>
                    <a:pt x="319040" y="35283"/>
                  </a:lnTo>
                  <a:lnTo>
                    <a:pt x="363099" y="20164"/>
                  </a:lnTo>
                  <a:lnTo>
                    <a:pt x="408888" y="9102"/>
                  </a:lnTo>
                  <a:lnTo>
                    <a:pt x="456197" y="2310"/>
                  </a:lnTo>
                  <a:lnTo>
                    <a:pt x="504812" y="0"/>
                  </a:lnTo>
                  <a:lnTo>
                    <a:pt x="553431" y="2310"/>
                  </a:lnTo>
                  <a:lnTo>
                    <a:pt x="600743" y="9102"/>
                  </a:lnTo>
                  <a:lnTo>
                    <a:pt x="646535" y="20164"/>
                  </a:lnTo>
                  <a:lnTo>
                    <a:pt x="690596" y="35283"/>
                  </a:lnTo>
                  <a:lnTo>
                    <a:pt x="732715" y="54248"/>
                  </a:lnTo>
                  <a:lnTo>
                    <a:pt x="772680" y="76848"/>
                  </a:lnTo>
                  <a:lnTo>
                    <a:pt x="810279" y="102871"/>
                  </a:lnTo>
                  <a:lnTo>
                    <a:pt x="845302" y="132105"/>
                  </a:lnTo>
                  <a:lnTo>
                    <a:pt x="877535" y="164340"/>
                  </a:lnTo>
                  <a:lnTo>
                    <a:pt x="906769" y="199363"/>
                  </a:lnTo>
                  <a:lnTo>
                    <a:pt x="932791" y="236962"/>
                  </a:lnTo>
                  <a:lnTo>
                    <a:pt x="955391" y="276927"/>
                  </a:lnTo>
                  <a:lnTo>
                    <a:pt x="974355" y="319045"/>
                  </a:lnTo>
                  <a:lnTo>
                    <a:pt x="989474" y="363106"/>
                  </a:lnTo>
                  <a:lnTo>
                    <a:pt x="1000534" y="408897"/>
                  </a:lnTo>
                  <a:lnTo>
                    <a:pt x="1007326" y="456207"/>
                  </a:lnTo>
                  <a:lnTo>
                    <a:pt x="1009637" y="504825"/>
                  </a:lnTo>
                  <a:close/>
                </a:path>
              </a:pathLst>
            </a:custGeom>
            <a:solidFill>
              <a:schemeClr val="bg1"/>
            </a:solidFill>
            <a:ln w="12700">
              <a:solidFill>
                <a:srgbClr val="0046BA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3B3B3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94" name="object 47">
              <a:extLst>
                <a:ext uri="{FF2B5EF4-FFF2-40B4-BE49-F238E27FC236}">
                  <a16:creationId xmlns:a16="http://schemas.microsoft.com/office/drawing/2014/main" id="{D529256A-FE0E-D14B-9F72-A8892ECBED09}"/>
                </a:ext>
              </a:extLst>
            </p:cNvPr>
            <p:cNvSpPr/>
            <p:nvPr userDrawn="1"/>
          </p:nvSpPr>
          <p:spPr>
            <a:xfrm>
              <a:off x="687940" y="1563967"/>
              <a:ext cx="648000" cy="648000"/>
            </a:xfrm>
            <a:custGeom>
              <a:avLst/>
              <a:gdLst/>
              <a:ahLst/>
              <a:cxnLst/>
              <a:rect l="l" t="t" r="r" b="b"/>
              <a:pathLst>
                <a:path w="836294" h="836294">
                  <a:moveTo>
                    <a:pt x="417944" y="0"/>
                  </a:moveTo>
                  <a:lnTo>
                    <a:pt x="369203" y="2811"/>
                  </a:lnTo>
                  <a:lnTo>
                    <a:pt x="322114" y="11038"/>
                  </a:lnTo>
                  <a:lnTo>
                    <a:pt x="276989" y="24365"/>
                  </a:lnTo>
                  <a:lnTo>
                    <a:pt x="234143" y="42480"/>
                  </a:lnTo>
                  <a:lnTo>
                    <a:pt x="193890" y="65069"/>
                  </a:lnTo>
                  <a:lnTo>
                    <a:pt x="156542" y="91818"/>
                  </a:lnTo>
                  <a:lnTo>
                    <a:pt x="122413" y="122413"/>
                  </a:lnTo>
                  <a:lnTo>
                    <a:pt x="91818" y="156542"/>
                  </a:lnTo>
                  <a:lnTo>
                    <a:pt x="65069" y="193890"/>
                  </a:lnTo>
                  <a:lnTo>
                    <a:pt x="42480" y="234143"/>
                  </a:lnTo>
                  <a:lnTo>
                    <a:pt x="24365" y="276989"/>
                  </a:lnTo>
                  <a:lnTo>
                    <a:pt x="11038" y="322114"/>
                  </a:lnTo>
                  <a:lnTo>
                    <a:pt x="2811" y="369203"/>
                  </a:lnTo>
                  <a:lnTo>
                    <a:pt x="0" y="417944"/>
                  </a:lnTo>
                  <a:lnTo>
                    <a:pt x="2811" y="466685"/>
                  </a:lnTo>
                  <a:lnTo>
                    <a:pt x="11038" y="513774"/>
                  </a:lnTo>
                  <a:lnTo>
                    <a:pt x="24365" y="558898"/>
                  </a:lnTo>
                  <a:lnTo>
                    <a:pt x="42480" y="601744"/>
                  </a:lnTo>
                  <a:lnTo>
                    <a:pt x="65069" y="641998"/>
                  </a:lnTo>
                  <a:lnTo>
                    <a:pt x="91818" y="679346"/>
                  </a:lnTo>
                  <a:lnTo>
                    <a:pt x="122413" y="713474"/>
                  </a:lnTo>
                  <a:lnTo>
                    <a:pt x="156542" y="744070"/>
                  </a:lnTo>
                  <a:lnTo>
                    <a:pt x="193890" y="770819"/>
                  </a:lnTo>
                  <a:lnTo>
                    <a:pt x="234143" y="793407"/>
                  </a:lnTo>
                  <a:lnTo>
                    <a:pt x="276989" y="811522"/>
                  </a:lnTo>
                  <a:lnTo>
                    <a:pt x="322114" y="824850"/>
                  </a:lnTo>
                  <a:lnTo>
                    <a:pt x="369203" y="833076"/>
                  </a:lnTo>
                  <a:lnTo>
                    <a:pt x="417944" y="835888"/>
                  </a:lnTo>
                  <a:lnTo>
                    <a:pt x="466685" y="833076"/>
                  </a:lnTo>
                  <a:lnTo>
                    <a:pt x="513774" y="824850"/>
                  </a:lnTo>
                  <a:lnTo>
                    <a:pt x="558898" y="811522"/>
                  </a:lnTo>
                  <a:lnTo>
                    <a:pt x="601744" y="793407"/>
                  </a:lnTo>
                  <a:lnTo>
                    <a:pt x="641998" y="770819"/>
                  </a:lnTo>
                  <a:lnTo>
                    <a:pt x="679346" y="744070"/>
                  </a:lnTo>
                  <a:lnTo>
                    <a:pt x="713474" y="713474"/>
                  </a:lnTo>
                  <a:lnTo>
                    <a:pt x="744070" y="679346"/>
                  </a:lnTo>
                  <a:lnTo>
                    <a:pt x="770819" y="641998"/>
                  </a:lnTo>
                  <a:lnTo>
                    <a:pt x="793407" y="601744"/>
                  </a:lnTo>
                  <a:lnTo>
                    <a:pt x="811522" y="558898"/>
                  </a:lnTo>
                  <a:lnTo>
                    <a:pt x="824850" y="513774"/>
                  </a:lnTo>
                  <a:lnTo>
                    <a:pt x="833076" y="466685"/>
                  </a:lnTo>
                  <a:lnTo>
                    <a:pt x="835888" y="417944"/>
                  </a:lnTo>
                  <a:lnTo>
                    <a:pt x="833076" y="369203"/>
                  </a:lnTo>
                  <a:lnTo>
                    <a:pt x="824850" y="322114"/>
                  </a:lnTo>
                  <a:lnTo>
                    <a:pt x="811522" y="276989"/>
                  </a:lnTo>
                  <a:lnTo>
                    <a:pt x="793407" y="234143"/>
                  </a:lnTo>
                  <a:lnTo>
                    <a:pt x="770819" y="193890"/>
                  </a:lnTo>
                  <a:lnTo>
                    <a:pt x="744070" y="156542"/>
                  </a:lnTo>
                  <a:lnTo>
                    <a:pt x="713474" y="122413"/>
                  </a:lnTo>
                  <a:lnTo>
                    <a:pt x="679346" y="91818"/>
                  </a:lnTo>
                  <a:lnTo>
                    <a:pt x="641998" y="65069"/>
                  </a:lnTo>
                  <a:lnTo>
                    <a:pt x="601744" y="42480"/>
                  </a:lnTo>
                  <a:lnTo>
                    <a:pt x="558898" y="24365"/>
                  </a:lnTo>
                  <a:lnTo>
                    <a:pt x="513774" y="11038"/>
                  </a:lnTo>
                  <a:lnTo>
                    <a:pt x="466685" y="2811"/>
                  </a:lnTo>
                  <a:lnTo>
                    <a:pt x="417944" y="0"/>
                  </a:lnTo>
                  <a:close/>
                </a:path>
              </a:pathLst>
            </a:custGeom>
            <a:solidFill>
              <a:srgbClr val="EEDC00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srgbClr val="3B3B3A"/>
                </a:solidFill>
                <a:effectLst/>
                <a:uLnTx/>
                <a:uFillTx/>
                <a:latin typeface="Avenir Next LT Pro" panose="020B0504020202020204" pitchFamily="34" charset="77"/>
                <a:ea typeface="+mn-ea"/>
                <a:cs typeface="+mn-cs"/>
              </a:endParaRPr>
            </a:p>
          </p:txBody>
        </p:sp>
      </p:grpSp>
      <p:cxnSp>
        <p:nvCxnSpPr>
          <p:cNvPr id="95" name="Connettore 1 46">
            <a:extLst>
              <a:ext uri="{FF2B5EF4-FFF2-40B4-BE49-F238E27FC236}">
                <a16:creationId xmlns:a16="http://schemas.microsoft.com/office/drawing/2014/main" id="{AFBB7BC9-1E88-EA41-9673-207ABF265147}"/>
              </a:ext>
            </a:extLst>
          </p:cNvPr>
          <p:cNvCxnSpPr>
            <a:cxnSpLocks/>
          </p:cNvCxnSpPr>
          <p:nvPr/>
        </p:nvCxnSpPr>
        <p:spPr>
          <a:xfrm>
            <a:off x="1395006" y="1889852"/>
            <a:ext cx="4140000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6" name="Gruppo 95">
            <a:extLst>
              <a:ext uri="{FF2B5EF4-FFF2-40B4-BE49-F238E27FC236}">
                <a16:creationId xmlns:a16="http://schemas.microsoft.com/office/drawing/2014/main" id="{DEA6A261-DB18-EF4E-85A1-7C98903C9504}"/>
              </a:ext>
            </a:extLst>
          </p:cNvPr>
          <p:cNvGrpSpPr/>
          <p:nvPr/>
        </p:nvGrpSpPr>
        <p:grpSpPr>
          <a:xfrm>
            <a:off x="629053" y="4156346"/>
            <a:ext cx="756000" cy="756000"/>
            <a:chOff x="633940" y="1509967"/>
            <a:chExt cx="756000" cy="756000"/>
          </a:xfrm>
        </p:grpSpPr>
        <p:sp>
          <p:nvSpPr>
            <p:cNvPr id="97" name="object 46">
              <a:extLst>
                <a:ext uri="{FF2B5EF4-FFF2-40B4-BE49-F238E27FC236}">
                  <a16:creationId xmlns:a16="http://schemas.microsoft.com/office/drawing/2014/main" id="{42CE056C-FC76-1B47-8C71-20178CC46481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33940" y="1509967"/>
              <a:ext cx="756000" cy="756000"/>
            </a:xfrm>
            <a:custGeom>
              <a:avLst/>
              <a:gdLst/>
              <a:ahLst/>
              <a:cxnLst/>
              <a:rect l="l" t="t" r="r" b="b"/>
              <a:pathLst>
                <a:path w="1009650" h="1009650">
                  <a:moveTo>
                    <a:pt x="1009637" y="504825"/>
                  </a:moveTo>
                  <a:lnTo>
                    <a:pt x="1007326" y="553440"/>
                  </a:lnTo>
                  <a:lnTo>
                    <a:pt x="1000534" y="600748"/>
                  </a:lnTo>
                  <a:lnTo>
                    <a:pt x="989474" y="646537"/>
                  </a:lnTo>
                  <a:lnTo>
                    <a:pt x="974355" y="690596"/>
                  </a:lnTo>
                  <a:lnTo>
                    <a:pt x="955391" y="732714"/>
                  </a:lnTo>
                  <a:lnTo>
                    <a:pt x="932791" y="772678"/>
                  </a:lnTo>
                  <a:lnTo>
                    <a:pt x="906769" y="810276"/>
                  </a:lnTo>
                  <a:lnTo>
                    <a:pt x="877535" y="845298"/>
                  </a:lnTo>
                  <a:lnTo>
                    <a:pt x="845302" y="877532"/>
                  </a:lnTo>
                  <a:lnTo>
                    <a:pt x="810279" y="906766"/>
                  </a:lnTo>
                  <a:lnTo>
                    <a:pt x="772680" y="932789"/>
                  </a:lnTo>
                  <a:lnTo>
                    <a:pt x="732715" y="955389"/>
                  </a:lnTo>
                  <a:lnTo>
                    <a:pt x="690596" y="974354"/>
                  </a:lnTo>
                  <a:lnTo>
                    <a:pt x="646535" y="989473"/>
                  </a:lnTo>
                  <a:lnTo>
                    <a:pt x="600743" y="1000534"/>
                  </a:lnTo>
                  <a:lnTo>
                    <a:pt x="553431" y="1007326"/>
                  </a:lnTo>
                  <a:lnTo>
                    <a:pt x="504812" y="1009637"/>
                  </a:lnTo>
                  <a:lnTo>
                    <a:pt x="456197" y="1007326"/>
                  </a:lnTo>
                  <a:lnTo>
                    <a:pt x="408888" y="1000534"/>
                  </a:lnTo>
                  <a:lnTo>
                    <a:pt x="363099" y="989473"/>
                  </a:lnTo>
                  <a:lnTo>
                    <a:pt x="319040" y="974354"/>
                  </a:lnTo>
                  <a:lnTo>
                    <a:pt x="276923" y="955389"/>
                  </a:lnTo>
                  <a:lnTo>
                    <a:pt x="236959" y="932789"/>
                  </a:lnTo>
                  <a:lnTo>
                    <a:pt x="199360" y="906766"/>
                  </a:lnTo>
                  <a:lnTo>
                    <a:pt x="164338" y="877532"/>
                  </a:lnTo>
                  <a:lnTo>
                    <a:pt x="132104" y="845298"/>
                  </a:lnTo>
                  <a:lnTo>
                    <a:pt x="102870" y="810276"/>
                  </a:lnTo>
                  <a:lnTo>
                    <a:pt x="76847" y="772678"/>
                  </a:lnTo>
                  <a:lnTo>
                    <a:pt x="54248" y="732714"/>
                  </a:lnTo>
                  <a:lnTo>
                    <a:pt x="35283" y="690596"/>
                  </a:lnTo>
                  <a:lnTo>
                    <a:pt x="20164" y="646537"/>
                  </a:lnTo>
                  <a:lnTo>
                    <a:pt x="9102" y="600748"/>
                  </a:lnTo>
                  <a:lnTo>
                    <a:pt x="2310" y="553440"/>
                  </a:lnTo>
                  <a:lnTo>
                    <a:pt x="0" y="504825"/>
                  </a:lnTo>
                  <a:lnTo>
                    <a:pt x="2310" y="456207"/>
                  </a:lnTo>
                  <a:lnTo>
                    <a:pt x="9102" y="408897"/>
                  </a:lnTo>
                  <a:lnTo>
                    <a:pt x="20164" y="363106"/>
                  </a:lnTo>
                  <a:lnTo>
                    <a:pt x="35283" y="319045"/>
                  </a:lnTo>
                  <a:lnTo>
                    <a:pt x="54248" y="276927"/>
                  </a:lnTo>
                  <a:lnTo>
                    <a:pt x="76847" y="236962"/>
                  </a:lnTo>
                  <a:lnTo>
                    <a:pt x="102870" y="199363"/>
                  </a:lnTo>
                  <a:lnTo>
                    <a:pt x="132104" y="164340"/>
                  </a:lnTo>
                  <a:lnTo>
                    <a:pt x="164338" y="132105"/>
                  </a:lnTo>
                  <a:lnTo>
                    <a:pt x="199360" y="102871"/>
                  </a:lnTo>
                  <a:lnTo>
                    <a:pt x="236959" y="76848"/>
                  </a:lnTo>
                  <a:lnTo>
                    <a:pt x="276923" y="54248"/>
                  </a:lnTo>
                  <a:lnTo>
                    <a:pt x="319040" y="35283"/>
                  </a:lnTo>
                  <a:lnTo>
                    <a:pt x="363099" y="20164"/>
                  </a:lnTo>
                  <a:lnTo>
                    <a:pt x="408888" y="9102"/>
                  </a:lnTo>
                  <a:lnTo>
                    <a:pt x="456197" y="2310"/>
                  </a:lnTo>
                  <a:lnTo>
                    <a:pt x="504812" y="0"/>
                  </a:lnTo>
                  <a:lnTo>
                    <a:pt x="553431" y="2310"/>
                  </a:lnTo>
                  <a:lnTo>
                    <a:pt x="600743" y="9102"/>
                  </a:lnTo>
                  <a:lnTo>
                    <a:pt x="646535" y="20164"/>
                  </a:lnTo>
                  <a:lnTo>
                    <a:pt x="690596" y="35283"/>
                  </a:lnTo>
                  <a:lnTo>
                    <a:pt x="732715" y="54248"/>
                  </a:lnTo>
                  <a:lnTo>
                    <a:pt x="772680" y="76848"/>
                  </a:lnTo>
                  <a:lnTo>
                    <a:pt x="810279" y="102871"/>
                  </a:lnTo>
                  <a:lnTo>
                    <a:pt x="845302" y="132105"/>
                  </a:lnTo>
                  <a:lnTo>
                    <a:pt x="877535" y="164340"/>
                  </a:lnTo>
                  <a:lnTo>
                    <a:pt x="906769" y="199363"/>
                  </a:lnTo>
                  <a:lnTo>
                    <a:pt x="932791" y="236962"/>
                  </a:lnTo>
                  <a:lnTo>
                    <a:pt x="955391" y="276927"/>
                  </a:lnTo>
                  <a:lnTo>
                    <a:pt x="974355" y="319045"/>
                  </a:lnTo>
                  <a:lnTo>
                    <a:pt x="989474" y="363106"/>
                  </a:lnTo>
                  <a:lnTo>
                    <a:pt x="1000534" y="408897"/>
                  </a:lnTo>
                  <a:lnTo>
                    <a:pt x="1007326" y="456207"/>
                  </a:lnTo>
                  <a:lnTo>
                    <a:pt x="1009637" y="504825"/>
                  </a:lnTo>
                  <a:close/>
                </a:path>
              </a:pathLst>
            </a:custGeom>
            <a:solidFill>
              <a:schemeClr val="bg1"/>
            </a:solidFill>
            <a:ln w="12700">
              <a:solidFill>
                <a:srgbClr val="0046BA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3B3B3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98" name="object 47">
              <a:extLst>
                <a:ext uri="{FF2B5EF4-FFF2-40B4-BE49-F238E27FC236}">
                  <a16:creationId xmlns:a16="http://schemas.microsoft.com/office/drawing/2014/main" id="{A78B83A3-A3D7-FC4A-861D-D19057335434}"/>
                </a:ext>
              </a:extLst>
            </p:cNvPr>
            <p:cNvSpPr/>
            <p:nvPr userDrawn="1"/>
          </p:nvSpPr>
          <p:spPr>
            <a:xfrm>
              <a:off x="687940" y="1563967"/>
              <a:ext cx="648000" cy="648000"/>
            </a:xfrm>
            <a:custGeom>
              <a:avLst/>
              <a:gdLst/>
              <a:ahLst/>
              <a:cxnLst/>
              <a:rect l="l" t="t" r="r" b="b"/>
              <a:pathLst>
                <a:path w="836294" h="836294">
                  <a:moveTo>
                    <a:pt x="417944" y="0"/>
                  </a:moveTo>
                  <a:lnTo>
                    <a:pt x="369203" y="2811"/>
                  </a:lnTo>
                  <a:lnTo>
                    <a:pt x="322114" y="11038"/>
                  </a:lnTo>
                  <a:lnTo>
                    <a:pt x="276989" y="24365"/>
                  </a:lnTo>
                  <a:lnTo>
                    <a:pt x="234143" y="42480"/>
                  </a:lnTo>
                  <a:lnTo>
                    <a:pt x="193890" y="65069"/>
                  </a:lnTo>
                  <a:lnTo>
                    <a:pt x="156542" y="91818"/>
                  </a:lnTo>
                  <a:lnTo>
                    <a:pt x="122413" y="122413"/>
                  </a:lnTo>
                  <a:lnTo>
                    <a:pt x="91818" y="156542"/>
                  </a:lnTo>
                  <a:lnTo>
                    <a:pt x="65069" y="193890"/>
                  </a:lnTo>
                  <a:lnTo>
                    <a:pt x="42480" y="234143"/>
                  </a:lnTo>
                  <a:lnTo>
                    <a:pt x="24365" y="276989"/>
                  </a:lnTo>
                  <a:lnTo>
                    <a:pt x="11038" y="322114"/>
                  </a:lnTo>
                  <a:lnTo>
                    <a:pt x="2811" y="369203"/>
                  </a:lnTo>
                  <a:lnTo>
                    <a:pt x="0" y="417944"/>
                  </a:lnTo>
                  <a:lnTo>
                    <a:pt x="2811" y="466685"/>
                  </a:lnTo>
                  <a:lnTo>
                    <a:pt x="11038" y="513774"/>
                  </a:lnTo>
                  <a:lnTo>
                    <a:pt x="24365" y="558898"/>
                  </a:lnTo>
                  <a:lnTo>
                    <a:pt x="42480" y="601744"/>
                  </a:lnTo>
                  <a:lnTo>
                    <a:pt x="65069" y="641998"/>
                  </a:lnTo>
                  <a:lnTo>
                    <a:pt x="91818" y="679346"/>
                  </a:lnTo>
                  <a:lnTo>
                    <a:pt x="122413" y="713474"/>
                  </a:lnTo>
                  <a:lnTo>
                    <a:pt x="156542" y="744070"/>
                  </a:lnTo>
                  <a:lnTo>
                    <a:pt x="193890" y="770819"/>
                  </a:lnTo>
                  <a:lnTo>
                    <a:pt x="234143" y="793407"/>
                  </a:lnTo>
                  <a:lnTo>
                    <a:pt x="276989" y="811522"/>
                  </a:lnTo>
                  <a:lnTo>
                    <a:pt x="322114" y="824850"/>
                  </a:lnTo>
                  <a:lnTo>
                    <a:pt x="369203" y="833076"/>
                  </a:lnTo>
                  <a:lnTo>
                    <a:pt x="417944" y="835888"/>
                  </a:lnTo>
                  <a:lnTo>
                    <a:pt x="466685" y="833076"/>
                  </a:lnTo>
                  <a:lnTo>
                    <a:pt x="513774" y="824850"/>
                  </a:lnTo>
                  <a:lnTo>
                    <a:pt x="558898" y="811522"/>
                  </a:lnTo>
                  <a:lnTo>
                    <a:pt x="601744" y="793407"/>
                  </a:lnTo>
                  <a:lnTo>
                    <a:pt x="641998" y="770819"/>
                  </a:lnTo>
                  <a:lnTo>
                    <a:pt x="679346" y="744070"/>
                  </a:lnTo>
                  <a:lnTo>
                    <a:pt x="713474" y="713474"/>
                  </a:lnTo>
                  <a:lnTo>
                    <a:pt x="744070" y="679346"/>
                  </a:lnTo>
                  <a:lnTo>
                    <a:pt x="770819" y="641998"/>
                  </a:lnTo>
                  <a:lnTo>
                    <a:pt x="793407" y="601744"/>
                  </a:lnTo>
                  <a:lnTo>
                    <a:pt x="811522" y="558898"/>
                  </a:lnTo>
                  <a:lnTo>
                    <a:pt x="824850" y="513774"/>
                  </a:lnTo>
                  <a:lnTo>
                    <a:pt x="833076" y="466685"/>
                  </a:lnTo>
                  <a:lnTo>
                    <a:pt x="835888" y="417944"/>
                  </a:lnTo>
                  <a:lnTo>
                    <a:pt x="833076" y="369203"/>
                  </a:lnTo>
                  <a:lnTo>
                    <a:pt x="824850" y="322114"/>
                  </a:lnTo>
                  <a:lnTo>
                    <a:pt x="811522" y="276989"/>
                  </a:lnTo>
                  <a:lnTo>
                    <a:pt x="793407" y="234143"/>
                  </a:lnTo>
                  <a:lnTo>
                    <a:pt x="770819" y="193890"/>
                  </a:lnTo>
                  <a:lnTo>
                    <a:pt x="744070" y="156542"/>
                  </a:lnTo>
                  <a:lnTo>
                    <a:pt x="713474" y="122413"/>
                  </a:lnTo>
                  <a:lnTo>
                    <a:pt x="679346" y="91818"/>
                  </a:lnTo>
                  <a:lnTo>
                    <a:pt x="641998" y="65069"/>
                  </a:lnTo>
                  <a:lnTo>
                    <a:pt x="601744" y="42480"/>
                  </a:lnTo>
                  <a:lnTo>
                    <a:pt x="558898" y="24365"/>
                  </a:lnTo>
                  <a:lnTo>
                    <a:pt x="513774" y="11038"/>
                  </a:lnTo>
                  <a:lnTo>
                    <a:pt x="466685" y="2811"/>
                  </a:lnTo>
                  <a:lnTo>
                    <a:pt x="417944" y="0"/>
                  </a:lnTo>
                  <a:close/>
                </a:path>
              </a:pathLst>
            </a:custGeom>
            <a:solidFill>
              <a:srgbClr val="EEDC00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srgbClr val="3B3B3A"/>
                </a:solidFill>
                <a:effectLst/>
                <a:uLnTx/>
                <a:uFillTx/>
                <a:latin typeface="Avenir Next LT Pro" panose="020B0504020202020204" pitchFamily="34" charset="77"/>
                <a:ea typeface="+mn-ea"/>
                <a:cs typeface="+mn-cs"/>
              </a:endParaRPr>
            </a:p>
          </p:txBody>
        </p:sp>
      </p:grpSp>
      <p:cxnSp>
        <p:nvCxnSpPr>
          <p:cNvPr id="99" name="Connettore 1 46">
            <a:extLst>
              <a:ext uri="{FF2B5EF4-FFF2-40B4-BE49-F238E27FC236}">
                <a16:creationId xmlns:a16="http://schemas.microsoft.com/office/drawing/2014/main" id="{85E351B9-D8B5-8143-B03E-E11B9FEEE420}"/>
              </a:ext>
            </a:extLst>
          </p:cNvPr>
          <p:cNvCxnSpPr>
            <a:cxnSpLocks/>
          </p:cNvCxnSpPr>
          <p:nvPr/>
        </p:nvCxnSpPr>
        <p:spPr>
          <a:xfrm>
            <a:off x="1390119" y="4536231"/>
            <a:ext cx="4140000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0" name="Gruppo 99">
            <a:extLst>
              <a:ext uri="{FF2B5EF4-FFF2-40B4-BE49-F238E27FC236}">
                <a16:creationId xmlns:a16="http://schemas.microsoft.com/office/drawing/2014/main" id="{40560C1F-1D51-E141-BC8C-3DB95D8954B9}"/>
              </a:ext>
            </a:extLst>
          </p:cNvPr>
          <p:cNvGrpSpPr/>
          <p:nvPr/>
        </p:nvGrpSpPr>
        <p:grpSpPr>
          <a:xfrm>
            <a:off x="10882811" y="4158231"/>
            <a:ext cx="756000" cy="756000"/>
            <a:chOff x="10885138" y="1455967"/>
            <a:chExt cx="756000" cy="756000"/>
          </a:xfrm>
        </p:grpSpPr>
        <p:sp>
          <p:nvSpPr>
            <p:cNvPr id="101" name="object 46">
              <a:extLst>
                <a:ext uri="{FF2B5EF4-FFF2-40B4-BE49-F238E27FC236}">
                  <a16:creationId xmlns:a16="http://schemas.microsoft.com/office/drawing/2014/main" id="{5CD7FD47-DAFE-8A47-BD71-BDCF1E628934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885138" y="1455967"/>
              <a:ext cx="756000" cy="756000"/>
            </a:xfrm>
            <a:custGeom>
              <a:avLst/>
              <a:gdLst/>
              <a:ahLst/>
              <a:cxnLst/>
              <a:rect l="l" t="t" r="r" b="b"/>
              <a:pathLst>
                <a:path w="1009650" h="1009650">
                  <a:moveTo>
                    <a:pt x="1009637" y="504825"/>
                  </a:moveTo>
                  <a:lnTo>
                    <a:pt x="1007326" y="553440"/>
                  </a:lnTo>
                  <a:lnTo>
                    <a:pt x="1000534" y="600748"/>
                  </a:lnTo>
                  <a:lnTo>
                    <a:pt x="989474" y="646537"/>
                  </a:lnTo>
                  <a:lnTo>
                    <a:pt x="974355" y="690596"/>
                  </a:lnTo>
                  <a:lnTo>
                    <a:pt x="955391" y="732714"/>
                  </a:lnTo>
                  <a:lnTo>
                    <a:pt x="932791" y="772678"/>
                  </a:lnTo>
                  <a:lnTo>
                    <a:pt x="906769" y="810276"/>
                  </a:lnTo>
                  <a:lnTo>
                    <a:pt x="877535" y="845298"/>
                  </a:lnTo>
                  <a:lnTo>
                    <a:pt x="845302" y="877532"/>
                  </a:lnTo>
                  <a:lnTo>
                    <a:pt x="810279" y="906766"/>
                  </a:lnTo>
                  <a:lnTo>
                    <a:pt x="772680" y="932789"/>
                  </a:lnTo>
                  <a:lnTo>
                    <a:pt x="732715" y="955389"/>
                  </a:lnTo>
                  <a:lnTo>
                    <a:pt x="690596" y="974354"/>
                  </a:lnTo>
                  <a:lnTo>
                    <a:pt x="646535" y="989473"/>
                  </a:lnTo>
                  <a:lnTo>
                    <a:pt x="600743" y="1000534"/>
                  </a:lnTo>
                  <a:lnTo>
                    <a:pt x="553431" y="1007326"/>
                  </a:lnTo>
                  <a:lnTo>
                    <a:pt x="504812" y="1009637"/>
                  </a:lnTo>
                  <a:lnTo>
                    <a:pt x="456197" y="1007326"/>
                  </a:lnTo>
                  <a:lnTo>
                    <a:pt x="408888" y="1000534"/>
                  </a:lnTo>
                  <a:lnTo>
                    <a:pt x="363099" y="989473"/>
                  </a:lnTo>
                  <a:lnTo>
                    <a:pt x="319040" y="974354"/>
                  </a:lnTo>
                  <a:lnTo>
                    <a:pt x="276923" y="955389"/>
                  </a:lnTo>
                  <a:lnTo>
                    <a:pt x="236959" y="932789"/>
                  </a:lnTo>
                  <a:lnTo>
                    <a:pt x="199360" y="906766"/>
                  </a:lnTo>
                  <a:lnTo>
                    <a:pt x="164338" y="877532"/>
                  </a:lnTo>
                  <a:lnTo>
                    <a:pt x="132104" y="845298"/>
                  </a:lnTo>
                  <a:lnTo>
                    <a:pt x="102870" y="810276"/>
                  </a:lnTo>
                  <a:lnTo>
                    <a:pt x="76847" y="772678"/>
                  </a:lnTo>
                  <a:lnTo>
                    <a:pt x="54248" y="732714"/>
                  </a:lnTo>
                  <a:lnTo>
                    <a:pt x="35283" y="690596"/>
                  </a:lnTo>
                  <a:lnTo>
                    <a:pt x="20164" y="646537"/>
                  </a:lnTo>
                  <a:lnTo>
                    <a:pt x="9102" y="600748"/>
                  </a:lnTo>
                  <a:lnTo>
                    <a:pt x="2310" y="553440"/>
                  </a:lnTo>
                  <a:lnTo>
                    <a:pt x="0" y="504825"/>
                  </a:lnTo>
                  <a:lnTo>
                    <a:pt x="2310" y="456207"/>
                  </a:lnTo>
                  <a:lnTo>
                    <a:pt x="9102" y="408897"/>
                  </a:lnTo>
                  <a:lnTo>
                    <a:pt x="20164" y="363106"/>
                  </a:lnTo>
                  <a:lnTo>
                    <a:pt x="35283" y="319045"/>
                  </a:lnTo>
                  <a:lnTo>
                    <a:pt x="54248" y="276927"/>
                  </a:lnTo>
                  <a:lnTo>
                    <a:pt x="76847" y="236962"/>
                  </a:lnTo>
                  <a:lnTo>
                    <a:pt x="102870" y="199363"/>
                  </a:lnTo>
                  <a:lnTo>
                    <a:pt x="132104" y="164340"/>
                  </a:lnTo>
                  <a:lnTo>
                    <a:pt x="164338" y="132105"/>
                  </a:lnTo>
                  <a:lnTo>
                    <a:pt x="199360" y="102871"/>
                  </a:lnTo>
                  <a:lnTo>
                    <a:pt x="236959" y="76848"/>
                  </a:lnTo>
                  <a:lnTo>
                    <a:pt x="276923" y="54248"/>
                  </a:lnTo>
                  <a:lnTo>
                    <a:pt x="319040" y="35283"/>
                  </a:lnTo>
                  <a:lnTo>
                    <a:pt x="363099" y="20164"/>
                  </a:lnTo>
                  <a:lnTo>
                    <a:pt x="408888" y="9102"/>
                  </a:lnTo>
                  <a:lnTo>
                    <a:pt x="456197" y="2310"/>
                  </a:lnTo>
                  <a:lnTo>
                    <a:pt x="504812" y="0"/>
                  </a:lnTo>
                  <a:lnTo>
                    <a:pt x="553431" y="2310"/>
                  </a:lnTo>
                  <a:lnTo>
                    <a:pt x="600743" y="9102"/>
                  </a:lnTo>
                  <a:lnTo>
                    <a:pt x="646535" y="20164"/>
                  </a:lnTo>
                  <a:lnTo>
                    <a:pt x="690596" y="35283"/>
                  </a:lnTo>
                  <a:lnTo>
                    <a:pt x="732715" y="54248"/>
                  </a:lnTo>
                  <a:lnTo>
                    <a:pt x="772680" y="76848"/>
                  </a:lnTo>
                  <a:lnTo>
                    <a:pt x="810279" y="102871"/>
                  </a:lnTo>
                  <a:lnTo>
                    <a:pt x="845302" y="132105"/>
                  </a:lnTo>
                  <a:lnTo>
                    <a:pt x="877535" y="164340"/>
                  </a:lnTo>
                  <a:lnTo>
                    <a:pt x="906769" y="199363"/>
                  </a:lnTo>
                  <a:lnTo>
                    <a:pt x="932791" y="236962"/>
                  </a:lnTo>
                  <a:lnTo>
                    <a:pt x="955391" y="276927"/>
                  </a:lnTo>
                  <a:lnTo>
                    <a:pt x="974355" y="319045"/>
                  </a:lnTo>
                  <a:lnTo>
                    <a:pt x="989474" y="363106"/>
                  </a:lnTo>
                  <a:lnTo>
                    <a:pt x="1000534" y="408897"/>
                  </a:lnTo>
                  <a:lnTo>
                    <a:pt x="1007326" y="456207"/>
                  </a:lnTo>
                  <a:lnTo>
                    <a:pt x="1009637" y="504825"/>
                  </a:lnTo>
                  <a:close/>
                </a:path>
              </a:pathLst>
            </a:custGeom>
            <a:solidFill>
              <a:schemeClr val="bg1"/>
            </a:solidFill>
            <a:ln w="12700">
              <a:solidFill>
                <a:srgbClr val="0046BA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3B3B3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02" name="object 47">
              <a:extLst>
                <a:ext uri="{FF2B5EF4-FFF2-40B4-BE49-F238E27FC236}">
                  <a16:creationId xmlns:a16="http://schemas.microsoft.com/office/drawing/2014/main" id="{855F4936-5D13-3C4E-B582-97E7048CE3CB}"/>
                </a:ext>
              </a:extLst>
            </p:cNvPr>
            <p:cNvSpPr/>
            <p:nvPr userDrawn="1"/>
          </p:nvSpPr>
          <p:spPr>
            <a:xfrm>
              <a:off x="10939138" y="1509967"/>
              <a:ext cx="648000" cy="648000"/>
            </a:xfrm>
            <a:custGeom>
              <a:avLst/>
              <a:gdLst/>
              <a:ahLst/>
              <a:cxnLst/>
              <a:rect l="l" t="t" r="r" b="b"/>
              <a:pathLst>
                <a:path w="836294" h="836294">
                  <a:moveTo>
                    <a:pt x="417944" y="0"/>
                  </a:moveTo>
                  <a:lnTo>
                    <a:pt x="369203" y="2811"/>
                  </a:lnTo>
                  <a:lnTo>
                    <a:pt x="322114" y="11038"/>
                  </a:lnTo>
                  <a:lnTo>
                    <a:pt x="276989" y="24365"/>
                  </a:lnTo>
                  <a:lnTo>
                    <a:pt x="234143" y="42480"/>
                  </a:lnTo>
                  <a:lnTo>
                    <a:pt x="193890" y="65069"/>
                  </a:lnTo>
                  <a:lnTo>
                    <a:pt x="156542" y="91818"/>
                  </a:lnTo>
                  <a:lnTo>
                    <a:pt x="122413" y="122413"/>
                  </a:lnTo>
                  <a:lnTo>
                    <a:pt x="91818" y="156542"/>
                  </a:lnTo>
                  <a:lnTo>
                    <a:pt x="65069" y="193890"/>
                  </a:lnTo>
                  <a:lnTo>
                    <a:pt x="42480" y="234143"/>
                  </a:lnTo>
                  <a:lnTo>
                    <a:pt x="24365" y="276989"/>
                  </a:lnTo>
                  <a:lnTo>
                    <a:pt x="11038" y="322114"/>
                  </a:lnTo>
                  <a:lnTo>
                    <a:pt x="2811" y="369203"/>
                  </a:lnTo>
                  <a:lnTo>
                    <a:pt x="0" y="417944"/>
                  </a:lnTo>
                  <a:lnTo>
                    <a:pt x="2811" y="466685"/>
                  </a:lnTo>
                  <a:lnTo>
                    <a:pt x="11038" y="513774"/>
                  </a:lnTo>
                  <a:lnTo>
                    <a:pt x="24365" y="558898"/>
                  </a:lnTo>
                  <a:lnTo>
                    <a:pt x="42480" y="601744"/>
                  </a:lnTo>
                  <a:lnTo>
                    <a:pt x="65069" y="641998"/>
                  </a:lnTo>
                  <a:lnTo>
                    <a:pt x="91818" y="679346"/>
                  </a:lnTo>
                  <a:lnTo>
                    <a:pt x="122413" y="713474"/>
                  </a:lnTo>
                  <a:lnTo>
                    <a:pt x="156542" y="744070"/>
                  </a:lnTo>
                  <a:lnTo>
                    <a:pt x="193890" y="770819"/>
                  </a:lnTo>
                  <a:lnTo>
                    <a:pt x="234143" y="793407"/>
                  </a:lnTo>
                  <a:lnTo>
                    <a:pt x="276989" y="811522"/>
                  </a:lnTo>
                  <a:lnTo>
                    <a:pt x="322114" y="824850"/>
                  </a:lnTo>
                  <a:lnTo>
                    <a:pt x="369203" y="833076"/>
                  </a:lnTo>
                  <a:lnTo>
                    <a:pt x="417944" y="835888"/>
                  </a:lnTo>
                  <a:lnTo>
                    <a:pt x="466685" y="833076"/>
                  </a:lnTo>
                  <a:lnTo>
                    <a:pt x="513774" y="824850"/>
                  </a:lnTo>
                  <a:lnTo>
                    <a:pt x="558898" y="811522"/>
                  </a:lnTo>
                  <a:lnTo>
                    <a:pt x="601744" y="793407"/>
                  </a:lnTo>
                  <a:lnTo>
                    <a:pt x="641998" y="770819"/>
                  </a:lnTo>
                  <a:lnTo>
                    <a:pt x="679346" y="744070"/>
                  </a:lnTo>
                  <a:lnTo>
                    <a:pt x="713474" y="713474"/>
                  </a:lnTo>
                  <a:lnTo>
                    <a:pt x="744070" y="679346"/>
                  </a:lnTo>
                  <a:lnTo>
                    <a:pt x="770819" y="641998"/>
                  </a:lnTo>
                  <a:lnTo>
                    <a:pt x="793407" y="601744"/>
                  </a:lnTo>
                  <a:lnTo>
                    <a:pt x="811522" y="558898"/>
                  </a:lnTo>
                  <a:lnTo>
                    <a:pt x="824850" y="513774"/>
                  </a:lnTo>
                  <a:lnTo>
                    <a:pt x="833076" y="466685"/>
                  </a:lnTo>
                  <a:lnTo>
                    <a:pt x="835888" y="417944"/>
                  </a:lnTo>
                  <a:lnTo>
                    <a:pt x="833076" y="369203"/>
                  </a:lnTo>
                  <a:lnTo>
                    <a:pt x="824850" y="322114"/>
                  </a:lnTo>
                  <a:lnTo>
                    <a:pt x="811522" y="276989"/>
                  </a:lnTo>
                  <a:lnTo>
                    <a:pt x="793407" y="234143"/>
                  </a:lnTo>
                  <a:lnTo>
                    <a:pt x="770819" y="193890"/>
                  </a:lnTo>
                  <a:lnTo>
                    <a:pt x="744070" y="156542"/>
                  </a:lnTo>
                  <a:lnTo>
                    <a:pt x="713474" y="122413"/>
                  </a:lnTo>
                  <a:lnTo>
                    <a:pt x="679346" y="91818"/>
                  </a:lnTo>
                  <a:lnTo>
                    <a:pt x="641998" y="65069"/>
                  </a:lnTo>
                  <a:lnTo>
                    <a:pt x="601744" y="42480"/>
                  </a:lnTo>
                  <a:lnTo>
                    <a:pt x="558898" y="24365"/>
                  </a:lnTo>
                  <a:lnTo>
                    <a:pt x="513774" y="11038"/>
                  </a:lnTo>
                  <a:lnTo>
                    <a:pt x="466685" y="2811"/>
                  </a:lnTo>
                  <a:lnTo>
                    <a:pt x="417944" y="0"/>
                  </a:lnTo>
                  <a:close/>
                </a:path>
              </a:pathLst>
            </a:custGeom>
            <a:solidFill>
              <a:srgbClr val="EEDC00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srgbClr val="3B3B3A"/>
                </a:solidFill>
                <a:effectLst/>
                <a:uLnTx/>
                <a:uFillTx/>
                <a:latin typeface="Avenir Next LT Pro" panose="020B0504020202020204" pitchFamily="34" charset="77"/>
                <a:ea typeface="+mn-ea"/>
                <a:cs typeface="+mn-cs"/>
              </a:endParaRPr>
            </a:p>
          </p:txBody>
        </p:sp>
      </p:grpSp>
      <p:cxnSp>
        <p:nvCxnSpPr>
          <p:cNvPr id="103" name="Connettore 1 46">
            <a:extLst>
              <a:ext uri="{FF2B5EF4-FFF2-40B4-BE49-F238E27FC236}">
                <a16:creationId xmlns:a16="http://schemas.microsoft.com/office/drawing/2014/main" id="{2D27D56D-A4BD-4B49-BE98-50C503612799}"/>
              </a:ext>
            </a:extLst>
          </p:cNvPr>
          <p:cNvCxnSpPr>
            <a:cxnSpLocks/>
          </p:cNvCxnSpPr>
          <p:nvPr/>
        </p:nvCxnSpPr>
        <p:spPr>
          <a:xfrm>
            <a:off x="6727582" y="4539052"/>
            <a:ext cx="4140000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4" name="Gruppo 103">
            <a:extLst>
              <a:ext uri="{FF2B5EF4-FFF2-40B4-BE49-F238E27FC236}">
                <a16:creationId xmlns:a16="http://schemas.microsoft.com/office/drawing/2014/main" id="{F540F1F4-CC1D-2C4A-B33D-F596079DC06C}"/>
              </a:ext>
            </a:extLst>
          </p:cNvPr>
          <p:cNvGrpSpPr/>
          <p:nvPr/>
        </p:nvGrpSpPr>
        <p:grpSpPr>
          <a:xfrm>
            <a:off x="10882811" y="1509967"/>
            <a:ext cx="756000" cy="756000"/>
            <a:chOff x="10885138" y="1455967"/>
            <a:chExt cx="756000" cy="756000"/>
          </a:xfrm>
        </p:grpSpPr>
        <p:sp>
          <p:nvSpPr>
            <p:cNvPr id="105" name="object 46">
              <a:extLst>
                <a:ext uri="{FF2B5EF4-FFF2-40B4-BE49-F238E27FC236}">
                  <a16:creationId xmlns:a16="http://schemas.microsoft.com/office/drawing/2014/main" id="{689FD21B-784E-6548-AAB8-1F7354AE34F7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885138" y="1455967"/>
              <a:ext cx="756000" cy="756000"/>
            </a:xfrm>
            <a:custGeom>
              <a:avLst/>
              <a:gdLst/>
              <a:ahLst/>
              <a:cxnLst/>
              <a:rect l="l" t="t" r="r" b="b"/>
              <a:pathLst>
                <a:path w="1009650" h="1009650">
                  <a:moveTo>
                    <a:pt x="1009637" y="504825"/>
                  </a:moveTo>
                  <a:lnTo>
                    <a:pt x="1007326" y="553440"/>
                  </a:lnTo>
                  <a:lnTo>
                    <a:pt x="1000534" y="600748"/>
                  </a:lnTo>
                  <a:lnTo>
                    <a:pt x="989474" y="646537"/>
                  </a:lnTo>
                  <a:lnTo>
                    <a:pt x="974355" y="690596"/>
                  </a:lnTo>
                  <a:lnTo>
                    <a:pt x="955391" y="732714"/>
                  </a:lnTo>
                  <a:lnTo>
                    <a:pt x="932791" y="772678"/>
                  </a:lnTo>
                  <a:lnTo>
                    <a:pt x="906769" y="810276"/>
                  </a:lnTo>
                  <a:lnTo>
                    <a:pt x="877535" y="845298"/>
                  </a:lnTo>
                  <a:lnTo>
                    <a:pt x="845302" y="877532"/>
                  </a:lnTo>
                  <a:lnTo>
                    <a:pt x="810279" y="906766"/>
                  </a:lnTo>
                  <a:lnTo>
                    <a:pt x="772680" y="932789"/>
                  </a:lnTo>
                  <a:lnTo>
                    <a:pt x="732715" y="955389"/>
                  </a:lnTo>
                  <a:lnTo>
                    <a:pt x="690596" y="974354"/>
                  </a:lnTo>
                  <a:lnTo>
                    <a:pt x="646535" y="989473"/>
                  </a:lnTo>
                  <a:lnTo>
                    <a:pt x="600743" y="1000534"/>
                  </a:lnTo>
                  <a:lnTo>
                    <a:pt x="553431" y="1007326"/>
                  </a:lnTo>
                  <a:lnTo>
                    <a:pt x="504812" y="1009637"/>
                  </a:lnTo>
                  <a:lnTo>
                    <a:pt x="456197" y="1007326"/>
                  </a:lnTo>
                  <a:lnTo>
                    <a:pt x="408888" y="1000534"/>
                  </a:lnTo>
                  <a:lnTo>
                    <a:pt x="363099" y="989473"/>
                  </a:lnTo>
                  <a:lnTo>
                    <a:pt x="319040" y="974354"/>
                  </a:lnTo>
                  <a:lnTo>
                    <a:pt x="276923" y="955389"/>
                  </a:lnTo>
                  <a:lnTo>
                    <a:pt x="236959" y="932789"/>
                  </a:lnTo>
                  <a:lnTo>
                    <a:pt x="199360" y="906766"/>
                  </a:lnTo>
                  <a:lnTo>
                    <a:pt x="164338" y="877532"/>
                  </a:lnTo>
                  <a:lnTo>
                    <a:pt x="132104" y="845298"/>
                  </a:lnTo>
                  <a:lnTo>
                    <a:pt x="102870" y="810276"/>
                  </a:lnTo>
                  <a:lnTo>
                    <a:pt x="76847" y="772678"/>
                  </a:lnTo>
                  <a:lnTo>
                    <a:pt x="54248" y="732714"/>
                  </a:lnTo>
                  <a:lnTo>
                    <a:pt x="35283" y="690596"/>
                  </a:lnTo>
                  <a:lnTo>
                    <a:pt x="20164" y="646537"/>
                  </a:lnTo>
                  <a:lnTo>
                    <a:pt x="9102" y="600748"/>
                  </a:lnTo>
                  <a:lnTo>
                    <a:pt x="2310" y="553440"/>
                  </a:lnTo>
                  <a:lnTo>
                    <a:pt x="0" y="504825"/>
                  </a:lnTo>
                  <a:lnTo>
                    <a:pt x="2310" y="456207"/>
                  </a:lnTo>
                  <a:lnTo>
                    <a:pt x="9102" y="408897"/>
                  </a:lnTo>
                  <a:lnTo>
                    <a:pt x="20164" y="363106"/>
                  </a:lnTo>
                  <a:lnTo>
                    <a:pt x="35283" y="319045"/>
                  </a:lnTo>
                  <a:lnTo>
                    <a:pt x="54248" y="276927"/>
                  </a:lnTo>
                  <a:lnTo>
                    <a:pt x="76847" y="236962"/>
                  </a:lnTo>
                  <a:lnTo>
                    <a:pt x="102870" y="199363"/>
                  </a:lnTo>
                  <a:lnTo>
                    <a:pt x="132104" y="164340"/>
                  </a:lnTo>
                  <a:lnTo>
                    <a:pt x="164338" y="132105"/>
                  </a:lnTo>
                  <a:lnTo>
                    <a:pt x="199360" y="102871"/>
                  </a:lnTo>
                  <a:lnTo>
                    <a:pt x="236959" y="76848"/>
                  </a:lnTo>
                  <a:lnTo>
                    <a:pt x="276923" y="54248"/>
                  </a:lnTo>
                  <a:lnTo>
                    <a:pt x="319040" y="35283"/>
                  </a:lnTo>
                  <a:lnTo>
                    <a:pt x="363099" y="20164"/>
                  </a:lnTo>
                  <a:lnTo>
                    <a:pt x="408888" y="9102"/>
                  </a:lnTo>
                  <a:lnTo>
                    <a:pt x="456197" y="2310"/>
                  </a:lnTo>
                  <a:lnTo>
                    <a:pt x="504812" y="0"/>
                  </a:lnTo>
                  <a:lnTo>
                    <a:pt x="553431" y="2310"/>
                  </a:lnTo>
                  <a:lnTo>
                    <a:pt x="600743" y="9102"/>
                  </a:lnTo>
                  <a:lnTo>
                    <a:pt x="646535" y="20164"/>
                  </a:lnTo>
                  <a:lnTo>
                    <a:pt x="690596" y="35283"/>
                  </a:lnTo>
                  <a:lnTo>
                    <a:pt x="732715" y="54248"/>
                  </a:lnTo>
                  <a:lnTo>
                    <a:pt x="772680" y="76848"/>
                  </a:lnTo>
                  <a:lnTo>
                    <a:pt x="810279" y="102871"/>
                  </a:lnTo>
                  <a:lnTo>
                    <a:pt x="845302" y="132105"/>
                  </a:lnTo>
                  <a:lnTo>
                    <a:pt x="877535" y="164340"/>
                  </a:lnTo>
                  <a:lnTo>
                    <a:pt x="906769" y="199363"/>
                  </a:lnTo>
                  <a:lnTo>
                    <a:pt x="932791" y="236962"/>
                  </a:lnTo>
                  <a:lnTo>
                    <a:pt x="955391" y="276927"/>
                  </a:lnTo>
                  <a:lnTo>
                    <a:pt x="974355" y="319045"/>
                  </a:lnTo>
                  <a:lnTo>
                    <a:pt x="989474" y="363106"/>
                  </a:lnTo>
                  <a:lnTo>
                    <a:pt x="1000534" y="408897"/>
                  </a:lnTo>
                  <a:lnTo>
                    <a:pt x="1007326" y="456207"/>
                  </a:lnTo>
                  <a:lnTo>
                    <a:pt x="1009637" y="504825"/>
                  </a:lnTo>
                  <a:close/>
                </a:path>
              </a:pathLst>
            </a:custGeom>
            <a:solidFill>
              <a:schemeClr val="bg1"/>
            </a:solidFill>
            <a:ln w="12700">
              <a:solidFill>
                <a:srgbClr val="0046BA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3B3B3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06" name="object 47">
              <a:extLst>
                <a:ext uri="{FF2B5EF4-FFF2-40B4-BE49-F238E27FC236}">
                  <a16:creationId xmlns:a16="http://schemas.microsoft.com/office/drawing/2014/main" id="{611F8992-F18A-1444-9057-E1E56D50D01F}"/>
                </a:ext>
              </a:extLst>
            </p:cNvPr>
            <p:cNvSpPr/>
            <p:nvPr userDrawn="1"/>
          </p:nvSpPr>
          <p:spPr>
            <a:xfrm>
              <a:off x="10939138" y="1509967"/>
              <a:ext cx="648000" cy="648000"/>
            </a:xfrm>
            <a:custGeom>
              <a:avLst/>
              <a:gdLst/>
              <a:ahLst/>
              <a:cxnLst/>
              <a:rect l="l" t="t" r="r" b="b"/>
              <a:pathLst>
                <a:path w="836294" h="836294">
                  <a:moveTo>
                    <a:pt x="417944" y="0"/>
                  </a:moveTo>
                  <a:lnTo>
                    <a:pt x="369203" y="2811"/>
                  </a:lnTo>
                  <a:lnTo>
                    <a:pt x="322114" y="11038"/>
                  </a:lnTo>
                  <a:lnTo>
                    <a:pt x="276989" y="24365"/>
                  </a:lnTo>
                  <a:lnTo>
                    <a:pt x="234143" y="42480"/>
                  </a:lnTo>
                  <a:lnTo>
                    <a:pt x="193890" y="65069"/>
                  </a:lnTo>
                  <a:lnTo>
                    <a:pt x="156542" y="91818"/>
                  </a:lnTo>
                  <a:lnTo>
                    <a:pt x="122413" y="122413"/>
                  </a:lnTo>
                  <a:lnTo>
                    <a:pt x="91818" y="156542"/>
                  </a:lnTo>
                  <a:lnTo>
                    <a:pt x="65069" y="193890"/>
                  </a:lnTo>
                  <a:lnTo>
                    <a:pt x="42480" y="234143"/>
                  </a:lnTo>
                  <a:lnTo>
                    <a:pt x="24365" y="276989"/>
                  </a:lnTo>
                  <a:lnTo>
                    <a:pt x="11038" y="322114"/>
                  </a:lnTo>
                  <a:lnTo>
                    <a:pt x="2811" y="369203"/>
                  </a:lnTo>
                  <a:lnTo>
                    <a:pt x="0" y="417944"/>
                  </a:lnTo>
                  <a:lnTo>
                    <a:pt x="2811" y="466685"/>
                  </a:lnTo>
                  <a:lnTo>
                    <a:pt x="11038" y="513774"/>
                  </a:lnTo>
                  <a:lnTo>
                    <a:pt x="24365" y="558898"/>
                  </a:lnTo>
                  <a:lnTo>
                    <a:pt x="42480" y="601744"/>
                  </a:lnTo>
                  <a:lnTo>
                    <a:pt x="65069" y="641998"/>
                  </a:lnTo>
                  <a:lnTo>
                    <a:pt x="91818" y="679346"/>
                  </a:lnTo>
                  <a:lnTo>
                    <a:pt x="122413" y="713474"/>
                  </a:lnTo>
                  <a:lnTo>
                    <a:pt x="156542" y="744070"/>
                  </a:lnTo>
                  <a:lnTo>
                    <a:pt x="193890" y="770819"/>
                  </a:lnTo>
                  <a:lnTo>
                    <a:pt x="234143" y="793407"/>
                  </a:lnTo>
                  <a:lnTo>
                    <a:pt x="276989" y="811522"/>
                  </a:lnTo>
                  <a:lnTo>
                    <a:pt x="322114" y="824850"/>
                  </a:lnTo>
                  <a:lnTo>
                    <a:pt x="369203" y="833076"/>
                  </a:lnTo>
                  <a:lnTo>
                    <a:pt x="417944" y="835888"/>
                  </a:lnTo>
                  <a:lnTo>
                    <a:pt x="466685" y="833076"/>
                  </a:lnTo>
                  <a:lnTo>
                    <a:pt x="513774" y="824850"/>
                  </a:lnTo>
                  <a:lnTo>
                    <a:pt x="558898" y="811522"/>
                  </a:lnTo>
                  <a:lnTo>
                    <a:pt x="601744" y="793407"/>
                  </a:lnTo>
                  <a:lnTo>
                    <a:pt x="641998" y="770819"/>
                  </a:lnTo>
                  <a:lnTo>
                    <a:pt x="679346" y="744070"/>
                  </a:lnTo>
                  <a:lnTo>
                    <a:pt x="713474" y="713474"/>
                  </a:lnTo>
                  <a:lnTo>
                    <a:pt x="744070" y="679346"/>
                  </a:lnTo>
                  <a:lnTo>
                    <a:pt x="770819" y="641998"/>
                  </a:lnTo>
                  <a:lnTo>
                    <a:pt x="793407" y="601744"/>
                  </a:lnTo>
                  <a:lnTo>
                    <a:pt x="811522" y="558898"/>
                  </a:lnTo>
                  <a:lnTo>
                    <a:pt x="824850" y="513774"/>
                  </a:lnTo>
                  <a:lnTo>
                    <a:pt x="833076" y="466685"/>
                  </a:lnTo>
                  <a:lnTo>
                    <a:pt x="835888" y="417944"/>
                  </a:lnTo>
                  <a:lnTo>
                    <a:pt x="833076" y="369203"/>
                  </a:lnTo>
                  <a:lnTo>
                    <a:pt x="824850" y="322114"/>
                  </a:lnTo>
                  <a:lnTo>
                    <a:pt x="811522" y="276989"/>
                  </a:lnTo>
                  <a:lnTo>
                    <a:pt x="793407" y="234143"/>
                  </a:lnTo>
                  <a:lnTo>
                    <a:pt x="770819" y="193890"/>
                  </a:lnTo>
                  <a:lnTo>
                    <a:pt x="744070" y="156542"/>
                  </a:lnTo>
                  <a:lnTo>
                    <a:pt x="713474" y="122413"/>
                  </a:lnTo>
                  <a:lnTo>
                    <a:pt x="679346" y="91818"/>
                  </a:lnTo>
                  <a:lnTo>
                    <a:pt x="641998" y="65069"/>
                  </a:lnTo>
                  <a:lnTo>
                    <a:pt x="601744" y="42480"/>
                  </a:lnTo>
                  <a:lnTo>
                    <a:pt x="558898" y="24365"/>
                  </a:lnTo>
                  <a:lnTo>
                    <a:pt x="513774" y="11038"/>
                  </a:lnTo>
                  <a:lnTo>
                    <a:pt x="466685" y="2811"/>
                  </a:lnTo>
                  <a:lnTo>
                    <a:pt x="417944" y="0"/>
                  </a:lnTo>
                  <a:close/>
                </a:path>
              </a:pathLst>
            </a:custGeom>
            <a:solidFill>
              <a:srgbClr val="EEDC00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srgbClr val="3B3B3A"/>
                </a:solidFill>
                <a:effectLst/>
                <a:uLnTx/>
                <a:uFillTx/>
                <a:latin typeface="Avenir Next LT Pro" panose="020B0504020202020204" pitchFamily="34" charset="77"/>
                <a:ea typeface="+mn-ea"/>
                <a:cs typeface="+mn-cs"/>
              </a:endParaRPr>
            </a:p>
          </p:txBody>
        </p:sp>
      </p:grpSp>
      <p:cxnSp>
        <p:nvCxnSpPr>
          <p:cNvPr id="107" name="Connettore 1 46">
            <a:extLst>
              <a:ext uri="{FF2B5EF4-FFF2-40B4-BE49-F238E27FC236}">
                <a16:creationId xmlns:a16="http://schemas.microsoft.com/office/drawing/2014/main" id="{1725EDEA-25C3-7E42-99C9-180C17C27FCA}"/>
              </a:ext>
            </a:extLst>
          </p:cNvPr>
          <p:cNvCxnSpPr>
            <a:cxnSpLocks/>
          </p:cNvCxnSpPr>
          <p:nvPr/>
        </p:nvCxnSpPr>
        <p:spPr>
          <a:xfrm>
            <a:off x="6727582" y="1890788"/>
            <a:ext cx="4140000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8" name="Segnaposto titolo 1">
            <a:extLst>
              <a:ext uri="{FF2B5EF4-FFF2-40B4-BE49-F238E27FC236}">
                <a16:creationId xmlns:a16="http://schemas.microsoft.com/office/drawing/2014/main" id="{AE104EB2-2D5E-4845-B0C8-EB2D5910DF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7394" y="504194"/>
            <a:ext cx="10515600" cy="725421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it-IT"/>
              <a:t>Fare clic per modificare lo stile del titolo dello schema</a:t>
            </a:r>
            <a:endParaRPr lang="it-IT" dirty="0"/>
          </a:p>
        </p:txBody>
      </p:sp>
      <p:sp>
        <p:nvSpPr>
          <p:cNvPr id="2" name="CasellaDiTesto 1">
            <a:extLst>
              <a:ext uri="{FF2B5EF4-FFF2-40B4-BE49-F238E27FC236}">
                <a16:creationId xmlns:a16="http://schemas.microsoft.com/office/drawing/2014/main" id="{0CBAD50B-82F9-E995-DBDD-0D8524FBCD2C}"/>
              </a:ext>
            </a:extLst>
          </p:cNvPr>
          <p:cNvSpPr txBox="1"/>
          <p:nvPr userDrawn="1"/>
        </p:nvSpPr>
        <p:spPr>
          <a:xfrm>
            <a:off x="3916392" y="6623540"/>
            <a:ext cx="739499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it-IT" sz="800" i="1" dirty="0"/>
              <a:t>Documento ad uso esclusivamente interno, da intendersi come strettamente riservato; non è autorizzata la trasmissione ad altri e la divulgazione all’esterno.</a:t>
            </a:r>
            <a:endParaRPr lang="en-US" sz="800" i="1" dirty="0"/>
          </a:p>
        </p:txBody>
      </p:sp>
    </p:spTree>
    <p:extLst>
      <p:ext uri="{BB962C8B-B14F-4D97-AF65-F5344CB8AC3E}">
        <p14:creationId xmlns:p14="http://schemas.microsoft.com/office/powerpoint/2010/main" val="2517609611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/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Pagina Tabell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Segnaposto testo 4">
            <a:extLst>
              <a:ext uri="{FF2B5EF4-FFF2-40B4-BE49-F238E27FC236}">
                <a16:creationId xmlns:a16="http://schemas.microsoft.com/office/drawing/2014/main" id="{92BBE559-9B02-2849-9B4D-7558060B014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49834" y="5917932"/>
            <a:ext cx="9402763" cy="573088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900" b="0" i="0">
                <a:latin typeface="Avenir Next LT Pro" panose="020B0504020202020204" pitchFamily="34" charset="77"/>
              </a:defRPr>
            </a:lvl1pPr>
            <a:lvl2pPr marL="457200" indent="0">
              <a:buNone/>
              <a:defRPr sz="900" b="0" i="0">
                <a:latin typeface="Avenir Next LT Pro" panose="020B0504020202020204" pitchFamily="34" charset="77"/>
              </a:defRPr>
            </a:lvl2pPr>
            <a:lvl3pPr marL="914400" indent="0">
              <a:buNone/>
              <a:defRPr sz="900" b="0" i="0">
                <a:latin typeface="Avenir Next LT Pro" panose="020B0504020202020204" pitchFamily="34" charset="77"/>
              </a:defRPr>
            </a:lvl3pPr>
            <a:lvl4pPr marL="1371600" indent="0">
              <a:buNone/>
              <a:defRPr sz="900" b="0" i="0">
                <a:latin typeface="Avenir Next LT Pro" panose="020B0504020202020204" pitchFamily="34" charset="77"/>
              </a:defRPr>
            </a:lvl4pPr>
            <a:lvl5pPr marL="1828800" indent="0">
              <a:buNone/>
              <a:defRPr sz="900" b="0" i="0">
                <a:latin typeface="Avenir Next LT Pro" panose="020B0504020202020204" pitchFamily="34" charset="77"/>
              </a:defRPr>
            </a:lvl5pPr>
          </a:lstStyle>
          <a:p>
            <a:pPr lvl="0"/>
            <a:r>
              <a:rPr lang="it-IT" dirty="0"/>
              <a:t>1. Fare clic per modificare le note 2. Fare clic per modificare le note 3. Fare clic per modificare le note </a:t>
            </a:r>
          </a:p>
        </p:txBody>
      </p:sp>
      <p:sp>
        <p:nvSpPr>
          <p:cNvPr id="3" name="Segnaposto tabella 2">
            <a:extLst>
              <a:ext uri="{FF2B5EF4-FFF2-40B4-BE49-F238E27FC236}">
                <a16:creationId xmlns:a16="http://schemas.microsoft.com/office/drawing/2014/main" id="{70FFBE6E-53B0-2E4E-A022-1A75A108CEA1}"/>
              </a:ext>
            </a:extLst>
          </p:cNvPr>
          <p:cNvSpPr>
            <a:spLocks noGrp="1"/>
          </p:cNvSpPr>
          <p:nvPr>
            <p:ph type="tbl" sz="quarter" idx="12" hasCustomPrompt="1"/>
          </p:nvPr>
        </p:nvSpPr>
        <p:spPr>
          <a:xfrm>
            <a:off x="549275" y="1416050"/>
            <a:ext cx="11093450" cy="43513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0" i="0">
                <a:latin typeface="Avenir Next LT Pro" panose="020B0504020202020204" pitchFamily="34" charset="77"/>
              </a:defRPr>
            </a:lvl1pPr>
          </a:lstStyle>
          <a:p>
            <a:r>
              <a:rPr lang="it-IT" dirty="0"/>
              <a:t>Inserisci tabella</a:t>
            </a:r>
          </a:p>
        </p:txBody>
      </p:sp>
      <p:sp>
        <p:nvSpPr>
          <p:cNvPr id="26" name="bg object 16">
            <a:extLst>
              <a:ext uri="{FF2B5EF4-FFF2-40B4-BE49-F238E27FC236}">
                <a16:creationId xmlns:a16="http://schemas.microsoft.com/office/drawing/2014/main" id="{65E1AF90-F4C2-244E-8B16-911D495AE497}"/>
              </a:ext>
            </a:extLst>
          </p:cNvPr>
          <p:cNvSpPr/>
          <p:nvPr/>
        </p:nvSpPr>
        <p:spPr>
          <a:xfrm>
            <a:off x="11330381" y="6448615"/>
            <a:ext cx="311785" cy="410845"/>
          </a:xfrm>
          <a:custGeom>
            <a:avLst/>
            <a:gdLst/>
            <a:ahLst/>
            <a:cxnLst/>
            <a:rect l="l" t="t" r="r" b="b"/>
            <a:pathLst>
              <a:path w="311784" h="410845">
                <a:moveTo>
                  <a:pt x="311645" y="0"/>
                </a:moveTo>
                <a:lnTo>
                  <a:pt x="0" y="0"/>
                </a:lnTo>
                <a:lnTo>
                  <a:pt x="0" y="410438"/>
                </a:lnTo>
                <a:lnTo>
                  <a:pt x="311645" y="410438"/>
                </a:lnTo>
                <a:lnTo>
                  <a:pt x="311645" y="0"/>
                </a:lnTo>
                <a:close/>
              </a:path>
            </a:pathLst>
          </a:custGeom>
          <a:solidFill>
            <a:srgbClr val="0047B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7" name="Holder 7">
            <a:extLst>
              <a:ext uri="{FF2B5EF4-FFF2-40B4-BE49-F238E27FC236}">
                <a16:creationId xmlns:a16="http://schemas.microsoft.com/office/drawing/2014/main" id="{4FF05A23-F84A-FB42-A88D-67332353E674}"/>
              </a:ext>
            </a:extLst>
          </p:cNvPr>
          <p:cNvSpPr txBox="1">
            <a:spLocks/>
          </p:cNvSpPr>
          <p:nvPr/>
        </p:nvSpPr>
        <p:spPr>
          <a:xfrm>
            <a:off x="11342726" y="6520516"/>
            <a:ext cx="256044" cy="16158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it-IT"/>
            </a:defPPr>
            <a:lvl1pPr marL="0" algn="l" defTabSz="914400" rtl="0" eaLnBrk="1" latinLnBrk="0" hangingPunct="1">
              <a:defRPr sz="850" b="1" i="0" kern="1200">
                <a:solidFill>
                  <a:schemeClr val="bg1"/>
                </a:solidFill>
                <a:latin typeface="Verdana"/>
                <a:ea typeface="+mn-ea"/>
                <a:cs typeface="Verdana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8100" algn="ctr">
              <a:spcBef>
                <a:spcPts val="105"/>
              </a:spcBef>
            </a:pPr>
            <a:fld id="{81D60167-4931-47E6-BA6A-407CBD079E47}" type="slidenum">
              <a:rPr lang="it-IT" sz="1050" b="0" i="0" spc="5" smtClean="0">
                <a:latin typeface="Avenir Next LT Pro" pitchFamily="2" charset="0"/>
              </a:rPr>
              <a:pPr marL="38100" algn="ctr">
                <a:spcBef>
                  <a:spcPts val="105"/>
                </a:spcBef>
              </a:pPr>
              <a:t>‹N›</a:t>
            </a:fld>
            <a:endParaRPr lang="it-IT" sz="1050" b="0" i="0" spc="5" dirty="0">
              <a:latin typeface="Avenir Next LT Pro" pitchFamily="2" charset="0"/>
            </a:endParaRPr>
          </a:p>
        </p:txBody>
      </p:sp>
      <p:sp>
        <p:nvSpPr>
          <p:cNvPr id="28" name="Triangolo isoscele 16">
            <a:extLst>
              <a:ext uri="{FF2B5EF4-FFF2-40B4-BE49-F238E27FC236}">
                <a16:creationId xmlns:a16="http://schemas.microsoft.com/office/drawing/2014/main" id="{B1D6E51F-7A48-A14C-859D-E68AA90549A2}"/>
              </a:ext>
            </a:extLst>
          </p:cNvPr>
          <p:cNvSpPr/>
          <p:nvPr/>
        </p:nvSpPr>
        <p:spPr>
          <a:xfrm rot="10800000">
            <a:off x="303127" y="-324737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29" name="Triangolo isoscele 17">
            <a:extLst>
              <a:ext uri="{FF2B5EF4-FFF2-40B4-BE49-F238E27FC236}">
                <a16:creationId xmlns:a16="http://schemas.microsoft.com/office/drawing/2014/main" id="{29C43A05-C53C-2E44-8742-5B72D65A6013}"/>
              </a:ext>
            </a:extLst>
          </p:cNvPr>
          <p:cNvSpPr/>
          <p:nvPr/>
        </p:nvSpPr>
        <p:spPr>
          <a:xfrm rot="10800000">
            <a:off x="11756536" y="-324737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30" name="Triangolo isoscele 18">
            <a:extLst>
              <a:ext uri="{FF2B5EF4-FFF2-40B4-BE49-F238E27FC236}">
                <a16:creationId xmlns:a16="http://schemas.microsoft.com/office/drawing/2014/main" id="{90E04093-CFA4-E34A-A1A3-6E582643858E}"/>
              </a:ext>
            </a:extLst>
          </p:cNvPr>
          <p:cNvSpPr/>
          <p:nvPr/>
        </p:nvSpPr>
        <p:spPr>
          <a:xfrm>
            <a:off x="303127" y="6950754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31" name="Triangolo isoscele 19">
            <a:extLst>
              <a:ext uri="{FF2B5EF4-FFF2-40B4-BE49-F238E27FC236}">
                <a16:creationId xmlns:a16="http://schemas.microsoft.com/office/drawing/2014/main" id="{2FB368C5-73CB-1941-917E-892123EDB755}"/>
              </a:ext>
            </a:extLst>
          </p:cNvPr>
          <p:cNvSpPr/>
          <p:nvPr/>
        </p:nvSpPr>
        <p:spPr>
          <a:xfrm>
            <a:off x="11756536" y="6950754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32" name="Triangolo isoscele 20">
            <a:extLst>
              <a:ext uri="{FF2B5EF4-FFF2-40B4-BE49-F238E27FC236}">
                <a16:creationId xmlns:a16="http://schemas.microsoft.com/office/drawing/2014/main" id="{E049848A-45B1-5946-A155-35A214B5C20E}"/>
              </a:ext>
            </a:extLst>
          </p:cNvPr>
          <p:cNvSpPr/>
          <p:nvPr/>
        </p:nvSpPr>
        <p:spPr>
          <a:xfrm rot="5400000">
            <a:off x="-276040" y="885372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33" name="Triangolo isoscele 21">
            <a:extLst>
              <a:ext uri="{FF2B5EF4-FFF2-40B4-BE49-F238E27FC236}">
                <a16:creationId xmlns:a16="http://schemas.microsoft.com/office/drawing/2014/main" id="{3F2B05CF-AC66-AB42-B4F2-BEFCB15E0BE5}"/>
              </a:ext>
            </a:extLst>
          </p:cNvPr>
          <p:cNvSpPr/>
          <p:nvPr/>
        </p:nvSpPr>
        <p:spPr>
          <a:xfrm rot="5400000">
            <a:off x="-276039" y="5982836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34" name="Triangolo isoscele 22">
            <a:extLst>
              <a:ext uri="{FF2B5EF4-FFF2-40B4-BE49-F238E27FC236}">
                <a16:creationId xmlns:a16="http://schemas.microsoft.com/office/drawing/2014/main" id="{BFDBAD27-4E99-E240-A777-CD7DC6FF401B}"/>
              </a:ext>
            </a:extLst>
          </p:cNvPr>
          <p:cNvSpPr/>
          <p:nvPr/>
        </p:nvSpPr>
        <p:spPr>
          <a:xfrm rot="16200000">
            <a:off x="12331119" y="885372"/>
            <a:ext cx="132336" cy="261257"/>
          </a:xfrm>
          <a:prstGeom prst="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35" name="Triangolo isoscele 23">
            <a:extLst>
              <a:ext uri="{FF2B5EF4-FFF2-40B4-BE49-F238E27FC236}">
                <a16:creationId xmlns:a16="http://schemas.microsoft.com/office/drawing/2014/main" id="{01B9CDF9-8ACB-B941-BB66-1E6ED130952B}"/>
              </a:ext>
            </a:extLst>
          </p:cNvPr>
          <p:cNvSpPr/>
          <p:nvPr/>
        </p:nvSpPr>
        <p:spPr>
          <a:xfrm rot="16200000">
            <a:off x="12331120" y="5982836"/>
            <a:ext cx="132336" cy="261257"/>
          </a:xfrm>
          <a:prstGeom prst="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38" name="Triangolo isoscele 31">
            <a:extLst>
              <a:ext uri="{FF2B5EF4-FFF2-40B4-BE49-F238E27FC236}">
                <a16:creationId xmlns:a16="http://schemas.microsoft.com/office/drawing/2014/main" id="{A6F56C64-7D14-1B4C-B1B3-B2A595898CA2}"/>
              </a:ext>
            </a:extLst>
          </p:cNvPr>
          <p:cNvSpPr/>
          <p:nvPr/>
        </p:nvSpPr>
        <p:spPr>
          <a:xfrm rot="10800000">
            <a:off x="303127" y="-324737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39" name="Triangolo isoscele 32">
            <a:extLst>
              <a:ext uri="{FF2B5EF4-FFF2-40B4-BE49-F238E27FC236}">
                <a16:creationId xmlns:a16="http://schemas.microsoft.com/office/drawing/2014/main" id="{D10A51BF-11F4-9A4E-AB84-FA8747449648}"/>
              </a:ext>
            </a:extLst>
          </p:cNvPr>
          <p:cNvSpPr/>
          <p:nvPr/>
        </p:nvSpPr>
        <p:spPr>
          <a:xfrm rot="10800000">
            <a:off x="11756536" y="-324737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42" name="Triangolo isoscele 33">
            <a:extLst>
              <a:ext uri="{FF2B5EF4-FFF2-40B4-BE49-F238E27FC236}">
                <a16:creationId xmlns:a16="http://schemas.microsoft.com/office/drawing/2014/main" id="{EF6F42C0-14DE-314D-BE10-EAC6F7587262}"/>
              </a:ext>
            </a:extLst>
          </p:cNvPr>
          <p:cNvSpPr/>
          <p:nvPr/>
        </p:nvSpPr>
        <p:spPr>
          <a:xfrm>
            <a:off x="303127" y="6950754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43" name="Triangolo isoscele 34">
            <a:extLst>
              <a:ext uri="{FF2B5EF4-FFF2-40B4-BE49-F238E27FC236}">
                <a16:creationId xmlns:a16="http://schemas.microsoft.com/office/drawing/2014/main" id="{CBF22D5D-66A0-DF4F-A714-5D12FE73F274}"/>
              </a:ext>
            </a:extLst>
          </p:cNvPr>
          <p:cNvSpPr/>
          <p:nvPr/>
        </p:nvSpPr>
        <p:spPr>
          <a:xfrm>
            <a:off x="11756536" y="6950754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44" name="Triangolo isoscele 35">
            <a:extLst>
              <a:ext uri="{FF2B5EF4-FFF2-40B4-BE49-F238E27FC236}">
                <a16:creationId xmlns:a16="http://schemas.microsoft.com/office/drawing/2014/main" id="{EB92F7AD-B0E4-7A4A-88F2-6A492A463C8C}"/>
              </a:ext>
            </a:extLst>
          </p:cNvPr>
          <p:cNvSpPr/>
          <p:nvPr/>
        </p:nvSpPr>
        <p:spPr>
          <a:xfrm rot="5400000">
            <a:off x="-276040" y="885372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45" name="Triangolo isoscele 36">
            <a:extLst>
              <a:ext uri="{FF2B5EF4-FFF2-40B4-BE49-F238E27FC236}">
                <a16:creationId xmlns:a16="http://schemas.microsoft.com/office/drawing/2014/main" id="{3FBAF21C-B765-E941-A935-DB67CEECC1BB}"/>
              </a:ext>
            </a:extLst>
          </p:cNvPr>
          <p:cNvSpPr/>
          <p:nvPr/>
        </p:nvSpPr>
        <p:spPr>
          <a:xfrm rot="5400000">
            <a:off x="-276039" y="5982836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46" name="Triangolo isoscele 37">
            <a:extLst>
              <a:ext uri="{FF2B5EF4-FFF2-40B4-BE49-F238E27FC236}">
                <a16:creationId xmlns:a16="http://schemas.microsoft.com/office/drawing/2014/main" id="{D5EDC529-9CF6-2441-A7FC-8D4C13ECE876}"/>
              </a:ext>
            </a:extLst>
          </p:cNvPr>
          <p:cNvSpPr/>
          <p:nvPr/>
        </p:nvSpPr>
        <p:spPr>
          <a:xfrm rot="16200000">
            <a:off x="12331119" y="885372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47" name="Triangolo isoscele 38">
            <a:extLst>
              <a:ext uri="{FF2B5EF4-FFF2-40B4-BE49-F238E27FC236}">
                <a16:creationId xmlns:a16="http://schemas.microsoft.com/office/drawing/2014/main" id="{277E114C-EB83-4446-84F8-53CF191B8DD5}"/>
              </a:ext>
            </a:extLst>
          </p:cNvPr>
          <p:cNvSpPr/>
          <p:nvPr/>
        </p:nvSpPr>
        <p:spPr>
          <a:xfrm rot="16200000">
            <a:off x="12331120" y="5982836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pic>
        <p:nvPicPr>
          <p:cNvPr id="48" name="Elemento grafico 47">
            <a:extLst>
              <a:ext uri="{FF2B5EF4-FFF2-40B4-BE49-F238E27FC236}">
                <a16:creationId xmlns:a16="http://schemas.microsoft.com/office/drawing/2014/main" id="{0B65B24A-D582-2F4D-B446-764A3FBDEDAF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081892" y="-5080"/>
            <a:ext cx="1560273" cy="309880"/>
          </a:xfrm>
          <a:prstGeom prst="rect">
            <a:avLst/>
          </a:prstGeom>
        </p:spPr>
      </p:pic>
      <p:sp>
        <p:nvSpPr>
          <p:cNvPr id="50" name="object 267">
            <a:extLst>
              <a:ext uri="{FF2B5EF4-FFF2-40B4-BE49-F238E27FC236}">
                <a16:creationId xmlns:a16="http://schemas.microsoft.com/office/drawing/2014/main" id="{4496432C-4229-7E45-BC53-D2D473A58CCC}"/>
              </a:ext>
            </a:extLst>
          </p:cNvPr>
          <p:cNvSpPr/>
          <p:nvPr/>
        </p:nvSpPr>
        <p:spPr>
          <a:xfrm>
            <a:off x="0" y="1251482"/>
            <a:ext cx="675518" cy="45719"/>
          </a:xfrm>
          <a:custGeom>
            <a:avLst/>
            <a:gdLst/>
            <a:ahLst/>
            <a:cxnLst/>
            <a:rect l="l" t="t" r="r" b="b"/>
            <a:pathLst>
              <a:path w="657225">
                <a:moveTo>
                  <a:pt x="0" y="0"/>
                </a:moveTo>
                <a:lnTo>
                  <a:pt x="656678" y="0"/>
                </a:lnTo>
              </a:path>
            </a:pathLst>
          </a:custGeom>
          <a:ln w="76200">
            <a:solidFill>
              <a:srgbClr val="EEDC00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JhengHei UI Light" panose="020B0304030504040204" pitchFamily="34" charset="-120"/>
              <a:ea typeface="Microsoft JhengHei UI Light" panose="020B0304030504040204" pitchFamily="34" charset="-120"/>
              <a:cs typeface="+mn-cs"/>
            </a:endParaRPr>
          </a:p>
        </p:txBody>
      </p:sp>
      <p:sp>
        <p:nvSpPr>
          <p:cNvPr id="52" name="Segnaposto titolo 1">
            <a:extLst>
              <a:ext uri="{FF2B5EF4-FFF2-40B4-BE49-F238E27FC236}">
                <a16:creationId xmlns:a16="http://schemas.microsoft.com/office/drawing/2014/main" id="{F02434F7-3F83-9B44-A109-14C7C0D08E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7394" y="504194"/>
            <a:ext cx="10515600" cy="725421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it-IT"/>
              <a:t>Fare clic per modificare lo stile del titolo dello schema</a:t>
            </a:r>
            <a:endParaRPr lang="it-IT" dirty="0"/>
          </a:p>
        </p:txBody>
      </p:sp>
      <p:sp>
        <p:nvSpPr>
          <p:cNvPr id="2" name="CasellaDiTesto 1">
            <a:extLst>
              <a:ext uri="{FF2B5EF4-FFF2-40B4-BE49-F238E27FC236}">
                <a16:creationId xmlns:a16="http://schemas.microsoft.com/office/drawing/2014/main" id="{F77E3590-22EE-FEA5-34EF-E737C622662A}"/>
              </a:ext>
            </a:extLst>
          </p:cNvPr>
          <p:cNvSpPr txBox="1"/>
          <p:nvPr userDrawn="1"/>
        </p:nvSpPr>
        <p:spPr>
          <a:xfrm>
            <a:off x="3916392" y="6623540"/>
            <a:ext cx="739499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it-IT" sz="800" i="1" dirty="0"/>
              <a:t>Documento ad uso esclusivamente interno, da intendersi come strettamente riservato; non è autorizzata la trasmissione ad altri e la divulgazione all’esterno.</a:t>
            </a:r>
            <a:endParaRPr lang="en-US" sz="800" i="1" dirty="0"/>
          </a:p>
        </p:txBody>
      </p:sp>
    </p:spTree>
    <p:extLst>
      <p:ext uri="{BB962C8B-B14F-4D97-AF65-F5344CB8AC3E}">
        <p14:creationId xmlns:p14="http://schemas.microsoft.com/office/powerpoint/2010/main" val="3841816774"/>
      </p:ext>
    </p:extLst>
  </p:cSld>
  <p:clrMapOvr>
    <a:masterClrMapping/>
  </p:clrMapOvr>
  <p:hf hdr="0" ftr="0" dt="0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agina Grafic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Segnaposto testo 4">
            <a:extLst>
              <a:ext uri="{FF2B5EF4-FFF2-40B4-BE49-F238E27FC236}">
                <a16:creationId xmlns:a16="http://schemas.microsoft.com/office/drawing/2014/main" id="{92BBE559-9B02-2849-9B4D-7558060B014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49834" y="5917932"/>
            <a:ext cx="9402763" cy="573088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900" b="0" i="0">
                <a:latin typeface="Avenir Next LT Pro" panose="020B0504020202020204" pitchFamily="34" charset="77"/>
              </a:defRPr>
            </a:lvl1pPr>
            <a:lvl2pPr marL="457200" indent="0">
              <a:buNone/>
              <a:defRPr sz="900" b="0" i="0">
                <a:latin typeface="Avenir Next LT Pro" panose="020B0504020202020204" pitchFamily="34" charset="77"/>
              </a:defRPr>
            </a:lvl2pPr>
            <a:lvl3pPr marL="914400" indent="0">
              <a:buNone/>
              <a:defRPr sz="900" b="0" i="0">
                <a:latin typeface="Avenir Next LT Pro" panose="020B0504020202020204" pitchFamily="34" charset="77"/>
              </a:defRPr>
            </a:lvl3pPr>
            <a:lvl4pPr marL="1371600" indent="0">
              <a:buNone/>
              <a:defRPr sz="900" b="0" i="0">
                <a:latin typeface="Avenir Next LT Pro" panose="020B0504020202020204" pitchFamily="34" charset="77"/>
              </a:defRPr>
            </a:lvl4pPr>
            <a:lvl5pPr marL="1828800" indent="0">
              <a:buNone/>
              <a:defRPr sz="900" b="0" i="0">
                <a:latin typeface="Avenir Next LT Pro" panose="020B0504020202020204" pitchFamily="34" charset="77"/>
              </a:defRPr>
            </a:lvl5pPr>
          </a:lstStyle>
          <a:p>
            <a:pPr lvl="0"/>
            <a:r>
              <a:rPr lang="it-IT" dirty="0"/>
              <a:t>1. Fare clic per modificare le note 2. Fare clic per modificare le note 3. Fare clic per modificare le note </a:t>
            </a:r>
          </a:p>
        </p:txBody>
      </p:sp>
      <p:sp>
        <p:nvSpPr>
          <p:cNvPr id="26" name="bg object 16">
            <a:extLst>
              <a:ext uri="{FF2B5EF4-FFF2-40B4-BE49-F238E27FC236}">
                <a16:creationId xmlns:a16="http://schemas.microsoft.com/office/drawing/2014/main" id="{65E1AF90-F4C2-244E-8B16-911D495AE497}"/>
              </a:ext>
            </a:extLst>
          </p:cNvPr>
          <p:cNvSpPr/>
          <p:nvPr/>
        </p:nvSpPr>
        <p:spPr>
          <a:xfrm>
            <a:off x="11330381" y="6448615"/>
            <a:ext cx="311785" cy="410845"/>
          </a:xfrm>
          <a:custGeom>
            <a:avLst/>
            <a:gdLst/>
            <a:ahLst/>
            <a:cxnLst/>
            <a:rect l="l" t="t" r="r" b="b"/>
            <a:pathLst>
              <a:path w="311784" h="410845">
                <a:moveTo>
                  <a:pt x="311645" y="0"/>
                </a:moveTo>
                <a:lnTo>
                  <a:pt x="0" y="0"/>
                </a:lnTo>
                <a:lnTo>
                  <a:pt x="0" y="410438"/>
                </a:lnTo>
                <a:lnTo>
                  <a:pt x="311645" y="410438"/>
                </a:lnTo>
                <a:lnTo>
                  <a:pt x="311645" y="0"/>
                </a:lnTo>
                <a:close/>
              </a:path>
            </a:pathLst>
          </a:custGeom>
          <a:solidFill>
            <a:srgbClr val="0047B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7" name="Holder 7">
            <a:extLst>
              <a:ext uri="{FF2B5EF4-FFF2-40B4-BE49-F238E27FC236}">
                <a16:creationId xmlns:a16="http://schemas.microsoft.com/office/drawing/2014/main" id="{4FF05A23-F84A-FB42-A88D-67332353E674}"/>
              </a:ext>
            </a:extLst>
          </p:cNvPr>
          <p:cNvSpPr txBox="1">
            <a:spLocks/>
          </p:cNvSpPr>
          <p:nvPr/>
        </p:nvSpPr>
        <p:spPr>
          <a:xfrm>
            <a:off x="11342726" y="6520516"/>
            <a:ext cx="256044" cy="16158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it-IT"/>
            </a:defPPr>
            <a:lvl1pPr marL="0" algn="l" defTabSz="914400" rtl="0" eaLnBrk="1" latinLnBrk="0" hangingPunct="1">
              <a:defRPr sz="850" b="1" i="0" kern="1200">
                <a:solidFill>
                  <a:schemeClr val="bg1"/>
                </a:solidFill>
                <a:latin typeface="Verdana"/>
                <a:ea typeface="+mn-ea"/>
                <a:cs typeface="Verdana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8100" algn="ctr">
              <a:spcBef>
                <a:spcPts val="105"/>
              </a:spcBef>
            </a:pPr>
            <a:fld id="{81D60167-4931-47E6-BA6A-407CBD079E47}" type="slidenum">
              <a:rPr lang="it-IT" sz="1050" b="0" i="0" spc="5" smtClean="0">
                <a:latin typeface="Avenir Next LT Pro" pitchFamily="2" charset="0"/>
              </a:rPr>
              <a:pPr marL="38100" algn="ctr">
                <a:spcBef>
                  <a:spcPts val="105"/>
                </a:spcBef>
              </a:pPr>
              <a:t>‹N›</a:t>
            </a:fld>
            <a:endParaRPr lang="it-IT" sz="1050" b="0" i="0" spc="5" dirty="0">
              <a:latin typeface="Avenir Next LT Pro" pitchFamily="2" charset="0"/>
            </a:endParaRPr>
          </a:p>
        </p:txBody>
      </p:sp>
      <p:sp>
        <p:nvSpPr>
          <p:cNvPr id="28" name="Triangolo isoscele 16">
            <a:extLst>
              <a:ext uri="{FF2B5EF4-FFF2-40B4-BE49-F238E27FC236}">
                <a16:creationId xmlns:a16="http://schemas.microsoft.com/office/drawing/2014/main" id="{B1D6E51F-7A48-A14C-859D-E68AA90549A2}"/>
              </a:ext>
            </a:extLst>
          </p:cNvPr>
          <p:cNvSpPr/>
          <p:nvPr/>
        </p:nvSpPr>
        <p:spPr>
          <a:xfrm rot="10800000">
            <a:off x="303127" y="-324737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29" name="Triangolo isoscele 17">
            <a:extLst>
              <a:ext uri="{FF2B5EF4-FFF2-40B4-BE49-F238E27FC236}">
                <a16:creationId xmlns:a16="http://schemas.microsoft.com/office/drawing/2014/main" id="{29C43A05-C53C-2E44-8742-5B72D65A6013}"/>
              </a:ext>
            </a:extLst>
          </p:cNvPr>
          <p:cNvSpPr/>
          <p:nvPr/>
        </p:nvSpPr>
        <p:spPr>
          <a:xfrm rot="10800000">
            <a:off x="11756536" y="-324737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30" name="Triangolo isoscele 18">
            <a:extLst>
              <a:ext uri="{FF2B5EF4-FFF2-40B4-BE49-F238E27FC236}">
                <a16:creationId xmlns:a16="http://schemas.microsoft.com/office/drawing/2014/main" id="{90E04093-CFA4-E34A-A1A3-6E582643858E}"/>
              </a:ext>
            </a:extLst>
          </p:cNvPr>
          <p:cNvSpPr/>
          <p:nvPr/>
        </p:nvSpPr>
        <p:spPr>
          <a:xfrm>
            <a:off x="303127" y="6950754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31" name="Triangolo isoscele 19">
            <a:extLst>
              <a:ext uri="{FF2B5EF4-FFF2-40B4-BE49-F238E27FC236}">
                <a16:creationId xmlns:a16="http://schemas.microsoft.com/office/drawing/2014/main" id="{2FB368C5-73CB-1941-917E-892123EDB755}"/>
              </a:ext>
            </a:extLst>
          </p:cNvPr>
          <p:cNvSpPr/>
          <p:nvPr/>
        </p:nvSpPr>
        <p:spPr>
          <a:xfrm>
            <a:off x="11756536" y="6950754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32" name="Triangolo isoscele 20">
            <a:extLst>
              <a:ext uri="{FF2B5EF4-FFF2-40B4-BE49-F238E27FC236}">
                <a16:creationId xmlns:a16="http://schemas.microsoft.com/office/drawing/2014/main" id="{E049848A-45B1-5946-A155-35A214B5C20E}"/>
              </a:ext>
            </a:extLst>
          </p:cNvPr>
          <p:cNvSpPr/>
          <p:nvPr/>
        </p:nvSpPr>
        <p:spPr>
          <a:xfrm rot="5400000">
            <a:off x="-276040" y="885372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33" name="Triangolo isoscele 21">
            <a:extLst>
              <a:ext uri="{FF2B5EF4-FFF2-40B4-BE49-F238E27FC236}">
                <a16:creationId xmlns:a16="http://schemas.microsoft.com/office/drawing/2014/main" id="{3F2B05CF-AC66-AB42-B4F2-BEFCB15E0BE5}"/>
              </a:ext>
            </a:extLst>
          </p:cNvPr>
          <p:cNvSpPr/>
          <p:nvPr/>
        </p:nvSpPr>
        <p:spPr>
          <a:xfrm rot="5400000">
            <a:off x="-276039" y="5982836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34" name="Triangolo isoscele 22">
            <a:extLst>
              <a:ext uri="{FF2B5EF4-FFF2-40B4-BE49-F238E27FC236}">
                <a16:creationId xmlns:a16="http://schemas.microsoft.com/office/drawing/2014/main" id="{BFDBAD27-4E99-E240-A777-CD7DC6FF401B}"/>
              </a:ext>
            </a:extLst>
          </p:cNvPr>
          <p:cNvSpPr/>
          <p:nvPr/>
        </p:nvSpPr>
        <p:spPr>
          <a:xfrm rot="16200000">
            <a:off x="12331119" y="885372"/>
            <a:ext cx="132336" cy="261257"/>
          </a:xfrm>
          <a:prstGeom prst="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35" name="Triangolo isoscele 23">
            <a:extLst>
              <a:ext uri="{FF2B5EF4-FFF2-40B4-BE49-F238E27FC236}">
                <a16:creationId xmlns:a16="http://schemas.microsoft.com/office/drawing/2014/main" id="{01B9CDF9-8ACB-B941-BB66-1E6ED130952B}"/>
              </a:ext>
            </a:extLst>
          </p:cNvPr>
          <p:cNvSpPr/>
          <p:nvPr/>
        </p:nvSpPr>
        <p:spPr>
          <a:xfrm rot="16200000">
            <a:off x="12331120" y="5982836"/>
            <a:ext cx="132336" cy="261257"/>
          </a:xfrm>
          <a:prstGeom prst="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38" name="Triangolo isoscele 31">
            <a:extLst>
              <a:ext uri="{FF2B5EF4-FFF2-40B4-BE49-F238E27FC236}">
                <a16:creationId xmlns:a16="http://schemas.microsoft.com/office/drawing/2014/main" id="{A6F56C64-7D14-1B4C-B1B3-B2A595898CA2}"/>
              </a:ext>
            </a:extLst>
          </p:cNvPr>
          <p:cNvSpPr/>
          <p:nvPr/>
        </p:nvSpPr>
        <p:spPr>
          <a:xfrm rot="10800000">
            <a:off x="303127" y="-324737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39" name="Triangolo isoscele 32">
            <a:extLst>
              <a:ext uri="{FF2B5EF4-FFF2-40B4-BE49-F238E27FC236}">
                <a16:creationId xmlns:a16="http://schemas.microsoft.com/office/drawing/2014/main" id="{D10A51BF-11F4-9A4E-AB84-FA8747449648}"/>
              </a:ext>
            </a:extLst>
          </p:cNvPr>
          <p:cNvSpPr/>
          <p:nvPr/>
        </p:nvSpPr>
        <p:spPr>
          <a:xfrm rot="10800000">
            <a:off x="11756536" y="-324737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42" name="Triangolo isoscele 33">
            <a:extLst>
              <a:ext uri="{FF2B5EF4-FFF2-40B4-BE49-F238E27FC236}">
                <a16:creationId xmlns:a16="http://schemas.microsoft.com/office/drawing/2014/main" id="{EF6F42C0-14DE-314D-BE10-EAC6F7587262}"/>
              </a:ext>
            </a:extLst>
          </p:cNvPr>
          <p:cNvSpPr/>
          <p:nvPr/>
        </p:nvSpPr>
        <p:spPr>
          <a:xfrm>
            <a:off x="303127" y="6950754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43" name="Triangolo isoscele 34">
            <a:extLst>
              <a:ext uri="{FF2B5EF4-FFF2-40B4-BE49-F238E27FC236}">
                <a16:creationId xmlns:a16="http://schemas.microsoft.com/office/drawing/2014/main" id="{CBF22D5D-66A0-DF4F-A714-5D12FE73F274}"/>
              </a:ext>
            </a:extLst>
          </p:cNvPr>
          <p:cNvSpPr/>
          <p:nvPr/>
        </p:nvSpPr>
        <p:spPr>
          <a:xfrm>
            <a:off x="11756536" y="6950754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44" name="Triangolo isoscele 35">
            <a:extLst>
              <a:ext uri="{FF2B5EF4-FFF2-40B4-BE49-F238E27FC236}">
                <a16:creationId xmlns:a16="http://schemas.microsoft.com/office/drawing/2014/main" id="{EB92F7AD-B0E4-7A4A-88F2-6A492A463C8C}"/>
              </a:ext>
            </a:extLst>
          </p:cNvPr>
          <p:cNvSpPr/>
          <p:nvPr/>
        </p:nvSpPr>
        <p:spPr>
          <a:xfrm rot="5400000">
            <a:off x="-276040" y="885372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45" name="Triangolo isoscele 36">
            <a:extLst>
              <a:ext uri="{FF2B5EF4-FFF2-40B4-BE49-F238E27FC236}">
                <a16:creationId xmlns:a16="http://schemas.microsoft.com/office/drawing/2014/main" id="{3FBAF21C-B765-E941-A935-DB67CEECC1BB}"/>
              </a:ext>
            </a:extLst>
          </p:cNvPr>
          <p:cNvSpPr/>
          <p:nvPr/>
        </p:nvSpPr>
        <p:spPr>
          <a:xfrm rot="5400000">
            <a:off x="-276039" y="5982836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46" name="Triangolo isoscele 37">
            <a:extLst>
              <a:ext uri="{FF2B5EF4-FFF2-40B4-BE49-F238E27FC236}">
                <a16:creationId xmlns:a16="http://schemas.microsoft.com/office/drawing/2014/main" id="{D5EDC529-9CF6-2441-A7FC-8D4C13ECE876}"/>
              </a:ext>
            </a:extLst>
          </p:cNvPr>
          <p:cNvSpPr/>
          <p:nvPr/>
        </p:nvSpPr>
        <p:spPr>
          <a:xfrm rot="16200000">
            <a:off x="12331119" y="885372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47" name="Triangolo isoscele 38">
            <a:extLst>
              <a:ext uri="{FF2B5EF4-FFF2-40B4-BE49-F238E27FC236}">
                <a16:creationId xmlns:a16="http://schemas.microsoft.com/office/drawing/2014/main" id="{277E114C-EB83-4446-84F8-53CF191B8DD5}"/>
              </a:ext>
            </a:extLst>
          </p:cNvPr>
          <p:cNvSpPr/>
          <p:nvPr/>
        </p:nvSpPr>
        <p:spPr>
          <a:xfrm rot="16200000">
            <a:off x="12331120" y="5982836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pic>
        <p:nvPicPr>
          <p:cNvPr id="48" name="Elemento grafico 47">
            <a:extLst>
              <a:ext uri="{FF2B5EF4-FFF2-40B4-BE49-F238E27FC236}">
                <a16:creationId xmlns:a16="http://schemas.microsoft.com/office/drawing/2014/main" id="{0B65B24A-D582-2F4D-B446-764A3FBDEDAF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081892" y="-5080"/>
            <a:ext cx="1560273" cy="309880"/>
          </a:xfrm>
          <a:prstGeom prst="rect">
            <a:avLst/>
          </a:prstGeom>
        </p:spPr>
      </p:pic>
      <p:sp>
        <p:nvSpPr>
          <p:cNvPr id="50" name="object 267">
            <a:extLst>
              <a:ext uri="{FF2B5EF4-FFF2-40B4-BE49-F238E27FC236}">
                <a16:creationId xmlns:a16="http://schemas.microsoft.com/office/drawing/2014/main" id="{4496432C-4229-7E45-BC53-D2D473A58CCC}"/>
              </a:ext>
            </a:extLst>
          </p:cNvPr>
          <p:cNvSpPr/>
          <p:nvPr/>
        </p:nvSpPr>
        <p:spPr>
          <a:xfrm>
            <a:off x="0" y="1251482"/>
            <a:ext cx="675518" cy="45719"/>
          </a:xfrm>
          <a:custGeom>
            <a:avLst/>
            <a:gdLst/>
            <a:ahLst/>
            <a:cxnLst/>
            <a:rect l="l" t="t" r="r" b="b"/>
            <a:pathLst>
              <a:path w="657225">
                <a:moveTo>
                  <a:pt x="0" y="0"/>
                </a:moveTo>
                <a:lnTo>
                  <a:pt x="656678" y="0"/>
                </a:lnTo>
              </a:path>
            </a:pathLst>
          </a:custGeom>
          <a:ln w="76200">
            <a:solidFill>
              <a:srgbClr val="EEDC00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JhengHei UI Light" panose="020B0304030504040204" pitchFamily="34" charset="-120"/>
              <a:ea typeface="Microsoft JhengHei UI Light" panose="020B0304030504040204" pitchFamily="34" charset="-120"/>
              <a:cs typeface="+mn-cs"/>
            </a:endParaRPr>
          </a:p>
        </p:txBody>
      </p:sp>
      <p:sp>
        <p:nvSpPr>
          <p:cNvPr id="52" name="Segnaposto titolo 1">
            <a:extLst>
              <a:ext uri="{FF2B5EF4-FFF2-40B4-BE49-F238E27FC236}">
                <a16:creationId xmlns:a16="http://schemas.microsoft.com/office/drawing/2014/main" id="{F02434F7-3F83-9B44-A109-14C7C0D08E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7394" y="504194"/>
            <a:ext cx="10515600" cy="725421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it-IT"/>
              <a:t>Fare clic per modificare lo stile del titolo dello schema</a:t>
            </a:r>
            <a:endParaRPr lang="it-IT" dirty="0"/>
          </a:p>
        </p:txBody>
      </p:sp>
      <p:sp>
        <p:nvSpPr>
          <p:cNvPr id="4" name="Segnaposto grafico 3">
            <a:extLst>
              <a:ext uri="{FF2B5EF4-FFF2-40B4-BE49-F238E27FC236}">
                <a16:creationId xmlns:a16="http://schemas.microsoft.com/office/drawing/2014/main" id="{B6ACF139-F6FB-F945-BF8D-D43B840A28E1}"/>
              </a:ext>
            </a:extLst>
          </p:cNvPr>
          <p:cNvSpPr>
            <a:spLocks noGrp="1"/>
          </p:cNvSpPr>
          <p:nvPr>
            <p:ph type="chart" sz="quarter" idx="12"/>
          </p:nvPr>
        </p:nvSpPr>
        <p:spPr>
          <a:xfrm>
            <a:off x="557213" y="1471613"/>
            <a:ext cx="10515600" cy="4135437"/>
          </a:xfrm>
        </p:spPr>
        <p:txBody>
          <a:bodyPr/>
          <a:lstStyle/>
          <a:p>
            <a:r>
              <a:rPr lang="it-IT"/>
              <a:t>Fare clic sull'icona per inserire un grafico</a:t>
            </a:r>
          </a:p>
        </p:txBody>
      </p:sp>
      <p:sp>
        <p:nvSpPr>
          <p:cNvPr id="2" name="CasellaDiTesto 1">
            <a:extLst>
              <a:ext uri="{FF2B5EF4-FFF2-40B4-BE49-F238E27FC236}">
                <a16:creationId xmlns:a16="http://schemas.microsoft.com/office/drawing/2014/main" id="{6A8E0A0C-AF35-5A45-2B6F-CC19E6A71643}"/>
              </a:ext>
            </a:extLst>
          </p:cNvPr>
          <p:cNvSpPr txBox="1"/>
          <p:nvPr userDrawn="1"/>
        </p:nvSpPr>
        <p:spPr>
          <a:xfrm>
            <a:off x="3916392" y="6623540"/>
            <a:ext cx="739499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it-IT" sz="800" i="1" dirty="0"/>
              <a:t>Documento ad uso esclusivamente interno, da intendersi come strettamente riservato; non è autorizzata la trasmissione ad altri e la divulgazione all’esterno.</a:t>
            </a:r>
            <a:endParaRPr lang="en-US" sz="800" i="1" dirty="0"/>
          </a:p>
        </p:txBody>
      </p:sp>
    </p:spTree>
    <p:extLst>
      <p:ext uri="{BB962C8B-B14F-4D97-AF65-F5344CB8AC3E}">
        <p14:creationId xmlns:p14="http://schemas.microsoft.com/office/powerpoint/2010/main" val="3741394913"/>
      </p:ext>
    </p:extLst>
  </p:cSld>
  <p:clrMapOvr>
    <a:masterClrMapping/>
  </p:clrMapOvr>
  <p:hf hdr="0" ftr="0" dt="0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Pagina Bianc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g object 16">
            <a:extLst>
              <a:ext uri="{FF2B5EF4-FFF2-40B4-BE49-F238E27FC236}">
                <a16:creationId xmlns:a16="http://schemas.microsoft.com/office/drawing/2014/main" id="{1BB5F85F-7B77-4D8F-BF71-1E774648CF13}"/>
              </a:ext>
            </a:extLst>
          </p:cNvPr>
          <p:cNvSpPr/>
          <p:nvPr userDrawn="1"/>
        </p:nvSpPr>
        <p:spPr>
          <a:xfrm>
            <a:off x="11330381" y="6448615"/>
            <a:ext cx="311785" cy="410845"/>
          </a:xfrm>
          <a:custGeom>
            <a:avLst/>
            <a:gdLst/>
            <a:ahLst/>
            <a:cxnLst/>
            <a:rect l="l" t="t" r="r" b="b"/>
            <a:pathLst>
              <a:path w="311784" h="410845">
                <a:moveTo>
                  <a:pt x="311645" y="0"/>
                </a:moveTo>
                <a:lnTo>
                  <a:pt x="0" y="0"/>
                </a:lnTo>
                <a:lnTo>
                  <a:pt x="0" y="410438"/>
                </a:lnTo>
                <a:lnTo>
                  <a:pt x="311645" y="410438"/>
                </a:lnTo>
                <a:lnTo>
                  <a:pt x="311645" y="0"/>
                </a:lnTo>
                <a:close/>
              </a:path>
            </a:pathLst>
          </a:custGeom>
          <a:solidFill>
            <a:srgbClr val="0047B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Holder 7">
            <a:extLst>
              <a:ext uri="{FF2B5EF4-FFF2-40B4-BE49-F238E27FC236}">
                <a16:creationId xmlns:a16="http://schemas.microsoft.com/office/drawing/2014/main" id="{40D5FE1F-198E-471E-B51E-791F7EB5E332}"/>
              </a:ext>
            </a:extLst>
          </p:cNvPr>
          <p:cNvSpPr txBox="1">
            <a:spLocks/>
          </p:cNvSpPr>
          <p:nvPr userDrawn="1"/>
        </p:nvSpPr>
        <p:spPr>
          <a:xfrm>
            <a:off x="11342726" y="6520516"/>
            <a:ext cx="256044" cy="16158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it-IT"/>
            </a:defPPr>
            <a:lvl1pPr marL="0" algn="l" defTabSz="914400" rtl="0" eaLnBrk="1" latinLnBrk="0" hangingPunct="1">
              <a:defRPr sz="850" b="1" i="0" kern="1200">
                <a:solidFill>
                  <a:schemeClr val="bg1"/>
                </a:solidFill>
                <a:latin typeface="Verdana"/>
                <a:ea typeface="+mn-ea"/>
                <a:cs typeface="Verdana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8100" algn="ctr">
              <a:spcBef>
                <a:spcPts val="105"/>
              </a:spcBef>
            </a:pPr>
            <a:fld id="{81D60167-4931-47E6-BA6A-407CBD079E47}" type="slidenum">
              <a:rPr lang="it-IT" sz="1050" b="0" i="0" spc="5" smtClean="0">
                <a:latin typeface="Avenir Next LT Pro" pitchFamily="2" charset="0"/>
              </a:rPr>
              <a:pPr marL="38100" algn="ctr">
                <a:spcBef>
                  <a:spcPts val="105"/>
                </a:spcBef>
              </a:pPr>
              <a:t>‹N›</a:t>
            </a:fld>
            <a:endParaRPr lang="it-IT" sz="1050" b="0" i="0" spc="5" dirty="0">
              <a:latin typeface="Avenir Next LT Pro" pitchFamily="2" charset="0"/>
            </a:endParaRPr>
          </a:p>
        </p:txBody>
      </p:sp>
      <p:sp>
        <p:nvSpPr>
          <p:cNvPr id="6" name="object 267">
            <a:extLst>
              <a:ext uri="{FF2B5EF4-FFF2-40B4-BE49-F238E27FC236}">
                <a16:creationId xmlns:a16="http://schemas.microsoft.com/office/drawing/2014/main" id="{D08201D2-7BD6-4831-A3AB-3B6CBAE650A0}"/>
              </a:ext>
            </a:extLst>
          </p:cNvPr>
          <p:cNvSpPr/>
          <p:nvPr userDrawn="1"/>
        </p:nvSpPr>
        <p:spPr>
          <a:xfrm>
            <a:off x="0" y="1251482"/>
            <a:ext cx="675518" cy="45719"/>
          </a:xfrm>
          <a:custGeom>
            <a:avLst/>
            <a:gdLst/>
            <a:ahLst/>
            <a:cxnLst/>
            <a:rect l="l" t="t" r="r" b="b"/>
            <a:pathLst>
              <a:path w="657225">
                <a:moveTo>
                  <a:pt x="0" y="0"/>
                </a:moveTo>
                <a:lnTo>
                  <a:pt x="656678" y="0"/>
                </a:lnTo>
              </a:path>
            </a:pathLst>
          </a:custGeom>
          <a:ln w="76200">
            <a:solidFill>
              <a:srgbClr val="EEDC00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JhengHei UI Light" panose="020B0304030504040204" pitchFamily="34" charset="-120"/>
              <a:ea typeface="Microsoft JhengHei UI Light" panose="020B0304030504040204" pitchFamily="34" charset="-120"/>
              <a:cs typeface="+mn-cs"/>
            </a:endParaRPr>
          </a:p>
        </p:txBody>
      </p:sp>
      <p:sp>
        <p:nvSpPr>
          <p:cNvPr id="2" name="CasellaDiTesto 1">
            <a:extLst>
              <a:ext uri="{FF2B5EF4-FFF2-40B4-BE49-F238E27FC236}">
                <a16:creationId xmlns:a16="http://schemas.microsoft.com/office/drawing/2014/main" id="{D659E941-790E-3FB5-79AA-6EEF62ED4775}"/>
              </a:ext>
            </a:extLst>
          </p:cNvPr>
          <p:cNvSpPr txBox="1"/>
          <p:nvPr userDrawn="1"/>
        </p:nvSpPr>
        <p:spPr>
          <a:xfrm>
            <a:off x="3916392" y="6623540"/>
            <a:ext cx="739499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it-IT" sz="800" i="1" dirty="0"/>
              <a:t>Documento ad uso esclusivamente interno, da intendersi come strettamente riservato; non è autorizzata la trasmissione ad altri e la divulgazione all’esterno.</a:t>
            </a:r>
            <a:endParaRPr lang="en-US" sz="800" i="1" dirty="0"/>
          </a:p>
        </p:txBody>
      </p:sp>
    </p:spTree>
    <p:extLst>
      <p:ext uri="{BB962C8B-B14F-4D97-AF65-F5344CB8AC3E}">
        <p14:creationId xmlns:p14="http://schemas.microsoft.com/office/powerpoint/2010/main" val="1159023420"/>
      </p:ext>
    </p:extLst>
  </p:cSld>
  <p:clrMapOvr>
    <a:masterClrMapping/>
  </p:clrMapOvr>
  <p:hf hdr="0" ftr="0" dt="0"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ltra sezi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magine 2">
            <a:extLst>
              <a:ext uri="{FF2B5EF4-FFF2-40B4-BE49-F238E27FC236}">
                <a16:creationId xmlns:a16="http://schemas.microsoft.com/office/drawing/2014/main" id="{43276584-F195-D044-8220-F105B2F32F0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Segnaposto testo 14">
            <a:extLst>
              <a:ext uri="{FF2B5EF4-FFF2-40B4-BE49-F238E27FC236}">
                <a16:creationId xmlns:a16="http://schemas.microsoft.com/office/drawing/2014/main" id="{B576C2F2-04F3-BC47-8C5F-066AE69EE3F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66350" y="728190"/>
            <a:ext cx="10925175" cy="24352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5100" b="0" i="0">
                <a:solidFill>
                  <a:schemeClr val="bg1"/>
                </a:solidFill>
                <a:latin typeface="Avenir Next LT Pro" panose="020B0504020202020204" pitchFamily="34" charset="77"/>
              </a:defRPr>
            </a:lvl1pPr>
            <a:lvl2pPr marL="457200" indent="0">
              <a:buNone/>
              <a:defRPr sz="5100" b="0" i="0">
                <a:solidFill>
                  <a:schemeClr val="bg1"/>
                </a:solidFill>
                <a:latin typeface="Avenir Next LT Pro" panose="020B0504020202020204" pitchFamily="34" charset="77"/>
              </a:defRPr>
            </a:lvl2pPr>
            <a:lvl3pPr marL="914400" indent="0">
              <a:buNone/>
              <a:defRPr sz="5100" b="0" i="0">
                <a:solidFill>
                  <a:schemeClr val="bg1"/>
                </a:solidFill>
                <a:latin typeface="Avenir Next LT Pro" panose="020B0504020202020204" pitchFamily="34" charset="77"/>
              </a:defRPr>
            </a:lvl3pPr>
            <a:lvl4pPr marL="1371600" indent="0">
              <a:buNone/>
              <a:defRPr sz="5100" b="0" i="0">
                <a:solidFill>
                  <a:schemeClr val="bg1"/>
                </a:solidFill>
                <a:latin typeface="Avenir Next LT Pro" panose="020B0504020202020204" pitchFamily="34" charset="77"/>
              </a:defRPr>
            </a:lvl4pPr>
            <a:lvl5pPr marL="1828800" indent="0">
              <a:buNone/>
              <a:defRPr sz="5100" b="0" i="0">
                <a:solidFill>
                  <a:schemeClr val="bg1"/>
                </a:solidFill>
                <a:latin typeface="Avenir Next LT Pro" panose="020B0504020202020204" pitchFamily="34" charset="77"/>
              </a:defRPr>
            </a:lvl5pPr>
          </a:lstStyle>
          <a:p>
            <a:pPr lvl="0"/>
            <a:r>
              <a:rPr lang="it-IT" dirty="0"/>
              <a:t>FARE CLIC PER MODIFICARE IL TITOLO</a:t>
            </a:r>
          </a:p>
        </p:txBody>
      </p:sp>
      <p:sp>
        <p:nvSpPr>
          <p:cNvPr id="7" name="Segnaposto testo 19">
            <a:extLst>
              <a:ext uri="{FF2B5EF4-FFF2-40B4-BE49-F238E27FC236}">
                <a16:creationId xmlns:a16="http://schemas.microsoft.com/office/drawing/2014/main" id="{D116BCEC-4149-6546-BF82-BA216255FD4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86040" y="5108207"/>
            <a:ext cx="10975975" cy="13985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4000" b="0" i="0">
                <a:solidFill>
                  <a:srgbClr val="EDDC00"/>
                </a:solidFill>
                <a:latin typeface="Avenir Next LT Pro" panose="020B0504020202020204" pitchFamily="34" charset="77"/>
              </a:defRPr>
            </a:lvl1pPr>
            <a:lvl2pPr marL="457200" indent="0">
              <a:buNone/>
              <a:defRPr sz="4000" b="0" i="0">
                <a:solidFill>
                  <a:srgbClr val="EDDC00"/>
                </a:solidFill>
                <a:latin typeface="Avenir Next LT Pro" panose="020B0504020202020204" pitchFamily="34" charset="77"/>
              </a:defRPr>
            </a:lvl2pPr>
            <a:lvl3pPr marL="914400" indent="0">
              <a:buNone/>
              <a:defRPr sz="4000" b="0" i="0">
                <a:solidFill>
                  <a:srgbClr val="EDDC00"/>
                </a:solidFill>
                <a:latin typeface="Avenir Next LT Pro" panose="020B0504020202020204" pitchFamily="34" charset="77"/>
              </a:defRPr>
            </a:lvl3pPr>
            <a:lvl4pPr marL="1371600" indent="0">
              <a:buNone/>
              <a:defRPr sz="4000" b="0" i="0">
                <a:solidFill>
                  <a:srgbClr val="EDDC00"/>
                </a:solidFill>
                <a:latin typeface="Avenir Next LT Pro" panose="020B0504020202020204" pitchFamily="34" charset="77"/>
              </a:defRPr>
            </a:lvl4pPr>
            <a:lvl5pPr marL="1828800" indent="0">
              <a:buNone/>
              <a:defRPr sz="4000" b="0" i="0">
                <a:solidFill>
                  <a:srgbClr val="EDDC00"/>
                </a:solidFill>
                <a:latin typeface="Avenir Next LT Pro" panose="020B0504020202020204" pitchFamily="34" charset="77"/>
              </a:defRPr>
            </a:lvl5pPr>
          </a:lstStyle>
          <a:p>
            <a:pPr lvl="0"/>
            <a:r>
              <a:rPr lang="it-IT" dirty="0"/>
              <a:t>Fare clic per modificare il sotto titolo</a:t>
            </a:r>
          </a:p>
        </p:txBody>
      </p:sp>
      <p:pic>
        <p:nvPicPr>
          <p:cNvPr id="8" name="Elemento grafico 7">
            <a:extLst>
              <a:ext uri="{FF2B5EF4-FFF2-40B4-BE49-F238E27FC236}">
                <a16:creationId xmlns:a16="http://schemas.microsoft.com/office/drawing/2014/main" id="{07FD771C-99BF-4817-9D76-5FB03BB77B48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270645" y="5322"/>
            <a:ext cx="2340412" cy="464820"/>
          </a:xfrm>
          <a:prstGeom prst="rect">
            <a:avLst/>
          </a:prstGeom>
        </p:spPr>
      </p:pic>
      <p:pic>
        <p:nvPicPr>
          <p:cNvPr id="9" name="Immagine 8">
            <a:extLst>
              <a:ext uri="{FF2B5EF4-FFF2-40B4-BE49-F238E27FC236}">
                <a16:creationId xmlns:a16="http://schemas.microsoft.com/office/drawing/2014/main" id="{8F79FAD7-D011-434B-926F-B15999F1954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0" name="Elemento grafico 9">
            <a:extLst>
              <a:ext uri="{FF2B5EF4-FFF2-40B4-BE49-F238E27FC236}">
                <a16:creationId xmlns:a16="http://schemas.microsoft.com/office/drawing/2014/main" id="{842803EE-91C6-5044-9F8F-1B9523D33E2E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270645" y="5322"/>
            <a:ext cx="2340412" cy="4648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5023271"/>
      </p:ext>
    </p:extLst>
  </p:cSld>
  <p:clrMapOvr>
    <a:masterClrMapping/>
  </p:clrMapOvr>
  <p:hf hdr="0" ft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Sezione+IMMAG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" name="Immagine 29">
            <a:extLst>
              <a:ext uri="{FF2B5EF4-FFF2-40B4-BE49-F238E27FC236}">
                <a16:creationId xmlns:a16="http://schemas.microsoft.com/office/drawing/2014/main" id="{BA454EA8-0628-70C5-F09B-FF09519327B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27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818" y="0"/>
            <a:ext cx="12170363" cy="6858000"/>
          </a:xfrm>
          <a:prstGeom prst="rect">
            <a:avLst/>
          </a:prstGeom>
        </p:spPr>
      </p:pic>
      <p:sp>
        <p:nvSpPr>
          <p:cNvPr id="47" name="object 28">
            <a:extLst>
              <a:ext uri="{FF2B5EF4-FFF2-40B4-BE49-F238E27FC236}">
                <a16:creationId xmlns:a16="http://schemas.microsoft.com/office/drawing/2014/main" id="{A758824C-3E00-2367-9337-E3CBE42C9243}"/>
              </a:ext>
            </a:extLst>
          </p:cNvPr>
          <p:cNvSpPr/>
          <p:nvPr userDrawn="1"/>
        </p:nvSpPr>
        <p:spPr>
          <a:xfrm>
            <a:off x="9270644" y="0"/>
            <a:ext cx="2324735" cy="464820"/>
          </a:xfrm>
          <a:custGeom>
            <a:avLst/>
            <a:gdLst/>
            <a:ahLst/>
            <a:cxnLst/>
            <a:rect l="l" t="t" r="r" b="b"/>
            <a:pathLst>
              <a:path w="2324734" h="464820">
                <a:moveTo>
                  <a:pt x="0" y="464743"/>
                </a:moveTo>
                <a:lnTo>
                  <a:pt x="2324519" y="464743"/>
                </a:lnTo>
                <a:lnTo>
                  <a:pt x="2324519" y="0"/>
                </a:lnTo>
                <a:lnTo>
                  <a:pt x="0" y="0"/>
                </a:lnTo>
                <a:lnTo>
                  <a:pt x="0" y="464743"/>
                </a:lnTo>
                <a:close/>
              </a:path>
            </a:pathLst>
          </a:custGeom>
          <a:solidFill>
            <a:srgbClr val="F7DA00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venir Next LT Pro" pitchFamily="2" charset="0"/>
              <a:ea typeface="+mn-ea"/>
              <a:cs typeface="+mn-cs"/>
            </a:endParaRPr>
          </a:p>
        </p:txBody>
      </p:sp>
      <p:sp>
        <p:nvSpPr>
          <p:cNvPr id="48" name="object 29">
            <a:extLst>
              <a:ext uri="{FF2B5EF4-FFF2-40B4-BE49-F238E27FC236}">
                <a16:creationId xmlns:a16="http://schemas.microsoft.com/office/drawing/2014/main" id="{00257BFB-1996-00B4-9890-8FBF531386EE}"/>
              </a:ext>
            </a:extLst>
          </p:cNvPr>
          <p:cNvSpPr/>
          <p:nvPr userDrawn="1"/>
        </p:nvSpPr>
        <p:spPr>
          <a:xfrm>
            <a:off x="9609109" y="121182"/>
            <a:ext cx="1671320" cy="220979"/>
          </a:xfrm>
          <a:custGeom>
            <a:avLst/>
            <a:gdLst/>
            <a:ahLst/>
            <a:cxnLst/>
            <a:rect l="l" t="t" r="r" b="b"/>
            <a:pathLst>
              <a:path w="1671320" h="220979">
                <a:moveTo>
                  <a:pt x="1604911" y="61328"/>
                </a:moveTo>
                <a:lnTo>
                  <a:pt x="1573965" y="67762"/>
                </a:lnTo>
                <a:lnTo>
                  <a:pt x="1552244" y="85215"/>
                </a:lnTo>
                <a:lnTo>
                  <a:pt x="1539439" y="110914"/>
                </a:lnTo>
                <a:lnTo>
                  <a:pt x="1535239" y="142087"/>
                </a:lnTo>
                <a:lnTo>
                  <a:pt x="1538978" y="173008"/>
                </a:lnTo>
                <a:lnTo>
                  <a:pt x="1550817" y="197869"/>
                </a:lnTo>
                <a:lnTo>
                  <a:pt x="1571688" y="214428"/>
                </a:lnTo>
                <a:lnTo>
                  <a:pt x="1602524" y="220446"/>
                </a:lnTo>
                <a:lnTo>
                  <a:pt x="1627461" y="217251"/>
                </a:lnTo>
                <a:lnTo>
                  <a:pt x="1647651" y="207665"/>
                </a:lnTo>
                <a:lnTo>
                  <a:pt x="1654658" y="199834"/>
                </a:lnTo>
                <a:lnTo>
                  <a:pt x="1602841" y="199834"/>
                </a:lnTo>
                <a:lnTo>
                  <a:pt x="1584419" y="195165"/>
                </a:lnTo>
                <a:lnTo>
                  <a:pt x="1572329" y="182919"/>
                </a:lnTo>
                <a:lnTo>
                  <a:pt x="1566069" y="165742"/>
                </a:lnTo>
                <a:lnTo>
                  <a:pt x="1565135" y="146278"/>
                </a:lnTo>
                <a:lnTo>
                  <a:pt x="1671002" y="146278"/>
                </a:lnTo>
                <a:lnTo>
                  <a:pt x="1671002" y="132245"/>
                </a:lnTo>
                <a:lnTo>
                  <a:pt x="1670198" y="126542"/>
                </a:lnTo>
                <a:lnTo>
                  <a:pt x="1565135" y="126542"/>
                </a:lnTo>
                <a:lnTo>
                  <a:pt x="1567697" y="109219"/>
                </a:lnTo>
                <a:lnTo>
                  <a:pt x="1575111" y="95056"/>
                </a:lnTo>
                <a:lnTo>
                  <a:pt x="1586963" y="85498"/>
                </a:lnTo>
                <a:lnTo>
                  <a:pt x="1602841" y="81991"/>
                </a:lnTo>
                <a:lnTo>
                  <a:pt x="1655030" y="81991"/>
                </a:lnTo>
                <a:lnTo>
                  <a:pt x="1654778" y="81532"/>
                </a:lnTo>
                <a:lnTo>
                  <a:pt x="1634162" y="66949"/>
                </a:lnTo>
                <a:lnTo>
                  <a:pt x="1604911" y="61328"/>
                </a:lnTo>
                <a:close/>
              </a:path>
              <a:path w="1671320" h="220979">
                <a:moveTo>
                  <a:pt x="1669186" y="169329"/>
                </a:moveTo>
                <a:lnTo>
                  <a:pt x="1639303" y="169329"/>
                </a:lnTo>
                <a:lnTo>
                  <a:pt x="1635317" y="183294"/>
                </a:lnTo>
                <a:lnTo>
                  <a:pt x="1628120" y="192759"/>
                </a:lnTo>
                <a:lnTo>
                  <a:pt x="1617400" y="198134"/>
                </a:lnTo>
                <a:lnTo>
                  <a:pt x="1602841" y="199834"/>
                </a:lnTo>
                <a:lnTo>
                  <a:pt x="1654658" y="199834"/>
                </a:lnTo>
                <a:lnTo>
                  <a:pt x="1661944" y="191691"/>
                </a:lnTo>
                <a:lnTo>
                  <a:pt x="1669186" y="169329"/>
                </a:lnTo>
                <a:close/>
              </a:path>
              <a:path w="1671320" h="220979">
                <a:moveTo>
                  <a:pt x="1655030" y="81991"/>
                </a:moveTo>
                <a:lnTo>
                  <a:pt x="1602841" y="81991"/>
                </a:lnTo>
                <a:lnTo>
                  <a:pt x="1620507" y="85419"/>
                </a:lnTo>
                <a:lnTo>
                  <a:pt x="1632510" y="94846"/>
                </a:lnTo>
                <a:lnTo>
                  <a:pt x="1639247" y="108983"/>
                </a:lnTo>
                <a:lnTo>
                  <a:pt x="1641119" y="126542"/>
                </a:lnTo>
                <a:lnTo>
                  <a:pt x="1670198" y="126542"/>
                </a:lnTo>
                <a:lnTo>
                  <a:pt x="1666983" y="103742"/>
                </a:lnTo>
                <a:lnTo>
                  <a:pt x="1655030" y="81991"/>
                </a:lnTo>
                <a:close/>
              </a:path>
              <a:path w="1671320" h="220979">
                <a:moveTo>
                  <a:pt x="1415910" y="65836"/>
                </a:moveTo>
                <a:lnTo>
                  <a:pt x="1388097" y="65836"/>
                </a:lnTo>
                <a:lnTo>
                  <a:pt x="1388097" y="215988"/>
                </a:lnTo>
                <a:lnTo>
                  <a:pt x="1416469" y="215988"/>
                </a:lnTo>
                <a:lnTo>
                  <a:pt x="1416469" y="134315"/>
                </a:lnTo>
                <a:lnTo>
                  <a:pt x="1417749" y="116268"/>
                </a:lnTo>
                <a:lnTo>
                  <a:pt x="1420880" y="104843"/>
                </a:lnTo>
                <a:lnTo>
                  <a:pt x="1424800" y="98130"/>
                </a:lnTo>
                <a:lnTo>
                  <a:pt x="1428445" y="94221"/>
                </a:lnTo>
                <a:lnTo>
                  <a:pt x="1437109" y="87947"/>
                </a:lnTo>
                <a:lnTo>
                  <a:pt x="1415910" y="87947"/>
                </a:lnTo>
                <a:lnTo>
                  <a:pt x="1415910" y="65836"/>
                </a:lnTo>
                <a:close/>
              </a:path>
              <a:path w="1671320" h="220979">
                <a:moveTo>
                  <a:pt x="1510544" y="83185"/>
                </a:moveTo>
                <a:lnTo>
                  <a:pt x="1455991" y="83185"/>
                </a:lnTo>
                <a:lnTo>
                  <a:pt x="1471435" y="85676"/>
                </a:lnTo>
                <a:lnTo>
                  <a:pt x="1482120" y="93017"/>
                </a:lnTo>
                <a:lnTo>
                  <a:pt x="1488325" y="105012"/>
                </a:lnTo>
                <a:lnTo>
                  <a:pt x="1490332" y="121462"/>
                </a:lnTo>
                <a:lnTo>
                  <a:pt x="1490332" y="215988"/>
                </a:lnTo>
                <a:lnTo>
                  <a:pt x="1518780" y="215988"/>
                </a:lnTo>
                <a:lnTo>
                  <a:pt x="1518780" y="112191"/>
                </a:lnTo>
                <a:lnTo>
                  <a:pt x="1511371" y="83922"/>
                </a:lnTo>
                <a:lnTo>
                  <a:pt x="1510544" y="83185"/>
                </a:lnTo>
                <a:close/>
              </a:path>
              <a:path w="1671320" h="220979">
                <a:moveTo>
                  <a:pt x="1461947" y="61328"/>
                </a:moveTo>
                <a:lnTo>
                  <a:pt x="1449878" y="62844"/>
                </a:lnTo>
                <a:lnTo>
                  <a:pt x="1437193" y="67589"/>
                </a:lnTo>
                <a:lnTo>
                  <a:pt x="1425516" y="75858"/>
                </a:lnTo>
                <a:lnTo>
                  <a:pt x="1416469" y="87947"/>
                </a:lnTo>
                <a:lnTo>
                  <a:pt x="1437109" y="87947"/>
                </a:lnTo>
                <a:lnTo>
                  <a:pt x="1437796" y="87449"/>
                </a:lnTo>
                <a:lnTo>
                  <a:pt x="1446704" y="84216"/>
                </a:lnTo>
                <a:lnTo>
                  <a:pt x="1453369" y="83227"/>
                </a:lnTo>
                <a:lnTo>
                  <a:pt x="1455991" y="83185"/>
                </a:lnTo>
                <a:lnTo>
                  <a:pt x="1510544" y="83185"/>
                </a:lnTo>
                <a:lnTo>
                  <a:pt x="1494288" y="68695"/>
                </a:lnTo>
                <a:lnTo>
                  <a:pt x="1475242" y="62501"/>
                </a:lnTo>
                <a:lnTo>
                  <a:pt x="1461947" y="61328"/>
                </a:lnTo>
                <a:close/>
              </a:path>
              <a:path w="1671320" h="220979">
                <a:moveTo>
                  <a:pt x="1352240" y="81991"/>
                </a:moveTo>
                <a:lnTo>
                  <a:pt x="1301635" y="81991"/>
                </a:lnTo>
                <a:lnTo>
                  <a:pt x="1319331" y="84777"/>
                </a:lnTo>
                <a:lnTo>
                  <a:pt x="1328816" y="92862"/>
                </a:lnTo>
                <a:lnTo>
                  <a:pt x="1332641" y="105879"/>
                </a:lnTo>
                <a:lnTo>
                  <a:pt x="1333347" y="123278"/>
                </a:lnTo>
                <a:lnTo>
                  <a:pt x="1307604" y="123278"/>
                </a:lnTo>
                <a:lnTo>
                  <a:pt x="1281182" y="125848"/>
                </a:lnTo>
                <a:lnTo>
                  <a:pt x="1257761" y="134662"/>
                </a:lnTo>
                <a:lnTo>
                  <a:pt x="1241016" y="151380"/>
                </a:lnTo>
                <a:lnTo>
                  <a:pt x="1234617" y="177660"/>
                </a:lnTo>
                <a:lnTo>
                  <a:pt x="1239143" y="196711"/>
                </a:lnTo>
                <a:lnTo>
                  <a:pt x="1251050" y="210045"/>
                </a:lnTo>
                <a:lnTo>
                  <a:pt x="1267830" y="217883"/>
                </a:lnTo>
                <a:lnTo>
                  <a:pt x="1286979" y="220446"/>
                </a:lnTo>
                <a:lnTo>
                  <a:pt x="1301669" y="218889"/>
                </a:lnTo>
                <a:lnTo>
                  <a:pt x="1314573" y="214050"/>
                </a:lnTo>
                <a:lnTo>
                  <a:pt x="1325348" y="205675"/>
                </a:lnTo>
                <a:lnTo>
                  <a:pt x="1329335" y="199834"/>
                </a:lnTo>
                <a:lnTo>
                  <a:pt x="1294193" y="199834"/>
                </a:lnTo>
                <a:lnTo>
                  <a:pt x="1282480" y="198096"/>
                </a:lnTo>
                <a:lnTo>
                  <a:pt x="1273082" y="192881"/>
                </a:lnTo>
                <a:lnTo>
                  <a:pt x="1266832" y="184189"/>
                </a:lnTo>
                <a:lnTo>
                  <a:pt x="1264564" y="172021"/>
                </a:lnTo>
                <a:lnTo>
                  <a:pt x="1268435" y="158391"/>
                </a:lnTo>
                <a:lnTo>
                  <a:pt x="1278253" y="149650"/>
                </a:lnTo>
                <a:lnTo>
                  <a:pt x="1291326" y="144843"/>
                </a:lnTo>
                <a:lnTo>
                  <a:pt x="1304963" y="143014"/>
                </a:lnTo>
                <a:lnTo>
                  <a:pt x="1361782" y="143014"/>
                </a:lnTo>
                <a:lnTo>
                  <a:pt x="1361782" y="112509"/>
                </a:lnTo>
                <a:lnTo>
                  <a:pt x="1356533" y="86831"/>
                </a:lnTo>
                <a:lnTo>
                  <a:pt x="1352240" y="81991"/>
                </a:lnTo>
                <a:close/>
              </a:path>
              <a:path w="1671320" h="220979">
                <a:moveTo>
                  <a:pt x="1361919" y="193509"/>
                </a:moveTo>
                <a:lnTo>
                  <a:pt x="1334223" y="193509"/>
                </a:lnTo>
                <a:lnTo>
                  <a:pt x="1334528" y="200406"/>
                </a:lnTo>
                <a:lnTo>
                  <a:pt x="1335163" y="206971"/>
                </a:lnTo>
                <a:lnTo>
                  <a:pt x="1336027" y="217449"/>
                </a:lnTo>
                <a:lnTo>
                  <a:pt x="1341107" y="215988"/>
                </a:lnTo>
                <a:lnTo>
                  <a:pt x="1362976" y="215988"/>
                </a:lnTo>
                <a:lnTo>
                  <a:pt x="1362414" y="206971"/>
                </a:lnTo>
                <a:lnTo>
                  <a:pt x="1362027" y="197866"/>
                </a:lnTo>
                <a:lnTo>
                  <a:pt x="1361919" y="193509"/>
                </a:lnTo>
                <a:close/>
              </a:path>
              <a:path w="1671320" h="220979">
                <a:moveTo>
                  <a:pt x="1361782" y="143014"/>
                </a:moveTo>
                <a:lnTo>
                  <a:pt x="1333347" y="143014"/>
                </a:lnTo>
                <a:lnTo>
                  <a:pt x="1332169" y="163626"/>
                </a:lnTo>
                <a:lnTo>
                  <a:pt x="1326524" y="181854"/>
                </a:lnTo>
                <a:lnTo>
                  <a:pt x="1314502" y="194867"/>
                </a:lnTo>
                <a:lnTo>
                  <a:pt x="1294193" y="199834"/>
                </a:lnTo>
                <a:lnTo>
                  <a:pt x="1329335" y="199834"/>
                </a:lnTo>
                <a:lnTo>
                  <a:pt x="1333652" y="193509"/>
                </a:lnTo>
                <a:lnTo>
                  <a:pt x="1361919" y="193509"/>
                </a:lnTo>
                <a:lnTo>
                  <a:pt x="1361837" y="190210"/>
                </a:lnTo>
                <a:lnTo>
                  <a:pt x="1361782" y="143014"/>
                </a:lnTo>
                <a:close/>
              </a:path>
              <a:path w="1671320" h="220979">
                <a:moveTo>
                  <a:pt x="1300454" y="61328"/>
                </a:moveTo>
                <a:lnTo>
                  <a:pt x="1279280" y="63663"/>
                </a:lnTo>
                <a:lnTo>
                  <a:pt x="1261476" y="71269"/>
                </a:lnTo>
                <a:lnTo>
                  <a:pt x="1248957" y="85041"/>
                </a:lnTo>
                <a:lnTo>
                  <a:pt x="1243634" y="105879"/>
                </a:lnTo>
                <a:lnTo>
                  <a:pt x="1273517" y="105879"/>
                </a:lnTo>
                <a:lnTo>
                  <a:pt x="1276028" y="95589"/>
                </a:lnTo>
                <a:lnTo>
                  <a:pt x="1282319" y="88106"/>
                </a:lnTo>
                <a:lnTo>
                  <a:pt x="1291237" y="83537"/>
                </a:lnTo>
                <a:lnTo>
                  <a:pt x="1301635" y="81991"/>
                </a:lnTo>
                <a:lnTo>
                  <a:pt x="1352240" y="81991"/>
                </a:lnTo>
                <a:lnTo>
                  <a:pt x="1342672" y="71202"/>
                </a:lnTo>
                <a:lnTo>
                  <a:pt x="1323035" y="63431"/>
                </a:lnTo>
                <a:lnTo>
                  <a:pt x="1300454" y="61328"/>
                </a:lnTo>
                <a:close/>
              </a:path>
              <a:path w="1671320" h="220979">
                <a:moveTo>
                  <a:pt x="1218196" y="0"/>
                </a:moveTo>
                <a:lnTo>
                  <a:pt x="1184427" y="0"/>
                </a:lnTo>
                <a:lnTo>
                  <a:pt x="1184427" y="30822"/>
                </a:lnTo>
                <a:lnTo>
                  <a:pt x="1218196" y="30822"/>
                </a:lnTo>
                <a:lnTo>
                  <a:pt x="1218196" y="0"/>
                </a:lnTo>
                <a:close/>
              </a:path>
              <a:path w="1671320" h="220979">
                <a:moveTo>
                  <a:pt x="1215504" y="65836"/>
                </a:moveTo>
                <a:lnTo>
                  <a:pt x="1187069" y="65836"/>
                </a:lnTo>
                <a:lnTo>
                  <a:pt x="1187069" y="216001"/>
                </a:lnTo>
                <a:lnTo>
                  <a:pt x="1215504" y="216001"/>
                </a:lnTo>
                <a:lnTo>
                  <a:pt x="1215504" y="65836"/>
                </a:lnTo>
                <a:close/>
              </a:path>
              <a:path w="1671320" h="220979">
                <a:moveTo>
                  <a:pt x="1164844" y="0"/>
                </a:moveTo>
                <a:lnTo>
                  <a:pt x="1136408" y="0"/>
                </a:lnTo>
                <a:lnTo>
                  <a:pt x="1136408" y="215938"/>
                </a:lnTo>
                <a:lnTo>
                  <a:pt x="1164844" y="215938"/>
                </a:lnTo>
                <a:lnTo>
                  <a:pt x="1164844" y="0"/>
                </a:lnTo>
                <a:close/>
              </a:path>
              <a:path w="1671320" h="220979">
                <a:moveTo>
                  <a:pt x="1096363" y="81991"/>
                </a:moveTo>
                <a:lnTo>
                  <a:pt x="1045819" y="81991"/>
                </a:lnTo>
                <a:lnTo>
                  <a:pt x="1063513" y="84777"/>
                </a:lnTo>
                <a:lnTo>
                  <a:pt x="1072994" y="92862"/>
                </a:lnTo>
                <a:lnTo>
                  <a:pt x="1076814" y="105879"/>
                </a:lnTo>
                <a:lnTo>
                  <a:pt x="1077518" y="123278"/>
                </a:lnTo>
                <a:lnTo>
                  <a:pt x="1051775" y="123278"/>
                </a:lnTo>
                <a:lnTo>
                  <a:pt x="1025361" y="125848"/>
                </a:lnTo>
                <a:lnTo>
                  <a:pt x="1001944" y="134662"/>
                </a:lnTo>
                <a:lnTo>
                  <a:pt x="985199" y="151380"/>
                </a:lnTo>
                <a:lnTo>
                  <a:pt x="978801" y="177660"/>
                </a:lnTo>
                <a:lnTo>
                  <a:pt x="983317" y="196711"/>
                </a:lnTo>
                <a:lnTo>
                  <a:pt x="995203" y="210045"/>
                </a:lnTo>
                <a:lnTo>
                  <a:pt x="1011966" y="217883"/>
                </a:lnTo>
                <a:lnTo>
                  <a:pt x="1031113" y="220446"/>
                </a:lnTo>
                <a:lnTo>
                  <a:pt x="1045818" y="218889"/>
                </a:lnTo>
                <a:lnTo>
                  <a:pt x="1058719" y="214050"/>
                </a:lnTo>
                <a:lnTo>
                  <a:pt x="1069482" y="205675"/>
                </a:lnTo>
                <a:lnTo>
                  <a:pt x="1073462" y="199834"/>
                </a:lnTo>
                <a:lnTo>
                  <a:pt x="1038313" y="199834"/>
                </a:lnTo>
                <a:lnTo>
                  <a:pt x="1026630" y="198096"/>
                </a:lnTo>
                <a:lnTo>
                  <a:pt x="1017247" y="192881"/>
                </a:lnTo>
                <a:lnTo>
                  <a:pt x="1011003" y="184189"/>
                </a:lnTo>
                <a:lnTo>
                  <a:pt x="1008735" y="172021"/>
                </a:lnTo>
                <a:lnTo>
                  <a:pt x="1012600" y="158391"/>
                </a:lnTo>
                <a:lnTo>
                  <a:pt x="1022403" y="149650"/>
                </a:lnTo>
                <a:lnTo>
                  <a:pt x="1035460" y="144843"/>
                </a:lnTo>
                <a:lnTo>
                  <a:pt x="1049083" y="143014"/>
                </a:lnTo>
                <a:lnTo>
                  <a:pt x="1105903" y="143014"/>
                </a:lnTo>
                <a:lnTo>
                  <a:pt x="1105903" y="112509"/>
                </a:lnTo>
                <a:lnTo>
                  <a:pt x="1100655" y="86831"/>
                </a:lnTo>
                <a:lnTo>
                  <a:pt x="1096363" y="81991"/>
                </a:lnTo>
                <a:close/>
              </a:path>
              <a:path w="1671320" h="220979">
                <a:moveTo>
                  <a:pt x="1106051" y="193509"/>
                </a:moveTo>
                <a:lnTo>
                  <a:pt x="1078395" y="193509"/>
                </a:lnTo>
                <a:lnTo>
                  <a:pt x="1078712" y="200406"/>
                </a:lnTo>
                <a:lnTo>
                  <a:pt x="1080211" y="217449"/>
                </a:lnTo>
                <a:lnTo>
                  <a:pt x="1085291" y="215988"/>
                </a:lnTo>
                <a:lnTo>
                  <a:pt x="1107097" y="215988"/>
                </a:lnTo>
                <a:lnTo>
                  <a:pt x="1106535" y="206645"/>
                </a:lnTo>
                <a:lnTo>
                  <a:pt x="1106166" y="197866"/>
                </a:lnTo>
                <a:lnTo>
                  <a:pt x="1106051" y="193509"/>
                </a:lnTo>
                <a:close/>
              </a:path>
              <a:path w="1671320" h="220979">
                <a:moveTo>
                  <a:pt x="1105903" y="143014"/>
                </a:moveTo>
                <a:lnTo>
                  <a:pt x="1077518" y="143014"/>
                </a:lnTo>
                <a:lnTo>
                  <a:pt x="1076345" y="163626"/>
                </a:lnTo>
                <a:lnTo>
                  <a:pt x="1070694" y="181854"/>
                </a:lnTo>
                <a:lnTo>
                  <a:pt x="1058653" y="194867"/>
                </a:lnTo>
                <a:lnTo>
                  <a:pt x="1038313" y="199834"/>
                </a:lnTo>
                <a:lnTo>
                  <a:pt x="1073462" y="199834"/>
                </a:lnTo>
                <a:lnTo>
                  <a:pt x="1077772" y="193509"/>
                </a:lnTo>
                <a:lnTo>
                  <a:pt x="1106051" y="193509"/>
                </a:lnTo>
                <a:lnTo>
                  <a:pt x="1105964" y="190210"/>
                </a:lnTo>
                <a:lnTo>
                  <a:pt x="1105903" y="143014"/>
                </a:lnTo>
                <a:close/>
              </a:path>
              <a:path w="1671320" h="220979">
                <a:moveTo>
                  <a:pt x="1044575" y="61328"/>
                </a:moveTo>
                <a:lnTo>
                  <a:pt x="1023434" y="63663"/>
                </a:lnTo>
                <a:lnTo>
                  <a:pt x="1005639" y="71269"/>
                </a:lnTo>
                <a:lnTo>
                  <a:pt x="993107" y="85041"/>
                </a:lnTo>
                <a:lnTo>
                  <a:pt x="987755" y="105879"/>
                </a:lnTo>
                <a:lnTo>
                  <a:pt x="1017701" y="105879"/>
                </a:lnTo>
                <a:lnTo>
                  <a:pt x="1020198" y="95589"/>
                </a:lnTo>
                <a:lnTo>
                  <a:pt x="1026474" y="88106"/>
                </a:lnTo>
                <a:lnTo>
                  <a:pt x="1035393" y="83537"/>
                </a:lnTo>
                <a:lnTo>
                  <a:pt x="1045819" y="81991"/>
                </a:lnTo>
                <a:lnTo>
                  <a:pt x="1096363" y="81991"/>
                </a:lnTo>
                <a:lnTo>
                  <a:pt x="1086797" y="71202"/>
                </a:lnTo>
                <a:lnTo>
                  <a:pt x="1067160" y="63431"/>
                </a:lnTo>
                <a:lnTo>
                  <a:pt x="1044575" y="61328"/>
                </a:lnTo>
                <a:close/>
              </a:path>
              <a:path w="1671320" h="220979">
                <a:moveTo>
                  <a:pt x="936218" y="85877"/>
                </a:moveTo>
                <a:lnTo>
                  <a:pt x="907783" y="85877"/>
                </a:lnTo>
                <a:lnTo>
                  <a:pt x="907783" y="181292"/>
                </a:lnTo>
                <a:lnTo>
                  <a:pt x="926642" y="218071"/>
                </a:lnTo>
                <a:lnTo>
                  <a:pt x="943368" y="220446"/>
                </a:lnTo>
                <a:lnTo>
                  <a:pt x="956843" y="220446"/>
                </a:lnTo>
                <a:lnTo>
                  <a:pt x="963155" y="218948"/>
                </a:lnTo>
                <a:lnTo>
                  <a:pt x="969683" y="218630"/>
                </a:lnTo>
                <a:lnTo>
                  <a:pt x="969683" y="198640"/>
                </a:lnTo>
                <a:lnTo>
                  <a:pt x="944562" y="198640"/>
                </a:lnTo>
                <a:lnTo>
                  <a:pt x="936218" y="193509"/>
                </a:lnTo>
                <a:lnTo>
                  <a:pt x="936218" y="85877"/>
                </a:lnTo>
                <a:close/>
              </a:path>
              <a:path w="1671320" h="220979">
                <a:moveTo>
                  <a:pt x="969683" y="196824"/>
                </a:moveTo>
                <a:lnTo>
                  <a:pt x="965225" y="198018"/>
                </a:lnTo>
                <a:lnTo>
                  <a:pt x="959218" y="198640"/>
                </a:lnTo>
                <a:lnTo>
                  <a:pt x="969683" y="198640"/>
                </a:lnTo>
                <a:lnTo>
                  <a:pt x="969683" y="196824"/>
                </a:lnTo>
                <a:close/>
              </a:path>
              <a:path w="1671320" h="220979">
                <a:moveTo>
                  <a:pt x="882091" y="64960"/>
                </a:moveTo>
                <a:lnTo>
                  <a:pt x="882091" y="86144"/>
                </a:lnTo>
                <a:lnTo>
                  <a:pt x="907783" y="85877"/>
                </a:lnTo>
                <a:lnTo>
                  <a:pt x="970915" y="85877"/>
                </a:lnTo>
                <a:lnTo>
                  <a:pt x="970915" y="65836"/>
                </a:lnTo>
                <a:lnTo>
                  <a:pt x="907783" y="65836"/>
                </a:lnTo>
                <a:lnTo>
                  <a:pt x="882091" y="64960"/>
                </a:lnTo>
                <a:close/>
              </a:path>
              <a:path w="1671320" h="220979">
                <a:moveTo>
                  <a:pt x="970915" y="85877"/>
                </a:moveTo>
                <a:lnTo>
                  <a:pt x="936218" y="85877"/>
                </a:lnTo>
                <a:lnTo>
                  <a:pt x="970915" y="86144"/>
                </a:lnTo>
                <a:lnTo>
                  <a:pt x="970915" y="85877"/>
                </a:lnTo>
                <a:close/>
              </a:path>
              <a:path w="1671320" h="220979">
                <a:moveTo>
                  <a:pt x="936218" y="24866"/>
                </a:moveTo>
                <a:lnTo>
                  <a:pt x="907783" y="33832"/>
                </a:lnTo>
                <a:lnTo>
                  <a:pt x="907783" y="65836"/>
                </a:lnTo>
                <a:lnTo>
                  <a:pt x="936218" y="65836"/>
                </a:lnTo>
                <a:lnTo>
                  <a:pt x="936218" y="24866"/>
                </a:lnTo>
                <a:close/>
              </a:path>
              <a:path w="1671320" h="220979">
                <a:moveTo>
                  <a:pt x="970915" y="64960"/>
                </a:moveTo>
                <a:lnTo>
                  <a:pt x="936218" y="65836"/>
                </a:lnTo>
                <a:lnTo>
                  <a:pt x="970915" y="65836"/>
                </a:lnTo>
                <a:lnTo>
                  <a:pt x="970915" y="64960"/>
                </a:lnTo>
                <a:close/>
              </a:path>
              <a:path w="1671320" h="220979">
                <a:moveTo>
                  <a:pt x="870902" y="0"/>
                </a:moveTo>
                <a:lnTo>
                  <a:pt x="837082" y="0"/>
                </a:lnTo>
                <a:lnTo>
                  <a:pt x="837082" y="30822"/>
                </a:lnTo>
                <a:lnTo>
                  <a:pt x="870902" y="30822"/>
                </a:lnTo>
                <a:lnTo>
                  <a:pt x="870902" y="0"/>
                </a:lnTo>
                <a:close/>
              </a:path>
              <a:path w="1671320" h="220979">
                <a:moveTo>
                  <a:pt x="868159" y="65836"/>
                </a:moveTo>
                <a:lnTo>
                  <a:pt x="839724" y="65836"/>
                </a:lnTo>
                <a:lnTo>
                  <a:pt x="839724" y="216001"/>
                </a:lnTo>
                <a:lnTo>
                  <a:pt x="868159" y="216001"/>
                </a:lnTo>
                <a:lnTo>
                  <a:pt x="868159" y="65836"/>
                </a:lnTo>
                <a:close/>
              </a:path>
              <a:path w="1671320" h="220979">
                <a:moveTo>
                  <a:pt x="732243" y="61328"/>
                </a:moveTo>
                <a:lnTo>
                  <a:pt x="700574" y="66280"/>
                </a:lnTo>
                <a:lnTo>
                  <a:pt x="674935" y="80740"/>
                </a:lnTo>
                <a:lnTo>
                  <a:pt x="657763" y="104115"/>
                </a:lnTo>
                <a:lnTo>
                  <a:pt x="651497" y="135813"/>
                </a:lnTo>
                <a:lnTo>
                  <a:pt x="656174" y="173903"/>
                </a:lnTo>
                <a:lnTo>
                  <a:pt x="670971" y="200232"/>
                </a:lnTo>
                <a:lnTo>
                  <a:pt x="697033" y="215511"/>
                </a:lnTo>
                <a:lnTo>
                  <a:pt x="735507" y="220446"/>
                </a:lnTo>
                <a:lnTo>
                  <a:pt x="748539" y="219805"/>
                </a:lnTo>
                <a:lnTo>
                  <a:pt x="793321" y="201449"/>
                </a:lnTo>
                <a:lnTo>
                  <a:pt x="803952" y="188442"/>
                </a:lnTo>
                <a:lnTo>
                  <a:pt x="731050" y="188442"/>
                </a:lnTo>
                <a:lnTo>
                  <a:pt x="717984" y="185523"/>
                </a:lnTo>
                <a:lnTo>
                  <a:pt x="709963" y="177646"/>
                </a:lnTo>
                <a:lnTo>
                  <a:pt x="705973" y="166127"/>
                </a:lnTo>
                <a:lnTo>
                  <a:pt x="705002" y="152285"/>
                </a:lnTo>
                <a:lnTo>
                  <a:pt x="812685" y="152285"/>
                </a:lnTo>
                <a:lnTo>
                  <a:pt x="809468" y="121780"/>
                </a:lnTo>
                <a:lnTo>
                  <a:pt x="706196" y="121780"/>
                </a:lnTo>
                <a:lnTo>
                  <a:pt x="708123" y="109710"/>
                </a:lnTo>
                <a:lnTo>
                  <a:pt x="712381" y="99709"/>
                </a:lnTo>
                <a:lnTo>
                  <a:pt x="720058" y="92739"/>
                </a:lnTo>
                <a:lnTo>
                  <a:pt x="732243" y="89763"/>
                </a:lnTo>
                <a:lnTo>
                  <a:pt x="740892" y="89141"/>
                </a:lnTo>
                <a:lnTo>
                  <a:pt x="796892" y="89141"/>
                </a:lnTo>
                <a:lnTo>
                  <a:pt x="795348" y="85828"/>
                </a:lnTo>
                <a:lnTo>
                  <a:pt x="770557" y="67673"/>
                </a:lnTo>
                <a:lnTo>
                  <a:pt x="732243" y="61328"/>
                </a:lnTo>
                <a:close/>
              </a:path>
              <a:path w="1671320" h="220979">
                <a:moveTo>
                  <a:pt x="811491" y="166941"/>
                </a:moveTo>
                <a:lnTo>
                  <a:pt x="758863" y="166941"/>
                </a:lnTo>
                <a:lnTo>
                  <a:pt x="755851" y="176226"/>
                </a:lnTo>
                <a:lnTo>
                  <a:pt x="750104" y="182959"/>
                </a:lnTo>
                <a:lnTo>
                  <a:pt x="741784" y="187058"/>
                </a:lnTo>
                <a:lnTo>
                  <a:pt x="731050" y="188442"/>
                </a:lnTo>
                <a:lnTo>
                  <a:pt x="803952" y="188442"/>
                </a:lnTo>
                <a:lnTo>
                  <a:pt x="808313" y="180493"/>
                </a:lnTo>
                <a:lnTo>
                  <a:pt x="811491" y="166941"/>
                </a:lnTo>
                <a:close/>
              </a:path>
              <a:path w="1671320" h="220979">
                <a:moveTo>
                  <a:pt x="796892" y="89141"/>
                </a:moveTo>
                <a:lnTo>
                  <a:pt x="740892" y="89141"/>
                </a:lnTo>
                <a:lnTo>
                  <a:pt x="747471" y="93027"/>
                </a:lnTo>
                <a:lnTo>
                  <a:pt x="756437" y="105613"/>
                </a:lnTo>
                <a:lnTo>
                  <a:pt x="758863" y="113690"/>
                </a:lnTo>
                <a:lnTo>
                  <a:pt x="758863" y="121780"/>
                </a:lnTo>
                <a:lnTo>
                  <a:pt x="809468" y="121780"/>
                </a:lnTo>
                <a:lnTo>
                  <a:pt x="808698" y="114472"/>
                </a:lnTo>
                <a:lnTo>
                  <a:pt x="796892" y="89141"/>
                </a:lnTo>
                <a:close/>
              </a:path>
              <a:path w="1671320" h="220979">
                <a:moveTo>
                  <a:pt x="606018" y="101727"/>
                </a:moveTo>
                <a:lnTo>
                  <a:pt x="549198" y="101727"/>
                </a:lnTo>
                <a:lnTo>
                  <a:pt x="549198" y="169011"/>
                </a:lnTo>
                <a:lnTo>
                  <a:pt x="551712" y="196475"/>
                </a:lnTo>
                <a:lnTo>
                  <a:pt x="563065" y="211997"/>
                </a:lnTo>
                <a:lnTo>
                  <a:pt x="582208" y="218885"/>
                </a:lnTo>
                <a:lnTo>
                  <a:pt x="608088" y="220446"/>
                </a:lnTo>
                <a:lnTo>
                  <a:pt x="614591" y="220319"/>
                </a:lnTo>
                <a:lnTo>
                  <a:pt x="621680" y="219857"/>
                </a:lnTo>
                <a:lnTo>
                  <a:pt x="629612" y="218941"/>
                </a:lnTo>
                <a:lnTo>
                  <a:pt x="638644" y="217449"/>
                </a:lnTo>
                <a:lnTo>
                  <a:pt x="638644" y="184556"/>
                </a:lnTo>
                <a:lnTo>
                  <a:pt x="616788" y="184556"/>
                </a:lnTo>
                <a:lnTo>
                  <a:pt x="609554" y="181461"/>
                </a:lnTo>
                <a:lnTo>
                  <a:pt x="606469" y="174359"/>
                </a:lnTo>
                <a:lnTo>
                  <a:pt x="605851" y="166527"/>
                </a:lnTo>
                <a:lnTo>
                  <a:pt x="606018" y="161239"/>
                </a:lnTo>
                <a:lnTo>
                  <a:pt x="606018" y="101727"/>
                </a:lnTo>
                <a:close/>
              </a:path>
              <a:path w="1671320" h="220979">
                <a:moveTo>
                  <a:pt x="638644" y="183680"/>
                </a:moveTo>
                <a:lnTo>
                  <a:pt x="632066" y="184556"/>
                </a:lnTo>
                <a:lnTo>
                  <a:pt x="638644" y="184556"/>
                </a:lnTo>
                <a:lnTo>
                  <a:pt x="638644" y="183680"/>
                </a:lnTo>
                <a:close/>
              </a:path>
              <a:path w="1671320" h="220979">
                <a:moveTo>
                  <a:pt x="638911" y="65836"/>
                </a:moveTo>
                <a:lnTo>
                  <a:pt x="519874" y="65836"/>
                </a:lnTo>
                <a:lnTo>
                  <a:pt x="519874" y="101727"/>
                </a:lnTo>
                <a:lnTo>
                  <a:pt x="638911" y="101727"/>
                </a:lnTo>
                <a:lnTo>
                  <a:pt x="638911" y="65836"/>
                </a:lnTo>
                <a:close/>
              </a:path>
              <a:path w="1671320" h="220979">
                <a:moveTo>
                  <a:pt x="606018" y="21551"/>
                </a:moveTo>
                <a:lnTo>
                  <a:pt x="549198" y="43103"/>
                </a:lnTo>
                <a:lnTo>
                  <a:pt x="549198" y="65836"/>
                </a:lnTo>
                <a:lnTo>
                  <a:pt x="606018" y="65836"/>
                </a:lnTo>
                <a:lnTo>
                  <a:pt x="606018" y="21551"/>
                </a:lnTo>
                <a:close/>
              </a:path>
              <a:path w="1671320" h="220979">
                <a:moveTo>
                  <a:pt x="422084" y="167208"/>
                </a:moveTo>
                <a:lnTo>
                  <a:pt x="368274" y="167208"/>
                </a:lnTo>
                <a:lnTo>
                  <a:pt x="374275" y="194841"/>
                </a:lnTo>
                <a:lnTo>
                  <a:pt x="390545" y="210996"/>
                </a:lnTo>
                <a:lnTo>
                  <a:pt x="413771" y="218566"/>
                </a:lnTo>
                <a:lnTo>
                  <a:pt x="440639" y="220446"/>
                </a:lnTo>
                <a:lnTo>
                  <a:pt x="466363" y="218239"/>
                </a:lnTo>
                <a:lnTo>
                  <a:pt x="489426" y="210399"/>
                </a:lnTo>
                <a:lnTo>
                  <a:pt x="506040" y="195098"/>
                </a:lnTo>
                <a:lnTo>
                  <a:pt x="507997" y="187553"/>
                </a:lnTo>
                <a:lnTo>
                  <a:pt x="434047" y="187553"/>
                </a:lnTo>
                <a:lnTo>
                  <a:pt x="429234" y="184556"/>
                </a:lnTo>
                <a:lnTo>
                  <a:pt x="422706" y="176784"/>
                </a:lnTo>
                <a:lnTo>
                  <a:pt x="421208" y="171704"/>
                </a:lnTo>
                <a:lnTo>
                  <a:pt x="422084" y="167208"/>
                </a:lnTo>
                <a:close/>
              </a:path>
              <a:path w="1671320" h="220979">
                <a:moveTo>
                  <a:pt x="439127" y="61328"/>
                </a:moveTo>
                <a:lnTo>
                  <a:pt x="415684" y="63503"/>
                </a:lnTo>
                <a:lnTo>
                  <a:pt x="393244" y="71069"/>
                </a:lnTo>
                <a:lnTo>
                  <a:pt x="376407" y="85588"/>
                </a:lnTo>
                <a:lnTo>
                  <a:pt x="369773" y="108623"/>
                </a:lnTo>
                <a:lnTo>
                  <a:pt x="383645" y="138030"/>
                </a:lnTo>
                <a:lnTo>
                  <a:pt x="414166" y="151647"/>
                </a:lnTo>
                <a:lnTo>
                  <a:pt x="444686" y="160040"/>
                </a:lnTo>
                <a:lnTo>
                  <a:pt x="458558" y="173774"/>
                </a:lnTo>
                <a:lnTo>
                  <a:pt x="458558" y="183362"/>
                </a:lnTo>
                <a:lnTo>
                  <a:pt x="450519" y="187553"/>
                </a:lnTo>
                <a:lnTo>
                  <a:pt x="507997" y="187553"/>
                </a:lnTo>
                <a:lnTo>
                  <a:pt x="512419" y="170510"/>
                </a:lnTo>
                <a:lnTo>
                  <a:pt x="510222" y="154506"/>
                </a:lnTo>
                <a:lnTo>
                  <a:pt x="504043" y="142805"/>
                </a:lnTo>
                <a:lnTo>
                  <a:pt x="494503" y="134637"/>
                </a:lnTo>
                <a:lnTo>
                  <a:pt x="482219" y="129235"/>
                </a:lnTo>
                <a:lnTo>
                  <a:pt x="458025" y="122749"/>
                </a:lnTo>
                <a:lnTo>
                  <a:pt x="439543" y="118460"/>
                </a:lnTo>
                <a:lnTo>
                  <a:pt x="427744" y="114174"/>
                </a:lnTo>
                <a:lnTo>
                  <a:pt x="423595" y="107696"/>
                </a:lnTo>
                <a:lnTo>
                  <a:pt x="423595" y="99034"/>
                </a:lnTo>
                <a:lnTo>
                  <a:pt x="428663" y="94221"/>
                </a:lnTo>
                <a:lnTo>
                  <a:pt x="505043" y="94221"/>
                </a:lnTo>
                <a:lnTo>
                  <a:pt x="502955" y="86697"/>
                </a:lnTo>
                <a:lnTo>
                  <a:pt x="487033" y="71162"/>
                </a:lnTo>
                <a:lnTo>
                  <a:pt x="464885" y="63426"/>
                </a:lnTo>
                <a:lnTo>
                  <a:pt x="439127" y="61328"/>
                </a:lnTo>
                <a:close/>
              </a:path>
              <a:path w="1671320" h="220979">
                <a:moveTo>
                  <a:pt x="505043" y="94221"/>
                </a:moveTo>
                <a:lnTo>
                  <a:pt x="444830" y="94221"/>
                </a:lnTo>
                <a:lnTo>
                  <a:pt x="449592" y="96342"/>
                </a:lnTo>
                <a:lnTo>
                  <a:pt x="452589" y="99606"/>
                </a:lnTo>
                <a:lnTo>
                  <a:pt x="455295" y="102616"/>
                </a:lnTo>
                <a:lnTo>
                  <a:pt x="456171" y="107111"/>
                </a:lnTo>
                <a:lnTo>
                  <a:pt x="456171" y="112191"/>
                </a:lnTo>
                <a:lnTo>
                  <a:pt x="510032" y="112191"/>
                </a:lnTo>
                <a:lnTo>
                  <a:pt x="505043" y="94221"/>
                </a:lnTo>
                <a:close/>
              </a:path>
              <a:path w="1671320" h="220979">
                <a:moveTo>
                  <a:pt x="273646" y="61328"/>
                </a:moveTo>
                <a:lnTo>
                  <a:pt x="240176" y="65980"/>
                </a:lnTo>
                <a:lnTo>
                  <a:pt x="212356" y="80365"/>
                </a:lnTo>
                <a:lnTo>
                  <a:pt x="193347" y="105123"/>
                </a:lnTo>
                <a:lnTo>
                  <a:pt x="186309" y="140893"/>
                </a:lnTo>
                <a:lnTo>
                  <a:pt x="193347" y="176657"/>
                </a:lnTo>
                <a:lnTo>
                  <a:pt x="212356" y="201410"/>
                </a:lnTo>
                <a:lnTo>
                  <a:pt x="240176" y="215794"/>
                </a:lnTo>
                <a:lnTo>
                  <a:pt x="273646" y="220446"/>
                </a:lnTo>
                <a:lnTo>
                  <a:pt x="307083" y="215794"/>
                </a:lnTo>
                <a:lnTo>
                  <a:pt x="334902" y="201410"/>
                </a:lnTo>
                <a:lnTo>
                  <a:pt x="345551" y="187553"/>
                </a:lnTo>
                <a:lnTo>
                  <a:pt x="273646" y="187553"/>
                </a:lnTo>
                <a:lnTo>
                  <a:pt x="259005" y="183249"/>
                </a:lnTo>
                <a:lnTo>
                  <a:pt x="250134" y="172186"/>
                </a:lnTo>
                <a:lnTo>
                  <a:pt x="245752" y="157142"/>
                </a:lnTo>
                <a:lnTo>
                  <a:pt x="244576" y="140893"/>
                </a:lnTo>
                <a:lnTo>
                  <a:pt x="245752" y="124642"/>
                </a:lnTo>
                <a:lnTo>
                  <a:pt x="250134" y="109594"/>
                </a:lnTo>
                <a:lnTo>
                  <a:pt x="259005" y="98527"/>
                </a:lnTo>
                <a:lnTo>
                  <a:pt x="273646" y="94221"/>
                </a:lnTo>
                <a:lnTo>
                  <a:pt x="345548" y="94221"/>
                </a:lnTo>
                <a:lnTo>
                  <a:pt x="334902" y="80365"/>
                </a:lnTo>
                <a:lnTo>
                  <a:pt x="307083" y="65980"/>
                </a:lnTo>
                <a:lnTo>
                  <a:pt x="273646" y="61328"/>
                </a:lnTo>
                <a:close/>
              </a:path>
              <a:path w="1671320" h="220979">
                <a:moveTo>
                  <a:pt x="99288" y="0"/>
                </a:moveTo>
                <a:lnTo>
                  <a:pt x="0" y="0"/>
                </a:lnTo>
                <a:lnTo>
                  <a:pt x="0" y="215988"/>
                </a:lnTo>
                <a:lnTo>
                  <a:pt x="59766" y="215988"/>
                </a:lnTo>
                <a:lnTo>
                  <a:pt x="59766" y="138823"/>
                </a:lnTo>
                <a:lnTo>
                  <a:pt x="99288" y="138823"/>
                </a:lnTo>
                <a:lnTo>
                  <a:pt x="135284" y="135342"/>
                </a:lnTo>
                <a:lnTo>
                  <a:pt x="162915" y="123755"/>
                </a:lnTo>
                <a:lnTo>
                  <a:pt x="180630" y="102347"/>
                </a:lnTo>
                <a:lnTo>
                  <a:pt x="181661" y="96913"/>
                </a:lnTo>
                <a:lnTo>
                  <a:pt x="59766" y="96913"/>
                </a:lnTo>
                <a:lnTo>
                  <a:pt x="59766" y="41910"/>
                </a:lnTo>
                <a:lnTo>
                  <a:pt x="181659" y="41910"/>
                </a:lnTo>
                <a:lnTo>
                  <a:pt x="180630" y="36492"/>
                </a:lnTo>
                <a:lnTo>
                  <a:pt x="162915" y="15086"/>
                </a:lnTo>
                <a:lnTo>
                  <a:pt x="135284" y="3488"/>
                </a:lnTo>
                <a:lnTo>
                  <a:pt x="99288" y="0"/>
                </a:lnTo>
                <a:close/>
              </a:path>
              <a:path w="1671320" h="220979">
                <a:moveTo>
                  <a:pt x="345548" y="94221"/>
                </a:moveTo>
                <a:lnTo>
                  <a:pt x="273646" y="94221"/>
                </a:lnTo>
                <a:lnTo>
                  <a:pt x="288265" y="98527"/>
                </a:lnTo>
                <a:lnTo>
                  <a:pt x="297111" y="109594"/>
                </a:lnTo>
                <a:lnTo>
                  <a:pt x="301473" y="124642"/>
                </a:lnTo>
                <a:lnTo>
                  <a:pt x="302641" y="140893"/>
                </a:lnTo>
                <a:lnTo>
                  <a:pt x="301473" y="157142"/>
                </a:lnTo>
                <a:lnTo>
                  <a:pt x="297111" y="172186"/>
                </a:lnTo>
                <a:lnTo>
                  <a:pt x="288265" y="183249"/>
                </a:lnTo>
                <a:lnTo>
                  <a:pt x="273646" y="187553"/>
                </a:lnTo>
                <a:lnTo>
                  <a:pt x="345551" y="187553"/>
                </a:lnTo>
                <a:lnTo>
                  <a:pt x="353924" y="176657"/>
                </a:lnTo>
                <a:lnTo>
                  <a:pt x="360972" y="140893"/>
                </a:lnTo>
                <a:lnTo>
                  <a:pt x="353924" y="105123"/>
                </a:lnTo>
                <a:lnTo>
                  <a:pt x="345548" y="94221"/>
                </a:lnTo>
                <a:close/>
              </a:path>
              <a:path w="1671320" h="220979">
                <a:moveTo>
                  <a:pt x="181659" y="41910"/>
                </a:moveTo>
                <a:lnTo>
                  <a:pt x="90589" y="41910"/>
                </a:lnTo>
                <a:lnTo>
                  <a:pt x="105791" y="44347"/>
                </a:lnTo>
                <a:lnTo>
                  <a:pt x="116205" y="50042"/>
                </a:lnTo>
                <a:lnTo>
                  <a:pt x="122189" y="58546"/>
                </a:lnTo>
                <a:lnTo>
                  <a:pt x="124104" y="69405"/>
                </a:lnTo>
                <a:lnTo>
                  <a:pt x="122189" y="80272"/>
                </a:lnTo>
                <a:lnTo>
                  <a:pt x="116205" y="88779"/>
                </a:lnTo>
                <a:lnTo>
                  <a:pt x="105791" y="94476"/>
                </a:lnTo>
                <a:lnTo>
                  <a:pt x="90589" y="96913"/>
                </a:lnTo>
                <a:lnTo>
                  <a:pt x="181661" y="96913"/>
                </a:lnTo>
                <a:lnTo>
                  <a:pt x="186880" y="69405"/>
                </a:lnTo>
                <a:lnTo>
                  <a:pt x="181659" y="41910"/>
                </a:lnTo>
                <a:close/>
              </a:path>
            </a:pathLst>
          </a:custGeom>
          <a:solidFill>
            <a:srgbClr val="004BBA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venir Next LT Pro" pitchFamily="2" charset="0"/>
              <a:ea typeface="+mn-ea"/>
              <a:cs typeface="+mn-cs"/>
            </a:endParaRPr>
          </a:p>
        </p:txBody>
      </p:sp>
      <p:sp>
        <p:nvSpPr>
          <p:cNvPr id="55" name="Segnaposto testo 14">
            <a:extLst>
              <a:ext uri="{FF2B5EF4-FFF2-40B4-BE49-F238E27FC236}">
                <a16:creationId xmlns:a16="http://schemas.microsoft.com/office/drawing/2014/main" id="{0804B4FD-CB00-D73E-8217-65CAFF83A7E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332219" y="1030324"/>
            <a:ext cx="5488307" cy="253202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4800" b="0" i="0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5100" b="0" i="0">
                <a:solidFill>
                  <a:schemeClr val="bg1"/>
                </a:solidFill>
                <a:latin typeface="Avenir Next LT Pro" panose="020B0504020202020204" pitchFamily="34" charset="77"/>
              </a:defRPr>
            </a:lvl2pPr>
            <a:lvl3pPr marL="914400" indent="0">
              <a:buNone/>
              <a:defRPr sz="5100" b="0" i="0">
                <a:solidFill>
                  <a:schemeClr val="bg1"/>
                </a:solidFill>
                <a:latin typeface="Avenir Next LT Pro" panose="020B0504020202020204" pitchFamily="34" charset="77"/>
              </a:defRPr>
            </a:lvl3pPr>
            <a:lvl4pPr marL="1371600" indent="0">
              <a:buNone/>
              <a:defRPr sz="5100" b="0" i="0">
                <a:solidFill>
                  <a:schemeClr val="bg1"/>
                </a:solidFill>
                <a:latin typeface="Avenir Next LT Pro" panose="020B0504020202020204" pitchFamily="34" charset="77"/>
              </a:defRPr>
            </a:lvl4pPr>
            <a:lvl5pPr marL="1828800" indent="0">
              <a:buNone/>
              <a:defRPr sz="5100" b="0" i="0">
                <a:solidFill>
                  <a:schemeClr val="bg1"/>
                </a:solidFill>
                <a:latin typeface="Avenir Next LT Pro" panose="020B0504020202020204" pitchFamily="34" charset="77"/>
              </a:defRPr>
            </a:lvl5pPr>
          </a:lstStyle>
          <a:p>
            <a:pPr lvl="0"/>
            <a:r>
              <a:rPr lang="it-IT" dirty="0"/>
              <a:t>FARE CLIC PER MODIFICARE IL TITOLO</a:t>
            </a:r>
          </a:p>
        </p:txBody>
      </p:sp>
      <p:sp>
        <p:nvSpPr>
          <p:cNvPr id="56" name="Segnaposto testo 2">
            <a:extLst>
              <a:ext uri="{FF2B5EF4-FFF2-40B4-BE49-F238E27FC236}">
                <a16:creationId xmlns:a16="http://schemas.microsoft.com/office/drawing/2014/main" id="{332B5452-BC6A-689B-4BCC-A40D0630FF3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332220" y="4705921"/>
            <a:ext cx="5488306" cy="139858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lang="it-IT" sz="4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it-IT" dirty="0"/>
          </a:p>
        </p:txBody>
      </p:sp>
      <p:sp>
        <p:nvSpPr>
          <p:cNvPr id="57" name="Segnaposto testo 2">
            <a:extLst>
              <a:ext uri="{FF2B5EF4-FFF2-40B4-BE49-F238E27FC236}">
                <a16:creationId xmlns:a16="http://schemas.microsoft.com/office/drawing/2014/main" id="{94047AA7-1668-C38E-E78C-1201EFEA402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332219" y="3562350"/>
            <a:ext cx="5488307" cy="40481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it-IT" dirty="0"/>
              <a:t>Fare clic per modificare la Data</a:t>
            </a:r>
          </a:p>
        </p:txBody>
      </p:sp>
      <p:sp>
        <p:nvSpPr>
          <p:cNvPr id="3" name="Segnaposto immagine 2">
            <a:extLst>
              <a:ext uri="{FF2B5EF4-FFF2-40B4-BE49-F238E27FC236}">
                <a16:creationId xmlns:a16="http://schemas.microsoft.com/office/drawing/2014/main" id="{64F8C71A-813D-D86E-2A1B-B77AFFE5EAE1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252549"/>
            <a:ext cx="6096000" cy="6858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31218814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g object 18">
            <a:extLst>
              <a:ext uri="{FF2B5EF4-FFF2-40B4-BE49-F238E27FC236}">
                <a16:creationId xmlns:a16="http://schemas.microsoft.com/office/drawing/2014/main" id="{2CCD846E-5B81-7F4C-A437-BDD274941C8E}"/>
              </a:ext>
            </a:extLst>
          </p:cNvPr>
          <p:cNvSpPr/>
          <p:nvPr/>
        </p:nvSpPr>
        <p:spPr>
          <a:xfrm>
            <a:off x="5958166" y="3751300"/>
            <a:ext cx="192303" cy="192303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bg object 19">
            <a:extLst>
              <a:ext uri="{FF2B5EF4-FFF2-40B4-BE49-F238E27FC236}">
                <a16:creationId xmlns:a16="http://schemas.microsoft.com/office/drawing/2014/main" id="{62C90728-0C15-6542-9622-049B9BC0E9F3}"/>
              </a:ext>
            </a:extLst>
          </p:cNvPr>
          <p:cNvSpPr/>
          <p:nvPr/>
        </p:nvSpPr>
        <p:spPr>
          <a:xfrm>
            <a:off x="5112613" y="3751554"/>
            <a:ext cx="193014" cy="193027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" name="bg object 20">
            <a:extLst>
              <a:ext uri="{FF2B5EF4-FFF2-40B4-BE49-F238E27FC236}">
                <a16:creationId xmlns:a16="http://schemas.microsoft.com/office/drawing/2014/main" id="{BF117CFF-8133-514E-A83A-32930B10866C}"/>
              </a:ext>
            </a:extLst>
          </p:cNvPr>
          <p:cNvSpPr/>
          <p:nvPr/>
        </p:nvSpPr>
        <p:spPr>
          <a:xfrm>
            <a:off x="5365744" y="3744455"/>
            <a:ext cx="295910" cy="207010"/>
          </a:xfrm>
          <a:custGeom>
            <a:avLst/>
            <a:gdLst/>
            <a:ahLst/>
            <a:cxnLst/>
            <a:rect l="l" t="t" r="r" b="b"/>
            <a:pathLst>
              <a:path w="295910" h="207010">
                <a:moveTo>
                  <a:pt x="147655" y="0"/>
                </a:moveTo>
                <a:lnTo>
                  <a:pt x="93873" y="96"/>
                </a:lnTo>
                <a:lnTo>
                  <a:pt x="46969" y="2603"/>
                </a:lnTo>
                <a:lnTo>
                  <a:pt x="9810" y="23329"/>
                </a:lnTo>
                <a:lnTo>
                  <a:pt x="676" y="76506"/>
                </a:lnTo>
                <a:lnTo>
                  <a:pt x="0" y="95555"/>
                </a:lnTo>
                <a:lnTo>
                  <a:pt x="0" y="131586"/>
                </a:lnTo>
                <a:lnTo>
                  <a:pt x="6088" y="174548"/>
                </a:lnTo>
                <a:lnTo>
                  <a:pt x="59963" y="204241"/>
                </a:lnTo>
                <a:lnTo>
                  <a:pt x="98571" y="206073"/>
                </a:lnTo>
                <a:lnTo>
                  <a:pt x="147655" y="206844"/>
                </a:lnTo>
                <a:lnTo>
                  <a:pt x="201444" y="206748"/>
                </a:lnTo>
                <a:lnTo>
                  <a:pt x="248348" y="204241"/>
                </a:lnTo>
                <a:lnTo>
                  <a:pt x="285504" y="183516"/>
                </a:lnTo>
                <a:lnTo>
                  <a:pt x="293270" y="147751"/>
                </a:lnTo>
                <a:lnTo>
                  <a:pt x="118102" y="147751"/>
                </a:lnTo>
                <a:lnTo>
                  <a:pt x="118102" y="59105"/>
                </a:lnTo>
                <a:lnTo>
                  <a:pt x="294660" y="59105"/>
                </a:lnTo>
                <a:lnTo>
                  <a:pt x="294635" y="58475"/>
                </a:lnTo>
                <a:lnTo>
                  <a:pt x="279663" y="15743"/>
                </a:lnTo>
                <a:lnTo>
                  <a:pt x="235351" y="2603"/>
                </a:lnTo>
                <a:lnTo>
                  <a:pt x="196743" y="771"/>
                </a:lnTo>
                <a:lnTo>
                  <a:pt x="162455" y="96"/>
                </a:lnTo>
                <a:lnTo>
                  <a:pt x="147655" y="0"/>
                </a:lnTo>
                <a:close/>
              </a:path>
              <a:path w="295910" h="207010">
                <a:moveTo>
                  <a:pt x="294660" y="59105"/>
                </a:moveTo>
                <a:lnTo>
                  <a:pt x="118102" y="59105"/>
                </a:lnTo>
                <a:lnTo>
                  <a:pt x="194873" y="103428"/>
                </a:lnTo>
                <a:lnTo>
                  <a:pt x="118102" y="147751"/>
                </a:lnTo>
                <a:lnTo>
                  <a:pt x="293270" y="147751"/>
                </a:lnTo>
                <a:lnTo>
                  <a:pt x="294635" y="130349"/>
                </a:lnTo>
                <a:lnTo>
                  <a:pt x="295310" y="111301"/>
                </a:lnTo>
                <a:lnTo>
                  <a:pt x="295310" y="75271"/>
                </a:lnTo>
                <a:lnTo>
                  <a:pt x="294660" y="59105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" name="bg object 21">
            <a:extLst>
              <a:ext uri="{FF2B5EF4-FFF2-40B4-BE49-F238E27FC236}">
                <a16:creationId xmlns:a16="http://schemas.microsoft.com/office/drawing/2014/main" id="{C9F2E90E-78A9-7D4A-9CDF-092310BB54A8}"/>
              </a:ext>
            </a:extLst>
          </p:cNvPr>
          <p:cNvSpPr/>
          <p:nvPr/>
        </p:nvSpPr>
        <p:spPr>
          <a:xfrm>
            <a:off x="5709107" y="3753065"/>
            <a:ext cx="194589" cy="194576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17" name="Immagine 16">
            <a:extLst>
              <a:ext uri="{FF2B5EF4-FFF2-40B4-BE49-F238E27FC236}">
                <a16:creationId xmlns:a16="http://schemas.microsoft.com/office/drawing/2014/main" id="{9765C395-E53E-0345-B487-281FDEAAECB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23062" y="3114702"/>
            <a:ext cx="3271533" cy="430771"/>
          </a:xfrm>
          <a:prstGeom prst="rect">
            <a:avLst/>
          </a:prstGeom>
        </p:spPr>
      </p:pic>
      <p:sp>
        <p:nvSpPr>
          <p:cNvPr id="18" name="object 2">
            <a:extLst>
              <a:ext uri="{FF2B5EF4-FFF2-40B4-BE49-F238E27FC236}">
                <a16:creationId xmlns:a16="http://schemas.microsoft.com/office/drawing/2014/main" id="{0B2E9E39-C6E7-8C49-A48E-500AA5B955C0}"/>
              </a:ext>
            </a:extLst>
          </p:cNvPr>
          <p:cNvSpPr txBox="1"/>
          <p:nvPr/>
        </p:nvSpPr>
        <p:spPr>
          <a:xfrm>
            <a:off x="6235426" y="3724028"/>
            <a:ext cx="1705415" cy="200696"/>
          </a:xfrm>
          <a:prstGeom prst="rect">
            <a:avLst/>
          </a:prstGeom>
        </p:spPr>
        <p:txBody>
          <a:bodyPr vert="horz" wrap="square" lIns="0" tIns="15875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12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200" b="0" i="0" u="none" strike="noStrike" kern="1200" cap="none" spc="2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 pitchFamily="2" charset="0"/>
                <a:ea typeface="+mn-ea"/>
                <a:cs typeface="Trebuchet MS"/>
              </a:rPr>
              <a:t>poste</a:t>
            </a:r>
            <a:r>
              <a:rPr kumimoji="0" lang="it-IT" sz="1200" b="0" i="0" u="none" strike="noStrike" kern="1200" cap="none" spc="2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 pitchFamily="2" charset="0"/>
                <a:ea typeface="+mn-ea"/>
                <a:cs typeface="Trebuchet MS"/>
              </a:rPr>
              <a:t>italiane</a:t>
            </a:r>
            <a:r>
              <a:rPr kumimoji="0" sz="1200" b="0" i="0" u="none" strike="noStrike" kern="1200" cap="none" spc="2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 pitchFamily="2" charset="0"/>
                <a:ea typeface="+mn-ea"/>
                <a:cs typeface="Trebuchet MS"/>
              </a:rPr>
              <a:t>.it</a:t>
            </a:r>
            <a:endParaRPr kumimoji="0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venir Next LT Pro" pitchFamily="2" charset="0"/>
              <a:ea typeface="+mn-ea"/>
              <a:cs typeface="Trebuchet MS"/>
            </a:endParaRPr>
          </a:p>
        </p:txBody>
      </p:sp>
      <p:sp>
        <p:nvSpPr>
          <p:cNvPr id="9" name="bg object 18">
            <a:extLst>
              <a:ext uri="{FF2B5EF4-FFF2-40B4-BE49-F238E27FC236}">
                <a16:creationId xmlns:a16="http://schemas.microsoft.com/office/drawing/2014/main" id="{138BA5F2-6862-1741-9234-412FAEC4D3E1}"/>
              </a:ext>
            </a:extLst>
          </p:cNvPr>
          <p:cNvSpPr/>
          <p:nvPr/>
        </p:nvSpPr>
        <p:spPr>
          <a:xfrm>
            <a:off x="5958166" y="3751300"/>
            <a:ext cx="192303" cy="192303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bg object 19">
            <a:extLst>
              <a:ext uri="{FF2B5EF4-FFF2-40B4-BE49-F238E27FC236}">
                <a16:creationId xmlns:a16="http://schemas.microsoft.com/office/drawing/2014/main" id="{EF6A6D18-128F-2444-8F49-85EAD6D3CEBC}"/>
              </a:ext>
            </a:extLst>
          </p:cNvPr>
          <p:cNvSpPr/>
          <p:nvPr/>
        </p:nvSpPr>
        <p:spPr>
          <a:xfrm>
            <a:off x="5112613" y="3751554"/>
            <a:ext cx="193014" cy="193027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bg object 20">
            <a:extLst>
              <a:ext uri="{FF2B5EF4-FFF2-40B4-BE49-F238E27FC236}">
                <a16:creationId xmlns:a16="http://schemas.microsoft.com/office/drawing/2014/main" id="{2A846971-6326-8C4E-8C3B-3835801C8CDE}"/>
              </a:ext>
            </a:extLst>
          </p:cNvPr>
          <p:cNvSpPr/>
          <p:nvPr/>
        </p:nvSpPr>
        <p:spPr>
          <a:xfrm>
            <a:off x="5365744" y="3744455"/>
            <a:ext cx="295910" cy="207010"/>
          </a:xfrm>
          <a:custGeom>
            <a:avLst/>
            <a:gdLst/>
            <a:ahLst/>
            <a:cxnLst/>
            <a:rect l="l" t="t" r="r" b="b"/>
            <a:pathLst>
              <a:path w="295910" h="207010">
                <a:moveTo>
                  <a:pt x="147655" y="0"/>
                </a:moveTo>
                <a:lnTo>
                  <a:pt x="93873" y="96"/>
                </a:lnTo>
                <a:lnTo>
                  <a:pt x="46969" y="2603"/>
                </a:lnTo>
                <a:lnTo>
                  <a:pt x="9810" y="23329"/>
                </a:lnTo>
                <a:lnTo>
                  <a:pt x="676" y="76506"/>
                </a:lnTo>
                <a:lnTo>
                  <a:pt x="0" y="95555"/>
                </a:lnTo>
                <a:lnTo>
                  <a:pt x="0" y="131586"/>
                </a:lnTo>
                <a:lnTo>
                  <a:pt x="6088" y="174548"/>
                </a:lnTo>
                <a:lnTo>
                  <a:pt x="59963" y="204241"/>
                </a:lnTo>
                <a:lnTo>
                  <a:pt x="98571" y="206073"/>
                </a:lnTo>
                <a:lnTo>
                  <a:pt x="147655" y="206844"/>
                </a:lnTo>
                <a:lnTo>
                  <a:pt x="201444" y="206748"/>
                </a:lnTo>
                <a:lnTo>
                  <a:pt x="248348" y="204241"/>
                </a:lnTo>
                <a:lnTo>
                  <a:pt x="285504" y="183516"/>
                </a:lnTo>
                <a:lnTo>
                  <a:pt x="293270" y="147751"/>
                </a:lnTo>
                <a:lnTo>
                  <a:pt x="118102" y="147751"/>
                </a:lnTo>
                <a:lnTo>
                  <a:pt x="118102" y="59105"/>
                </a:lnTo>
                <a:lnTo>
                  <a:pt x="294660" y="59105"/>
                </a:lnTo>
                <a:lnTo>
                  <a:pt x="294635" y="58475"/>
                </a:lnTo>
                <a:lnTo>
                  <a:pt x="279663" y="15743"/>
                </a:lnTo>
                <a:lnTo>
                  <a:pt x="235351" y="2603"/>
                </a:lnTo>
                <a:lnTo>
                  <a:pt x="196743" y="771"/>
                </a:lnTo>
                <a:lnTo>
                  <a:pt x="162455" y="96"/>
                </a:lnTo>
                <a:lnTo>
                  <a:pt x="147655" y="0"/>
                </a:lnTo>
                <a:close/>
              </a:path>
              <a:path w="295910" h="207010">
                <a:moveTo>
                  <a:pt x="294660" y="59105"/>
                </a:moveTo>
                <a:lnTo>
                  <a:pt x="118102" y="59105"/>
                </a:lnTo>
                <a:lnTo>
                  <a:pt x="194873" y="103428"/>
                </a:lnTo>
                <a:lnTo>
                  <a:pt x="118102" y="147751"/>
                </a:lnTo>
                <a:lnTo>
                  <a:pt x="293270" y="147751"/>
                </a:lnTo>
                <a:lnTo>
                  <a:pt x="294635" y="130349"/>
                </a:lnTo>
                <a:lnTo>
                  <a:pt x="295310" y="111301"/>
                </a:lnTo>
                <a:lnTo>
                  <a:pt x="295310" y="75271"/>
                </a:lnTo>
                <a:lnTo>
                  <a:pt x="294660" y="59105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bg object 21">
            <a:extLst>
              <a:ext uri="{FF2B5EF4-FFF2-40B4-BE49-F238E27FC236}">
                <a16:creationId xmlns:a16="http://schemas.microsoft.com/office/drawing/2014/main" id="{35EC8E2F-97DA-9C4C-8240-5C7D9E6F0E09}"/>
              </a:ext>
            </a:extLst>
          </p:cNvPr>
          <p:cNvSpPr/>
          <p:nvPr/>
        </p:nvSpPr>
        <p:spPr>
          <a:xfrm>
            <a:off x="5709107" y="3753065"/>
            <a:ext cx="194589" cy="194576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19" name="Immagine 18">
            <a:extLst>
              <a:ext uri="{FF2B5EF4-FFF2-40B4-BE49-F238E27FC236}">
                <a16:creationId xmlns:a16="http://schemas.microsoft.com/office/drawing/2014/main" id="{26139539-553B-5B44-91E2-280DB4F35B1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23062" y="3114702"/>
            <a:ext cx="3271533" cy="430771"/>
          </a:xfrm>
          <a:prstGeom prst="rect">
            <a:avLst/>
          </a:prstGeom>
        </p:spPr>
      </p:pic>
      <p:sp>
        <p:nvSpPr>
          <p:cNvPr id="20" name="object 2">
            <a:extLst>
              <a:ext uri="{FF2B5EF4-FFF2-40B4-BE49-F238E27FC236}">
                <a16:creationId xmlns:a16="http://schemas.microsoft.com/office/drawing/2014/main" id="{12603F04-F530-3949-BFF4-DFEB7FDAD7C8}"/>
              </a:ext>
            </a:extLst>
          </p:cNvPr>
          <p:cNvSpPr txBox="1"/>
          <p:nvPr/>
        </p:nvSpPr>
        <p:spPr>
          <a:xfrm>
            <a:off x="6235426" y="3724028"/>
            <a:ext cx="1705415" cy="200696"/>
          </a:xfrm>
          <a:prstGeom prst="rect">
            <a:avLst/>
          </a:prstGeom>
        </p:spPr>
        <p:txBody>
          <a:bodyPr vert="horz" wrap="square" lIns="0" tIns="15875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12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200" b="0" i="0" u="none" strike="noStrike" kern="1200" cap="none" spc="2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 pitchFamily="2" charset="0"/>
                <a:ea typeface="+mn-ea"/>
                <a:cs typeface="Trebuchet MS"/>
              </a:rPr>
              <a:t>poste</a:t>
            </a:r>
            <a:r>
              <a:rPr kumimoji="0" lang="it-IT" sz="1200" b="0" i="0" u="none" strike="noStrike" kern="1200" cap="none" spc="2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 pitchFamily="2" charset="0"/>
                <a:ea typeface="+mn-ea"/>
                <a:cs typeface="Trebuchet MS"/>
              </a:rPr>
              <a:t>italiane</a:t>
            </a:r>
            <a:r>
              <a:rPr kumimoji="0" sz="1200" b="0" i="0" u="none" strike="noStrike" kern="1200" cap="none" spc="2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 pitchFamily="2" charset="0"/>
                <a:ea typeface="+mn-ea"/>
                <a:cs typeface="Trebuchet MS"/>
              </a:rPr>
              <a:t>.it</a:t>
            </a:r>
            <a:endParaRPr kumimoji="0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venir Next LT Pro" pitchFamily="2" charset="0"/>
              <a:ea typeface="+mn-ea"/>
              <a:cs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2029915216"/>
      </p:ext>
    </p:extLst>
  </p:cSld>
  <p:clrMapOvr>
    <a:masterClrMapping/>
  </p:clrMapOvr>
  <p:hf hdr="0" ftr="0" dt="0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object 6">
            <a:extLst>
              <a:ext uri="{FF2B5EF4-FFF2-40B4-BE49-F238E27FC236}">
                <a16:creationId xmlns:a16="http://schemas.microsoft.com/office/drawing/2014/main" id="{1AE5F14E-740F-0E41-8C38-587A30BF8AA1}"/>
              </a:ext>
            </a:extLst>
          </p:cNvPr>
          <p:cNvSpPr/>
          <p:nvPr userDrawn="1"/>
        </p:nvSpPr>
        <p:spPr>
          <a:xfrm>
            <a:off x="12111981" y="6771644"/>
            <a:ext cx="80645" cy="86360"/>
          </a:xfrm>
          <a:custGeom>
            <a:avLst/>
            <a:gdLst/>
            <a:ahLst/>
            <a:cxnLst/>
            <a:rect l="l" t="t" r="r" b="b"/>
            <a:pathLst>
              <a:path w="80645" h="86359">
                <a:moveTo>
                  <a:pt x="0" y="86355"/>
                </a:moveTo>
                <a:lnTo>
                  <a:pt x="41642" y="42245"/>
                </a:lnTo>
                <a:lnTo>
                  <a:pt x="80018" y="0"/>
                </a:lnTo>
              </a:path>
            </a:pathLst>
          </a:custGeom>
          <a:ln w="1270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venir Next LT Pro" pitchFamily="2" charset="0"/>
              <a:ea typeface="+mn-ea"/>
              <a:cs typeface="+mn-cs"/>
            </a:endParaRPr>
          </a:p>
        </p:txBody>
      </p:sp>
      <p:sp>
        <p:nvSpPr>
          <p:cNvPr id="17" name="object 7">
            <a:extLst>
              <a:ext uri="{FF2B5EF4-FFF2-40B4-BE49-F238E27FC236}">
                <a16:creationId xmlns:a16="http://schemas.microsoft.com/office/drawing/2014/main" id="{DE83A2F6-C582-7744-8354-AA53D6C0AABC}"/>
              </a:ext>
            </a:extLst>
          </p:cNvPr>
          <p:cNvSpPr/>
          <p:nvPr userDrawn="1"/>
        </p:nvSpPr>
        <p:spPr>
          <a:xfrm>
            <a:off x="11918422" y="6559810"/>
            <a:ext cx="273685" cy="298450"/>
          </a:xfrm>
          <a:custGeom>
            <a:avLst/>
            <a:gdLst/>
            <a:ahLst/>
            <a:cxnLst/>
            <a:rect l="l" t="t" r="r" b="b"/>
            <a:pathLst>
              <a:path w="273684" h="298450">
                <a:moveTo>
                  <a:pt x="0" y="298189"/>
                </a:moveTo>
                <a:lnTo>
                  <a:pt x="69408" y="225749"/>
                </a:lnTo>
                <a:lnTo>
                  <a:pt x="172330" y="114116"/>
                </a:lnTo>
                <a:lnTo>
                  <a:pt x="273577" y="0"/>
                </a:lnTo>
              </a:path>
            </a:pathLst>
          </a:custGeom>
          <a:ln w="1270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venir Next LT Pro" pitchFamily="2" charset="0"/>
              <a:ea typeface="+mn-ea"/>
              <a:cs typeface="+mn-cs"/>
            </a:endParaRPr>
          </a:p>
        </p:txBody>
      </p:sp>
      <p:sp>
        <p:nvSpPr>
          <p:cNvPr id="18" name="object 8">
            <a:extLst>
              <a:ext uri="{FF2B5EF4-FFF2-40B4-BE49-F238E27FC236}">
                <a16:creationId xmlns:a16="http://schemas.microsoft.com/office/drawing/2014/main" id="{75564EB7-B178-F540-9017-F84ABD06A624}"/>
              </a:ext>
            </a:extLst>
          </p:cNvPr>
          <p:cNvSpPr/>
          <p:nvPr userDrawn="1"/>
        </p:nvSpPr>
        <p:spPr>
          <a:xfrm>
            <a:off x="11724016" y="6340674"/>
            <a:ext cx="467995" cy="517525"/>
          </a:xfrm>
          <a:custGeom>
            <a:avLst/>
            <a:gdLst/>
            <a:ahLst/>
            <a:cxnLst/>
            <a:rect l="l" t="t" r="r" b="b"/>
            <a:pathLst>
              <a:path w="467995" h="517525">
                <a:moveTo>
                  <a:pt x="0" y="517325"/>
                </a:moveTo>
                <a:lnTo>
                  <a:pt x="98020" y="416558"/>
                </a:lnTo>
                <a:lnTo>
                  <a:pt x="200645" y="306920"/>
                </a:lnTo>
                <a:lnTo>
                  <a:pt x="302075" y="194322"/>
                </a:lnTo>
                <a:lnTo>
                  <a:pt x="402286" y="78734"/>
                </a:lnTo>
                <a:lnTo>
                  <a:pt x="467983" y="0"/>
                </a:lnTo>
              </a:path>
            </a:pathLst>
          </a:custGeom>
          <a:ln w="1270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venir Next LT Pro" pitchFamily="2" charset="0"/>
              <a:ea typeface="+mn-ea"/>
              <a:cs typeface="+mn-cs"/>
            </a:endParaRPr>
          </a:p>
        </p:txBody>
      </p:sp>
      <p:sp>
        <p:nvSpPr>
          <p:cNvPr id="19" name="object 9">
            <a:extLst>
              <a:ext uri="{FF2B5EF4-FFF2-40B4-BE49-F238E27FC236}">
                <a16:creationId xmlns:a16="http://schemas.microsoft.com/office/drawing/2014/main" id="{5FD1D1CE-5F71-7944-8856-04A9F1DEA034}"/>
              </a:ext>
            </a:extLst>
          </p:cNvPr>
          <p:cNvSpPr/>
          <p:nvPr userDrawn="1"/>
        </p:nvSpPr>
        <p:spPr>
          <a:xfrm>
            <a:off x="11527764" y="6115261"/>
            <a:ext cx="664845" cy="742950"/>
          </a:xfrm>
          <a:custGeom>
            <a:avLst/>
            <a:gdLst/>
            <a:ahLst/>
            <a:cxnLst/>
            <a:rect l="l" t="t" r="r" b="b"/>
            <a:pathLst>
              <a:path w="664845" h="742950">
                <a:moveTo>
                  <a:pt x="0" y="742738"/>
                </a:moveTo>
                <a:lnTo>
                  <a:pt x="128484" y="613635"/>
                </a:lnTo>
                <a:lnTo>
                  <a:pt x="230812" y="505993"/>
                </a:lnTo>
                <a:lnTo>
                  <a:pt x="331981" y="395414"/>
                </a:lnTo>
                <a:lnTo>
                  <a:pt x="431967" y="281868"/>
                </a:lnTo>
                <a:lnTo>
                  <a:pt x="530747" y="165327"/>
                </a:lnTo>
                <a:lnTo>
                  <a:pt x="628297" y="45761"/>
                </a:lnTo>
                <a:lnTo>
                  <a:pt x="664235" y="0"/>
                </a:lnTo>
              </a:path>
            </a:pathLst>
          </a:custGeom>
          <a:ln w="1270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venir Next LT Pro" pitchFamily="2" charset="0"/>
              <a:ea typeface="+mn-ea"/>
              <a:cs typeface="+mn-cs"/>
            </a:endParaRPr>
          </a:p>
        </p:txBody>
      </p:sp>
      <p:sp>
        <p:nvSpPr>
          <p:cNvPr id="20" name="object 10">
            <a:extLst>
              <a:ext uri="{FF2B5EF4-FFF2-40B4-BE49-F238E27FC236}">
                <a16:creationId xmlns:a16="http://schemas.microsoft.com/office/drawing/2014/main" id="{D95A5256-0063-2242-8430-AB403B7FA621}"/>
              </a:ext>
            </a:extLst>
          </p:cNvPr>
          <p:cNvSpPr/>
          <p:nvPr userDrawn="1"/>
        </p:nvSpPr>
        <p:spPr>
          <a:xfrm>
            <a:off x="11330296" y="5882986"/>
            <a:ext cx="862330" cy="975360"/>
          </a:xfrm>
          <a:custGeom>
            <a:avLst/>
            <a:gdLst/>
            <a:ahLst/>
            <a:cxnLst/>
            <a:rect l="l" t="t" r="r" b="b"/>
            <a:pathLst>
              <a:path w="862329" h="975359">
                <a:moveTo>
                  <a:pt x="0" y="975013"/>
                </a:moveTo>
                <a:lnTo>
                  <a:pt x="57026" y="920341"/>
                </a:lnTo>
                <a:lnTo>
                  <a:pt x="160158" y="817580"/>
                </a:lnTo>
                <a:lnTo>
                  <a:pt x="262189" y="711933"/>
                </a:lnTo>
                <a:lnTo>
                  <a:pt x="363096" y="603373"/>
                </a:lnTo>
                <a:lnTo>
                  <a:pt x="462857" y="491870"/>
                </a:lnTo>
                <a:lnTo>
                  <a:pt x="561448" y="377396"/>
                </a:lnTo>
                <a:lnTo>
                  <a:pt x="658847" y="259921"/>
                </a:lnTo>
                <a:lnTo>
                  <a:pt x="755031" y="139417"/>
                </a:lnTo>
                <a:lnTo>
                  <a:pt x="849976" y="15854"/>
                </a:lnTo>
                <a:lnTo>
                  <a:pt x="861704" y="0"/>
                </a:lnTo>
              </a:path>
            </a:pathLst>
          </a:custGeom>
          <a:ln w="12699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venir Next LT Pro" pitchFamily="2" charset="0"/>
              <a:ea typeface="+mn-ea"/>
              <a:cs typeface="+mn-cs"/>
            </a:endParaRPr>
          </a:p>
        </p:txBody>
      </p:sp>
      <p:sp>
        <p:nvSpPr>
          <p:cNvPr id="21" name="object 11">
            <a:extLst>
              <a:ext uri="{FF2B5EF4-FFF2-40B4-BE49-F238E27FC236}">
                <a16:creationId xmlns:a16="http://schemas.microsoft.com/office/drawing/2014/main" id="{466F3FD8-5797-E94D-8225-3672B6F5258E}"/>
              </a:ext>
            </a:extLst>
          </p:cNvPr>
          <p:cNvSpPr/>
          <p:nvPr userDrawn="1"/>
        </p:nvSpPr>
        <p:spPr>
          <a:xfrm>
            <a:off x="11131790" y="5642891"/>
            <a:ext cx="1060450" cy="1215390"/>
          </a:xfrm>
          <a:custGeom>
            <a:avLst/>
            <a:gdLst/>
            <a:ahLst/>
            <a:cxnLst/>
            <a:rect l="l" t="t" r="r" b="b"/>
            <a:pathLst>
              <a:path w="1060450" h="1215390">
                <a:moveTo>
                  <a:pt x="0" y="1215108"/>
                </a:moveTo>
                <a:lnTo>
                  <a:pt x="90074" y="1130138"/>
                </a:lnTo>
                <a:lnTo>
                  <a:pt x="192874" y="1029348"/>
                </a:lnTo>
                <a:lnTo>
                  <a:pt x="294608" y="925697"/>
                </a:lnTo>
                <a:lnTo>
                  <a:pt x="395254" y="819156"/>
                </a:lnTo>
                <a:lnTo>
                  <a:pt x="494790" y="709696"/>
                </a:lnTo>
                <a:lnTo>
                  <a:pt x="593193" y="597289"/>
                </a:lnTo>
                <a:lnTo>
                  <a:pt x="690441" y="481905"/>
                </a:lnTo>
                <a:lnTo>
                  <a:pt x="786511" y="363515"/>
                </a:lnTo>
                <a:lnTo>
                  <a:pt x="881382" y="242092"/>
                </a:lnTo>
                <a:lnTo>
                  <a:pt x="975030" y="117605"/>
                </a:lnTo>
                <a:lnTo>
                  <a:pt x="1060209" y="0"/>
                </a:lnTo>
              </a:path>
            </a:pathLst>
          </a:custGeom>
          <a:ln w="1270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venir Next LT Pro" pitchFamily="2" charset="0"/>
              <a:ea typeface="+mn-ea"/>
              <a:cs typeface="+mn-cs"/>
            </a:endParaRPr>
          </a:p>
        </p:txBody>
      </p:sp>
      <p:sp>
        <p:nvSpPr>
          <p:cNvPr id="25" name="object 12">
            <a:extLst>
              <a:ext uri="{FF2B5EF4-FFF2-40B4-BE49-F238E27FC236}">
                <a16:creationId xmlns:a16="http://schemas.microsoft.com/office/drawing/2014/main" id="{BA41EE41-E4C6-B14E-BB7C-7BA66F0DC5CD}"/>
              </a:ext>
            </a:extLst>
          </p:cNvPr>
          <p:cNvSpPr/>
          <p:nvPr userDrawn="1"/>
        </p:nvSpPr>
        <p:spPr>
          <a:xfrm>
            <a:off x="10931344" y="5394326"/>
            <a:ext cx="1261110" cy="1463675"/>
          </a:xfrm>
          <a:custGeom>
            <a:avLst/>
            <a:gdLst/>
            <a:ahLst/>
            <a:cxnLst/>
            <a:rect l="l" t="t" r="r" b="b"/>
            <a:pathLst>
              <a:path w="1261109" h="1463675">
                <a:moveTo>
                  <a:pt x="0" y="1463673"/>
                </a:moveTo>
                <a:lnTo>
                  <a:pt x="125059" y="1348400"/>
                </a:lnTo>
                <a:lnTo>
                  <a:pt x="227526" y="1249582"/>
                </a:lnTo>
                <a:lnTo>
                  <a:pt x="328963" y="1147927"/>
                </a:lnTo>
                <a:lnTo>
                  <a:pt x="429347" y="1043405"/>
                </a:lnTo>
                <a:lnTo>
                  <a:pt x="528658" y="935988"/>
                </a:lnTo>
                <a:lnTo>
                  <a:pt x="626873" y="825648"/>
                </a:lnTo>
                <a:lnTo>
                  <a:pt x="723970" y="712354"/>
                </a:lnTo>
                <a:lnTo>
                  <a:pt x="819927" y="596080"/>
                </a:lnTo>
                <a:lnTo>
                  <a:pt x="914723" y="476796"/>
                </a:lnTo>
                <a:lnTo>
                  <a:pt x="1008334" y="354473"/>
                </a:lnTo>
                <a:lnTo>
                  <a:pt x="1100740" y="229082"/>
                </a:lnTo>
                <a:lnTo>
                  <a:pt x="1191918" y="100596"/>
                </a:lnTo>
                <a:lnTo>
                  <a:pt x="1260655" y="0"/>
                </a:lnTo>
              </a:path>
            </a:pathLst>
          </a:custGeom>
          <a:ln w="1270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venir Next LT Pro" pitchFamily="2" charset="0"/>
              <a:ea typeface="+mn-ea"/>
              <a:cs typeface="+mn-cs"/>
            </a:endParaRPr>
          </a:p>
        </p:txBody>
      </p:sp>
      <p:sp>
        <p:nvSpPr>
          <p:cNvPr id="30" name="object 14">
            <a:extLst>
              <a:ext uri="{FF2B5EF4-FFF2-40B4-BE49-F238E27FC236}">
                <a16:creationId xmlns:a16="http://schemas.microsoft.com/office/drawing/2014/main" id="{0F49F20E-B58B-D940-B9D1-D11EBD28322B}"/>
              </a:ext>
            </a:extLst>
          </p:cNvPr>
          <p:cNvSpPr/>
          <p:nvPr userDrawn="1"/>
        </p:nvSpPr>
        <p:spPr>
          <a:xfrm>
            <a:off x="10525593" y="4871439"/>
            <a:ext cx="1666875" cy="1986914"/>
          </a:xfrm>
          <a:custGeom>
            <a:avLst/>
            <a:gdLst/>
            <a:ahLst/>
            <a:cxnLst/>
            <a:rect l="l" t="t" r="r" b="b"/>
            <a:pathLst>
              <a:path w="1666875" h="1986915">
                <a:moveTo>
                  <a:pt x="0" y="1986560"/>
                </a:moveTo>
                <a:lnTo>
                  <a:pt x="97151" y="1902792"/>
                </a:lnTo>
                <a:lnTo>
                  <a:pt x="199892" y="1810680"/>
                </a:lnTo>
                <a:lnTo>
                  <a:pt x="301693" y="1715807"/>
                </a:lnTo>
                <a:lnTo>
                  <a:pt x="402536" y="1618142"/>
                </a:lnTo>
                <a:lnTo>
                  <a:pt x="502398" y="1517658"/>
                </a:lnTo>
                <a:lnTo>
                  <a:pt x="601259" y="1414327"/>
                </a:lnTo>
                <a:lnTo>
                  <a:pt x="699097" y="1308120"/>
                </a:lnTo>
                <a:lnTo>
                  <a:pt x="795892" y="1199008"/>
                </a:lnTo>
                <a:lnTo>
                  <a:pt x="891623" y="1086964"/>
                </a:lnTo>
                <a:lnTo>
                  <a:pt x="986269" y="971958"/>
                </a:lnTo>
                <a:lnTo>
                  <a:pt x="1079808" y="853962"/>
                </a:lnTo>
                <a:lnTo>
                  <a:pt x="1172220" y="732948"/>
                </a:lnTo>
                <a:lnTo>
                  <a:pt x="1263484" y="608888"/>
                </a:lnTo>
                <a:lnTo>
                  <a:pt x="1353578" y="481752"/>
                </a:lnTo>
                <a:lnTo>
                  <a:pt x="1442482" y="351513"/>
                </a:lnTo>
                <a:lnTo>
                  <a:pt x="1530175" y="218143"/>
                </a:lnTo>
                <a:lnTo>
                  <a:pt x="1616636" y="81612"/>
                </a:lnTo>
                <a:lnTo>
                  <a:pt x="1666406" y="0"/>
                </a:lnTo>
              </a:path>
            </a:pathLst>
          </a:custGeom>
          <a:ln w="12699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venir Next LT Pro" pitchFamily="2" charset="0"/>
              <a:ea typeface="+mn-ea"/>
              <a:cs typeface="+mn-cs"/>
            </a:endParaRPr>
          </a:p>
        </p:txBody>
      </p:sp>
      <p:pic>
        <p:nvPicPr>
          <p:cNvPr id="31" name="Immagine 30">
            <a:extLst>
              <a:ext uri="{FF2B5EF4-FFF2-40B4-BE49-F238E27FC236}">
                <a16:creationId xmlns:a16="http://schemas.microsoft.com/office/drawing/2014/main" id="{A8DAF34F-24B5-794D-BD52-ACD7E9DCB25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34" name="Graphic 16">
            <a:extLst>
              <a:ext uri="{FF2B5EF4-FFF2-40B4-BE49-F238E27FC236}">
                <a16:creationId xmlns:a16="http://schemas.microsoft.com/office/drawing/2014/main" id="{B3D6E1A6-0B13-A04E-B6C4-E1CF295EA65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264403" y="-1909"/>
            <a:ext cx="2324735" cy="4617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407294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828800" y="3840480"/>
            <a:ext cx="85344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5448A1A-09FB-41F2-B2B0-0A6C77F8DAB1}" type="datetime1">
              <a:rPr lang="en-US" smtClean="0"/>
              <a:t>2/15/2024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850" b="0" i="0">
                <a:solidFill>
                  <a:schemeClr val="bg1"/>
                </a:solidFill>
                <a:latin typeface="Avenir Next LT Pro" panose="020B0504020202020204" pitchFamily="34" charset="77"/>
                <a:cs typeface="Calibri"/>
              </a:defRPr>
            </a:lvl1pPr>
          </a:lstStyle>
          <a:p>
            <a:pPr marL="25400">
              <a:spcBef>
                <a:spcPts val="105"/>
              </a:spcBef>
            </a:pPr>
            <a:fld id="{81D60167-4931-47E6-BA6A-407CBD079E47}" type="slidenum">
              <a:rPr lang="it-IT" spc="175" smtClean="0"/>
              <a:pPr marL="25400">
                <a:spcBef>
                  <a:spcPts val="105"/>
                </a:spcBef>
              </a:pPr>
              <a:t>‹N›</a:t>
            </a:fld>
            <a:endParaRPr lang="it-IT" spc="175" dirty="0"/>
          </a:p>
        </p:txBody>
      </p:sp>
      <p:sp>
        <p:nvSpPr>
          <p:cNvPr id="7" name="bg object 16">
            <a:extLst>
              <a:ext uri="{FF2B5EF4-FFF2-40B4-BE49-F238E27FC236}">
                <a16:creationId xmlns:a16="http://schemas.microsoft.com/office/drawing/2014/main" id="{5D5FA1AD-6314-4CF5-B0A1-CB8DDE69D03D}"/>
              </a:ext>
            </a:extLst>
          </p:cNvPr>
          <p:cNvSpPr/>
          <p:nvPr userDrawn="1"/>
        </p:nvSpPr>
        <p:spPr>
          <a:xfrm>
            <a:off x="11330381" y="6448615"/>
            <a:ext cx="311785" cy="410845"/>
          </a:xfrm>
          <a:custGeom>
            <a:avLst/>
            <a:gdLst/>
            <a:ahLst/>
            <a:cxnLst/>
            <a:rect l="l" t="t" r="r" b="b"/>
            <a:pathLst>
              <a:path w="311784" h="410845">
                <a:moveTo>
                  <a:pt x="311645" y="0"/>
                </a:moveTo>
                <a:lnTo>
                  <a:pt x="0" y="0"/>
                </a:lnTo>
                <a:lnTo>
                  <a:pt x="0" y="410438"/>
                </a:lnTo>
                <a:lnTo>
                  <a:pt x="311645" y="410438"/>
                </a:lnTo>
                <a:lnTo>
                  <a:pt x="311645" y="0"/>
                </a:lnTo>
                <a:close/>
              </a:path>
            </a:pathLst>
          </a:custGeom>
          <a:solidFill>
            <a:srgbClr val="0046BA">
              <a:alpha val="93000"/>
            </a:srgbClr>
          </a:solidFill>
        </p:spPr>
        <p:txBody>
          <a:bodyPr wrap="square" lIns="0" tIns="0" rIns="0" bIns="0" rtlCol="0"/>
          <a:lstStyle/>
          <a:p>
            <a:endParaRPr b="0" i="0" dirty="0">
              <a:latin typeface="Avenir Next LT Pro" panose="020B0504020202020204" pitchFamily="34" charset="77"/>
            </a:endParaRPr>
          </a:p>
        </p:txBody>
      </p:sp>
      <p:sp>
        <p:nvSpPr>
          <p:cNvPr id="9" name="Holder 7">
            <a:extLst>
              <a:ext uri="{FF2B5EF4-FFF2-40B4-BE49-F238E27FC236}">
                <a16:creationId xmlns:a16="http://schemas.microsoft.com/office/drawing/2014/main" id="{96CE1830-8A44-47CE-A315-58CEF20EAD7A}"/>
              </a:ext>
            </a:extLst>
          </p:cNvPr>
          <p:cNvSpPr txBox="1">
            <a:spLocks/>
          </p:cNvSpPr>
          <p:nvPr userDrawn="1"/>
        </p:nvSpPr>
        <p:spPr>
          <a:xfrm>
            <a:off x="11342726" y="6520516"/>
            <a:ext cx="256044" cy="16158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it-IT"/>
            </a:defPPr>
            <a:lvl1pPr marL="0" algn="l" defTabSz="914400" rtl="0" eaLnBrk="1" latinLnBrk="0" hangingPunct="1">
              <a:defRPr sz="850" b="1" i="0" kern="1200">
                <a:solidFill>
                  <a:schemeClr val="bg1"/>
                </a:solidFill>
                <a:latin typeface="Verdana"/>
                <a:ea typeface="+mn-ea"/>
                <a:cs typeface="Verdana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8100" algn="ctr">
              <a:spcBef>
                <a:spcPts val="105"/>
              </a:spcBef>
            </a:pPr>
            <a:fld id="{81D60167-4931-47E6-BA6A-407CBD079E47}" type="slidenum">
              <a:rPr lang="it-IT" sz="1050" b="0" i="0" spc="5" smtClean="0">
                <a:latin typeface="Avenir Next LT Pro" panose="020B0504020202020204" pitchFamily="34" charset="77"/>
              </a:rPr>
              <a:pPr marL="38100" algn="ctr">
                <a:spcBef>
                  <a:spcPts val="105"/>
                </a:spcBef>
              </a:pPr>
              <a:t>‹N›</a:t>
            </a:fld>
            <a:endParaRPr lang="it-IT" sz="1050" b="0" i="0" spc="5" dirty="0">
              <a:latin typeface="Avenir Next LT Pro" panose="020B0504020202020204" pitchFamily="34" charset="77"/>
            </a:endParaRPr>
          </a:p>
        </p:txBody>
      </p:sp>
      <p:pic>
        <p:nvPicPr>
          <p:cNvPr id="12" name="Elemento grafico 11">
            <a:extLst>
              <a:ext uri="{FF2B5EF4-FFF2-40B4-BE49-F238E27FC236}">
                <a16:creationId xmlns:a16="http://schemas.microsoft.com/office/drawing/2014/main" id="{07B54512-56E1-3A40-848A-71908E18FC2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081892" y="-5080"/>
            <a:ext cx="1560273" cy="3098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130788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iapositiva ba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7">
            <a:extLst>
              <a:ext uri="{FF2B5EF4-FFF2-40B4-BE49-F238E27FC236}">
                <a16:creationId xmlns:a16="http://schemas.microsoft.com/office/drawing/2014/main" id="{8EFC7E4F-F803-4DCD-9FEE-0939E599D776}"/>
              </a:ext>
            </a:extLst>
          </p:cNvPr>
          <p:cNvSpPr txBox="1">
            <a:spLocks/>
          </p:cNvSpPr>
          <p:nvPr userDrawn="1"/>
        </p:nvSpPr>
        <p:spPr>
          <a:xfrm>
            <a:off x="11251095" y="6520516"/>
            <a:ext cx="427187" cy="16158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it-IT"/>
            </a:defPPr>
            <a:lvl1pPr marL="0" algn="l" defTabSz="914400" rtl="0" eaLnBrk="1" latinLnBrk="0" hangingPunct="1">
              <a:defRPr sz="850" b="1" i="0" kern="1200">
                <a:solidFill>
                  <a:schemeClr val="bg1"/>
                </a:solidFill>
                <a:latin typeface="Verdana"/>
                <a:ea typeface="+mn-ea"/>
                <a:cs typeface="Verdana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8100" algn="ctr">
              <a:spcBef>
                <a:spcPts val="105"/>
              </a:spcBef>
            </a:pPr>
            <a:fld id="{81D60167-4931-47E6-BA6A-407CBD079E47}" type="slidenum">
              <a:rPr lang="it-IT" sz="1050" b="0" i="0" spc="5" smtClean="0">
                <a:latin typeface="Avenir Next LT Pro" pitchFamily="2" charset="0"/>
              </a:rPr>
              <a:pPr marL="38100" algn="ctr">
                <a:spcBef>
                  <a:spcPts val="105"/>
                </a:spcBef>
              </a:pPr>
              <a:t>‹N›</a:t>
            </a:fld>
            <a:endParaRPr lang="it-IT" sz="1050" b="0" i="0" spc="5" dirty="0">
              <a:latin typeface="Avenir Next LT Pro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215774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40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3850">
          <p15:clr>
            <a:srgbClr val="FBAE40"/>
          </p15:clr>
        </p15:guide>
        <p15:guide id="4" pos="234">
          <p15:clr>
            <a:srgbClr val="FBAE40"/>
          </p15:clr>
        </p15:guide>
        <p15:guide id="5" pos="7450">
          <p15:clr>
            <a:srgbClr val="FBAE40"/>
          </p15:clr>
        </p15:guide>
        <p15:guide id="6" orient="horz" pos="2242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Apertur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Segnaposto testo 14">
            <a:extLst>
              <a:ext uri="{FF2B5EF4-FFF2-40B4-BE49-F238E27FC236}">
                <a16:creationId xmlns:a16="http://schemas.microsoft.com/office/drawing/2014/main" id="{1A49A137-563C-3A48-91AC-994AC066736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66350" y="728190"/>
            <a:ext cx="10925175" cy="24352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5100" b="0" i="0">
                <a:solidFill>
                  <a:schemeClr val="bg1"/>
                </a:solidFill>
                <a:latin typeface="Avenir Next LT Pro" panose="020B0504020202020204" pitchFamily="34" charset="77"/>
              </a:defRPr>
            </a:lvl1pPr>
            <a:lvl2pPr marL="457200" indent="0">
              <a:buNone/>
              <a:defRPr sz="5100" b="0" i="0">
                <a:solidFill>
                  <a:schemeClr val="bg1"/>
                </a:solidFill>
                <a:latin typeface="Avenir Next LT Pro" panose="020B0504020202020204" pitchFamily="34" charset="77"/>
              </a:defRPr>
            </a:lvl2pPr>
            <a:lvl3pPr marL="914400" indent="0">
              <a:buNone/>
              <a:defRPr sz="5100" b="0" i="0">
                <a:solidFill>
                  <a:schemeClr val="bg1"/>
                </a:solidFill>
                <a:latin typeface="Avenir Next LT Pro" panose="020B0504020202020204" pitchFamily="34" charset="77"/>
              </a:defRPr>
            </a:lvl3pPr>
            <a:lvl4pPr marL="1371600" indent="0">
              <a:buNone/>
              <a:defRPr sz="5100" b="0" i="0">
                <a:solidFill>
                  <a:schemeClr val="bg1"/>
                </a:solidFill>
                <a:latin typeface="Avenir Next LT Pro" panose="020B0504020202020204" pitchFamily="34" charset="77"/>
              </a:defRPr>
            </a:lvl4pPr>
            <a:lvl5pPr marL="1828800" indent="0">
              <a:buNone/>
              <a:defRPr sz="5100" b="0" i="0">
                <a:solidFill>
                  <a:schemeClr val="bg1"/>
                </a:solidFill>
                <a:latin typeface="Avenir Next LT Pro" panose="020B0504020202020204" pitchFamily="34" charset="77"/>
              </a:defRPr>
            </a:lvl5pPr>
          </a:lstStyle>
          <a:p>
            <a:pPr lvl="0"/>
            <a:r>
              <a:rPr lang="it-IT" dirty="0"/>
              <a:t>FARE CLIC PER MODIFICARE IL TITOLO</a:t>
            </a:r>
          </a:p>
        </p:txBody>
      </p:sp>
      <p:sp>
        <p:nvSpPr>
          <p:cNvPr id="21" name="Segnaposto testo 19">
            <a:extLst>
              <a:ext uri="{FF2B5EF4-FFF2-40B4-BE49-F238E27FC236}">
                <a16:creationId xmlns:a16="http://schemas.microsoft.com/office/drawing/2014/main" id="{86C839B6-177A-C64A-929E-A501E69F9EF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86040" y="5108207"/>
            <a:ext cx="10975975" cy="13985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4000" b="0" i="0">
                <a:solidFill>
                  <a:srgbClr val="EDDC00"/>
                </a:solidFill>
                <a:latin typeface="Avenir Next LT Pro" panose="020B0504020202020204" pitchFamily="34" charset="77"/>
              </a:defRPr>
            </a:lvl1pPr>
            <a:lvl2pPr marL="457200" indent="0">
              <a:buNone/>
              <a:defRPr sz="4000" b="0" i="0">
                <a:solidFill>
                  <a:srgbClr val="EDDC00"/>
                </a:solidFill>
                <a:latin typeface="Avenir Next LT Pro" panose="020B0504020202020204" pitchFamily="34" charset="77"/>
              </a:defRPr>
            </a:lvl2pPr>
            <a:lvl3pPr marL="914400" indent="0">
              <a:buNone/>
              <a:defRPr sz="4000" b="0" i="0">
                <a:solidFill>
                  <a:srgbClr val="EDDC00"/>
                </a:solidFill>
                <a:latin typeface="Avenir Next LT Pro" panose="020B0504020202020204" pitchFamily="34" charset="77"/>
              </a:defRPr>
            </a:lvl3pPr>
            <a:lvl4pPr marL="1371600" indent="0">
              <a:buNone/>
              <a:defRPr sz="4000" b="0" i="0">
                <a:solidFill>
                  <a:srgbClr val="EDDC00"/>
                </a:solidFill>
                <a:latin typeface="Avenir Next LT Pro" panose="020B0504020202020204" pitchFamily="34" charset="77"/>
              </a:defRPr>
            </a:lvl4pPr>
            <a:lvl5pPr marL="1828800" indent="0">
              <a:buNone/>
              <a:defRPr sz="4000" b="0" i="0">
                <a:solidFill>
                  <a:srgbClr val="EDDC00"/>
                </a:solidFill>
                <a:latin typeface="Avenir Next LT Pro" panose="020B0504020202020204" pitchFamily="34" charset="77"/>
              </a:defRPr>
            </a:lvl5pPr>
          </a:lstStyle>
          <a:p>
            <a:pPr lvl="0"/>
            <a:r>
              <a:rPr lang="it-IT" dirty="0"/>
              <a:t>Fare clic per modificare il sotto titolo</a:t>
            </a:r>
          </a:p>
        </p:txBody>
      </p:sp>
      <p:sp>
        <p:nvSpPr>
          <p:cNvPr id="14" name="object 6">
            <a:extLst>
              <a:ext uri="{FF2B5EF4-FFF2-40B4-BE49-F238E27FC236}">
                <a16:creationId xmlns:a16="http://schemas.microsoft.com/office/drawing/2014/main" id="{14517F36-49C2-654C-A758-8A4201C0786B}"/>
              </a:ext>
            </a:extLst>
          </p:cNvPr>
          <p:cNvSpPr/>
          <p:nvPr/>
        </p:nvSpPr>
        <p:spPr>
          <a:xfrm>
            <a:off x="12111981" y="6771644"/>
            <a:ext cx="80645" cy="86360"/>
          </a:xfrm>
          <a:custGeom>
            <a:avLst/>
            <a:gdLst/>
            <a:ahLst/>
            <a:cxnLst/>
            <a:rect l="l" t="t" r="r" b="b"/>
            <a:pathLst>
              <a:path w="80645" h="86359">
                <a:moveTo>
                  <a:pt x="0" y="86355"/>
                </a:moveTo>
                <a:lnTo>
                  <a:pt x="41642" y="42245"/>
                </a:lnTo>
                <a:lnTo>
                  <a:pt x="80018" y="0"/>
                </a:lnTo>
              </a:path>
            </a:pathLst>
          </a:custGeom>
          <a:ln w="1270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venirNext LT Pro Regular" panose="020B0504020202020204" pitchFamily="34" charset="77"/>
              <a:ea typeface="+mn-ea"/>
              <a:cs typeface="+mn-cs"/>
            </a:endParaRPr>
          </a:p>
        </p:txBody>
      </p:sp>
      <p:sp>
        <p:nvSpPr>
          <p:cNvPr id="15" name="object 7">
            <a:extLst>
              <a:ext uri="{FF2B5EF4-FFF2-40B4-BE49-F238E27FC236}">
                <a16:creationId xmlns:a16="http://schemas.microsoft.com/office/drawing/2014/main" id="{521CE344-F985-0748-9E28-9BE4713622B6}"/>
              </a:ext>
            </a:extLst>
          </p:cNvPr>
          <p:cNvSpPr/>
          <p:nvPr/>
        </p:nvSpPr>
        <p:spPr>
          <a:xfrm>
            <a:off x="11918422" y="6559810"/>
            <a:ext cx="273685" cy="298450"/>
          </a:xfrm>
          <a:custGeom>
            <a:avLst/>
            <a:gdLst/>
            <a:ahLst/>
            <a:cxnLst/>
            <a:rect l="l" t="t" r="r" b="b"/>
            <a:pathLst>
              <a:path w="273684" h="298450">
                <a:moveTo>
                  <a:pt x="0" y="298189"/>
                </a:moveTo>
                <a:lnTo>
                  <a:pt x="69408" y="225749"/>
                </a:lnTo>
                <a:lnTo>
                  <a:pt x="172330" y="114116"/>
                </a:lnTo>
                <a:lnTo>
                  <a:pt x="273577" y="0"/>
                </a:lnTo>
              </a:path>
            </a:pathLst>
          </a:custGeom>
          <a:ln w="1270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venirNext LT Pro Regular" panose="020B0504020202020204" pitchFamily="34" charset="77"/>
              <a:ea typeface="+mn-ea"/>
              <a:cs typeface="+mn-cs"/>
            </a:endParaRPr>
          </a:p>
        </p:txBody>
      </p:sp>
      <p:sp>
        <p:nvSpPr>
          <p:cNvPr id="17" name="object 8">
            <a:extLst>
              <a:ext uri="{FF2B5EF4-FFF2-40B4-BE49-F238E27FC236}">
                <a16:creationId xmlns:a16="http://schemas.microsoft.com/office/drawing/2014/main" id="{F8CEB3FC-2EFE-CC43-BD8C-CE5398A8BE13}"/>
              </a:ext>
            </a:extLst>
          </p:cNvPr>
          <p:cNvSpPr/>
          <p:nvPr/>
        </p:nvSpPr>
        <p:spPr>
          <a:xfrm>
            <a:off x="11724016" y="6340674"/>
            <a:ext cx="467995" cy="517525"/>
          </a:xfrm>
          <a:custGeom>
            <a:avLst/>
            <a:gdLst/>
            <a:ahLst/>
            <a:cxnLst/>
            <a:rect l="l" t="t" r="r" b="b"/>
            <a:pathLst>
              <a:path w="467995" h="517525">
                <a:moveTo>
                  <a:pt x="0" y="517325"/>
                </a:moveTo>
                <a:lnTo>
                  <a:pt x="98020" y="416558"/>
                </a:lnTo>
                <a:lnTo>
                  <a:pt x="200645" y="306920"/>
                </a:lnTo>
                <a:lnTo>
                  <a:pt x="302075" y="194322"/>
                </a:lnTo>
                <a:lnTo>
                  <a:pt x="402286" y="78734"/>
                </a:lnTo>
                <a:lnTo>
                  <a:pt x="467983" y="0"/>
                </a:lnTo>
              </a:path>
            </a:pathLst>
          </a:custGeom>
          <a:ln w="1270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venirNext LT Pro Regular" panose="020B0504020202020204" pitchFamily="34" charset="77"/>
              <a:ea typeface="+mn-ea"/>
              <a:cs typeface="+mn-cs"/>
            </a:endParaRPr>
          </a:p>
        </p:txBody>
      </p:sp>
      <p:sp>
        <p:nvSpPr>
          <p:cNvPr id="18" name="object 9">
            <a:extLst>
              <a:ext uri="{FF2B5EF4-FFF2-40B4-BE49-F238E27FC236}">
                <a16:creationId xmlns:a16="http://schemas.microsoft.com/office/drawing/2014/main" id="{3D64CEDF-5266-2040-A10B-3875636DEA59}"/>
              </a:ext>
            </a:extLst>
          </p:cNvPr>
          <p:cNvSpPr/>
          <p:nvPr/>
        </p:nvSpPr>
        <p:spPr>
          <a:xfrm>
            <a:off x="11527764" y="6115261"/>
            <a:ext cx="664845" cy="742950"/>
          </a:xfrm>
          <a:custGeom>
            <a:avLst/>
            <a:gdLst/>
            <a:ahLst/>
            <a:cxnLst/>
            <a:rect l="l" t="t" r="r" b="b"/>
            <a:pathLst>
              <a:path w="664845" h="742950">
                <a:moveTo>
                  <a:pt x="0" y="742738"/>
                </a:moveTo>
                <a:lnTo>
                  <a:pt x="128484" y="613635"/>
                </a:lnTo>
                <a:lnTo>
                  <a:pt x="230812" y="505993"/>
                </a:lnTo>
                <a:lnTo>
                  <a:pt x="331981" y="395414"/>
                </a:lnTo>
                <a:lnTo>
                  <a:pt x="431967" y="281868"/>
                </a:lnTo>
                <a:lnTo>
                  <a:pt x="530747" y="165327"/>
                </a:lnTo>
                <a:lnTo>
                  <a:pt x="628297" y="45761"/>
                </a:lnTo>
                <a:lnTo>
                  <a:pt x="664235" y="0"/>
                </a:lnTo>
              </a:path>
            </a:pathLst>
          </a:custGeom>
          <a:ln w="1270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venirNext LT Pro Regular" panose="020B0504020202020204" pitchFamily="34" charset="77"/>
              <a:ea typeface="+mn-ea"/>
              <a:cs typeface="+mn-cs"/>
            </a:endParaRPr>
          </a:p>
        </p:txBody>
      </p:sp>
      <p:sp>
        <p:nvSpPr>
          <p:cNvPr id="19" name="object 10">
            <a:extLst>
              <a:ext uri="{FF2B5EF4-FFF2-40B4-BE49-F238E27FC236}">
                <a16:creationId xmlns:a16="http://schemas.microsoft.com/office/drawing/2014/main" id="{6C5CCA80-CF3E-434B-A123-B03AF861907E}"/>
              </a:ext>
            </a:extLst>
          </p:cNvPr>
          <p:cNvSpPr/>
          <p:nvPr/>
        </p:nvSpPr>
        <p:spPr>
          <a:xfrm>
            <a:off x="11330296" y="5882986"/>
            <a:ext cx="862330" cy="975360"/>
          </a:xfrm>
          <a:custGeom>
            <a:avLst/>
            <a:gdLst/>
            <a:ahLst/>
            <a:cxnLst/>
            <a:rect l="l" t="t" r="r" b="b"/>
            <a:pathLst>
              <a:path w="862329" h="975359">
                <a:moveTo>
                  <a:pt x="0" y="975013"/>
                </a:moveTo>
                <a:lnTo>
                  <a:pt x="57026" y="920341"/>
                </a:lnTo>
                <a:lnTo>
                  <a:pt x="160158" y="817580"/>
                </a:lnTo>
                <a:lnTo>
                  <a:pt x="262189" y="711933"/>
                </a:lnTo>
                <a:lnTo>
                  <a:pt x="363096" y="603373"/>
                </a:lnTo>
                <a:lnTo>
                  <a:pt x="462857" y="491870"/>
                </a:lnTo>
                <a:lnTo>
                  <a:pt x="561448" y="377396"/>
                </a:lnTo>
                <a:lnTo>
                  <a:pt x="658847" y="259921"/>
                </a:lnTo>
                <a:lnTo>
                  <a:pt x="755031" y="139417"/>
                </a:lnTo>
                <a:lnTo>
                  <a:pt x="849976" y="15854"/>
                </a:lnTo>
                <a:lnTo>
                  <a:pt x="861704" y="0"/>
                </a:lnTo>
              </a:path>
            </a:pathLst>
          </a:custGeom>
          <a:ln w="12699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venirNext LT Pro Regular" panose="020B0504020202020204" pitchFamily="34" charset="77"/>
              <a:ea typeface="+mn-ea"/>
              <a:cs typeface="+mn-cs"/>
            </a:endParaRPr>
          </a:p>
        </p:txBody>
      </p:sp>
      <p:sp>
        <p:nvSpPr>
          <p:cNvPr id="20" name="object 11">
            <a:extLst>
              <a:ext uri="{FF2B5EF4-FFF2-40B4-BE49-F238E27FC236}">
                <a16:creationId xmlns:a16="http://schemas.microsoft.com/office/drawing/2014/main" id="{FD77856D-B46C-774F-9A65-92C757381AC5}"/>
              </a:ext>
            </a:extLst>
          </p:cNvPr>
          <p:cNvSpPr/>
          <p:nvPr/>
        </p:nvSpPr>
        <p:spPr>
          <a:xfrm>
            <a:off x="11131790" y="5642891"/>
            <a:ext cx="1060450" cy="1215390"/>
          </a:xfrm>
          <a:custGeom>
            <a:avLst/>
            <a:gdLst/>
            <a:ahLst/>
            <a:cxnLst/>
            <a:rect l="l" t="t" r="r" b="b"/>
            <a:pathLst>
              <a:path w="1060450" h="1215390">
                <a:moveTo>
                  <a:pt x="0" y="1215108"/>
                </a:moveTo>
                <a:lnTo>
                  <a:pt x="90074" y="1130138"/>
                </a:lnTo>
                <a:lnTo>
                  <a:pt x="192874" y="1029348"/>
                </a:lnTo>
                <a:lnTo>
                  <a:pt x="294608" y="925697"/>
                </a:lnTo>
                <a:lnTo>
                  <a:pt x="395254" y="819156"/>
                </a:lnTo>
                <a:lnTo>
                  <a:pt x="494790" y="709696"/>
                </a:lnTo>
                <a:lnTo>
                  <a:pt x="593193" y="597289"/>
                </a:lnTo>
                <a:lnTo>
                  <a:pt x="690441" y="481905"/>
                </a:lnTo>
                <a:lnTo>
                  <a:pt x="786511" y="363515"/>
                </a:lnTo>
                <a:lnTo>
                  <a:pt x="881382" y="242092"/>
                </a:lnTo>
                <a:lnTo>
                  <a:pt x="975030" y="117605"/>
                </a:lnTo>
                <a:lnTo>
                  <a:pt x="1060209" y="0"/>
                </a:lnTo>
              </a:path>
            </a:pathLst>
          </a:custGeom>
          <a:ln w="1270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venirNext LT Pro Regular" panose="020B0504020202020204" pitchFamily="34" charset="77"/>
              <a:ea typeface="+mn-ea"/>
              <a:cs typeface="+mn-cs"/>
            </a:endParaRPr>
          </a:p>
        </p:txBody>
      </p:sp>
      <p:sp>
        <p:nvSpPr>
          <p:cNvPr id="22" name="object 12">
            <a:extLst>
              <a:ext uri="{FF2B5EF4-FFF2-40B4-BE49-F238E27FC236}">
                <a16:creationId xmlns:a16="http://schemas.microsoft.com/office/drawing/2014/main" id="{3109D4B0-6EBD-7A40-93F3-D1928FA91909}"/>
              </a:ext>
            </a:extLst>
          </p:cNvPr>
          <p:cNvSpPr/>
          <p:nvPr/>
        </p:nvSpPr>
        <p:spPr>
          <a:xfrm>
            <a:off x="10931344" y="5394326"/>
            <a:ext cx="1261110" cy="1463675"/>
          </a:xfrm>
          <a:custGeom>
            <a:avLst/>
            <a:gdLst/>
            <a:ahLst/>
            <a:cxnLst/>
            <a:rect l="l" t="t" r="r" b="b"/>
            <a:pathLst>
              <a:path w="1261109" h="1463675">
                <a:moveTo>
                  <a:pt x="0" y="1463673"/>
                </a:moveTo>
                <a:lnTo>
                  <a:pt x="125059" y="1348400"/>
                </a:lnTo>
                <a:lnTo>
                  <a:pt x="227526" y="1249582"/>
                </a:lnTo>
                <a:lnTo>
                  <a:pt x="328963" y="1147927"/>
                </a:lnTo>
                <a:lnTo>
                  <a:pt x="429347" y="1043405"/>
                </a:lnTo>
                <a:lnTo>
                  <a:pt x="528658" y="935988"/>
                </a:lnTo>
                <a:lnTo>
                  <a:pt x="626873" y="825648"/>
                </a:lnTo>
                <a:lnTo>
                  <a:pt x="723970" y="712354"/>
                </a:lnTo>
                <a:lnTo>
                  <a:pt x="819927" y="596080"/>
                </a:lnTo>
                <a:lnTo>
                  <a:pt x="914723" y="476796"/>
                </a:lnTo>
                <a:lnTo>
                  <a:pt x="1008334" y="354473"/>
                </a:lnTo>
                <a:lnTo>
                  <a:pt x="1100740" y="229082"/>
                </a:lnTo>
                <a:lnTo>
                  <a:pt x="1191918" y="100596"/>
                </a:lnTo>
                <a:lnTo>
                  <a:pt x="1260655" y="0"/>
                </a:lnTo>
              </a:path>
            </a:pathLst>
          </a:custGeom>
          <a:ln w="1270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venirNext LT Pro Regular" panose="020B0504020202020204" pitchFamily="34" charset="77"/>
              <a:ea typeface="+mn-ea"/>
              <a:cs typeface="+mn-cs"/>
            </a:endParaRPr>
          </a:p>
        </p:txBody>
      </p:sp>
      <p:sp>
        <p:nvSpPr>
          <p:cNvPr id="23" name="object 14">
            <a:extLst>
              <a:ext uri="{FF2B5EF4-FFF2-40B4-BE49-F238E27FC236}">
                <a16:creationId xmlns:a16="http://schemas.microsoft.com/office/drawing/2014/main" id="{5F627B33-06BA-454C-9682-4D6BEFCDBEFE}"/>
              </a:ext>
            </a:extLst>
          </p:cNvPr>
          <p:cNvSpPr/>
          <p:nvPr/>
        </p:nvSpPr>
        <p:spPr>
          <a:xfrm>
            <a:off x="10525593" y="4871439"/>
            <a:ext cx="1666875" cy="1986914"/>
          </a:xfrm>
          <a:custGeom>
            <a:avLst/>
            <a:gdLst/>
            <a:ahLst/>
            <a:cxnLst/>
            <a:rect l="l" t="t" r="r" b="b"/>
            <a:pathLst>
              <a:path w="1666875" h="1986915">
                <a:moveTo>
                  <a:pt x="0" y="1986560"/>
                </a:moveTo>
                <a:lnTo>
                  <a:pt x="97151" y="1902792"/>
                </a:lnTo>
                <a:lnTo>
                  <a:pt x="199892" y="1810680"/>
                </a:lnTo>
                <a:lnTo>
                  <a:pt x="301693" y="1715807"/>
                </a:lnTo>
                <a:lnTo>
                  <a:pt x="402536" y="1618142"/>
                </a:lnTo>
                <a:lnTo>
                  <a:pt x="502398" y="1517658"/>
                </a:lnTo>
                <a:lnTo>
                  <a:pt x="601259" y="1414327"/>
                </a:lnTo>
                <a:lnTo>
                  <a:pt x="699097" y="1308120"/>
                </a:lnTo>
                <a:lnTo>
                  <a:pt x="795892" y="1199008"/>
                </a:lnTo>
                <a:lnTo>
                  <a:pt x="891623" y="1086964"/>
                </a:lnTo>
                <a:lnTo>
                  <a:pt x="986269" y="971958"/>
                </a:lnTo>
                <a:lnTo>
                  <a:pt x="1079808" y="853962"/>
                </a:lnTo>
                <a:lnTo>
                  <a:pt x="1172220" y="732948"/>
                </a:lnTo>
                <a:lnTo>
                  <a:pt x="1263484" y="608888"/>
                </a:lnTo>
                <a:lnTo>
                  <a:pt x="1353578" y="481752"/>
                </a:lnTo>
                <a:lnTo>
                  <a:pt x="1442482" y="351513"/>
                </a:lnTo>
                <a:lnTo>
                  <a:pt x="1530175" y="218143"/>
                </a:lnTo>
                <a:lnTo>
                  <a:pt x="1616636" y="81612"/>
                </a:lnTo>
                <a:lnTo>
                  <a:pt x="1666406" y="0"/>
                </a:lnTo>
              </a:path>
            </a:pathLst>
          </a:custGeom>
          <a:ln w="12699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venirNext LT Pro Regular" panose="020B0504020202020204" pitchFamily="34" charset="77"/>
              <a:ea typeface="+mn-ea"/>
              <a:cs typeface="+mn-cs"/>
            </a:endParaRPr>
          </a:p>
        </p:txBody>
      </p:sp>
      <p:pic>
        <p:nvPicPr>
          <p:cNvPr id="24" name="Immagine 23">
            <a:extLst>
              <a:ext uri="{FF2B5EF4-FFF2-40B4-BE49-F238E27FC236}">
                <a16:creationId xmlns:a16="http://schemas.microsoft.com/office/drawing/2014/main" id="{758AAA08-A2DC-DB4A-9068-114956115A7B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25" name="Elemento grafico 24">
            <a:extLst>
              <a:ext uri="{FF2B5EF4-FFF2-40B4-BE49-F238E27FC236}">
                <a16:creationId xmlns:a16="http://schemas.microsoft.com/office/drawing/2014/main" id="{D212FFD8-6288-F649-8525-E566B0BED6DC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270645" y="5322"/>
            <a:ext cx="2340412" cy="4648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1343815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/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Pagina Agend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object 46">
            <a:extLst>
              <a:ext uri="{FF2B5EF4-FFF2-40B4-BE49-F238E27FC236}">
                <a16:creationId xmlns:a16="http://schemas.microsoft.com/office/drawing/2014/main" id="{99828EB8-DC33-4D2E-AB16-2B234973DAE2}"/>
              </a:ext>
            </a:extLst>
          </p:cNvPr>
          <p:cNvSpPr>
            <a:spLocks noChangeAspect="1"/>
          </p:cNvSpPr>
          <p:nvPr/>
        </p:nvSpPr>
        <p:spPr>
          <a:xfrm>
            <a:off x="633940" y="1509967"/>
            <a:ext cx="756000" cy="756000"/>
          </a:xfrm>
          <a:custGeom>
            <a:avLst/>
            <a:gdLst/>
            <a:ahLst/>
            <a:cxnLst/>
            <a:rect l="l" t="t" r="r" b="b"/>
            <a:pathLst>
              <a:path w="1009650" h="1009650">
                <a:moveTo>
                  <a:pt x="1009637" y="504825"/>
                </a:moveTo>
                <a:lnTo>
                  <a:pt x="1007326" y="553440"/>
                </a:lnTo>
                <a:lnTo>
                  <a:pt x="1000534" y="600748"/>
                </a:lnTo>
                <a:lnTo>
                  <a:pt x="989474" y="646537"/>
                </a:lnTo>
                <a:lnTo>
                  <a:pt x="974355" y="690596"/>
                </a:lnTo>
                <a:lnTo>
                  <a:pt x="955391" y="732714"/>
                </a:lnTo>
                <a:lnTo>
                  <a:pt x="932791" y="772678"/>
                </a:lnTo>
                <a:lnTo>
                  <a:pt x="906769" y="810276"/>
                </a:lnTo>
                <a:lnTo>
                  <a:pt x="877535" y="845298"/>
                </a:lnTo>
                <a:lnTo>
                  <a:pt x="845302" y="877532"/>
                </a:lnTo>
                <a:lnTo>
                  <a:pt x="810279" y="906766"/>
                </a:lnTo>
                <a:lnTo>
                  <a:pt x="772680" y="932789"/>
                </a:lnTo>
                <a:lnTo>
                  <a:pt x="732715" y="955389"/>
                </a:lnTo>
                <a:lnTo>
                  <a:pt x="690596" y="974354"/>
                </a:lnTo>
                <a:lnTo>
                  <a:pt x="646535" y="989473"/>
                </a:lnTo>
                <a:lnTo>
                  <a:pt x="600743" y="1000534"/>
                </a:lnTo>
                <a:lnTo>
                  <a:pt x="553431" y="1007326"/>
                </a:lnTo>
                <a:lnTo>
                  <a:pt x="504812" y="1009637"/>
                </a:lnTo>
                <a:lnTo>
                  <a:pt x="456197" y="1007326"/>
                </a:lnTo>
                <a:lnTo>
                  <a:pt x="408888" y="1000534"/>
                </a:lnTo>
                <a:lnTo>
                  <a:pt x="363099" y="989473"/>
                </a:lnTo>
                <a:lnTo>
                  <a:pt x="319040" y="974354"/>
                </a:lnTo>
                <a:lnTo>
                  <a:pt x="276923" y="955389"/>
                </a:lnTo>
                <a:lnTo>
                  <a:pt x="236959" y="932789"/>
                </a:lnTo>
                <a:lnTo>
                  <a:pt x="199360" y="906766"/>
                </a:lnTo>
                <a:lnTo>
                  <a:pt x="164338" y="877532"/>
                </a:lnTo>
                <a:lnTo>
                  <a:pt x="132104" y="845298"/>
                </a:lnTo>
                <a:lnTo>
                  <a:pt x="102870" y="810276"/>
                </a:lnTo>
                <a:lnTo>
                  <a:pt x="76847" y="772678"/>
                </a:lnTo>
                <a:lnTo>
                  <a:pt x="54248" y="732714"/>
                </a:lnTo>
                <a:lnTo>
                  <a:pt x="35283" y="690596"/>
                </a:lnTo>
                <a:lnTo>
                  <a:pt x="20164" y="646537"/>
                </a:lnTo>
                <a:lnTo>
                  <a:pt x="9102" y="600748"/>
                </a:lnTo>
                <a:lnTo>
                  <a:pt x="2310" y="553440"/>
                </a:lnTo>
                <a:lnTo>
                  <a:pt x="0" y="504825"/>
                </a:lnTo>
                <a:lnTo>
                  <a:pt x="2310" y="456207"/>
                </a:lnTo>
                <a:lnTo>
                  <a:pt x="9102" y="408897"/>
                </a:lnTo>
                <a:lnTo>
                  <a:pt x="20164" y="363106"/>
                </a:lnTo>
                <a:lnTo>
                  <a:pt x="35283" y="319045"/>
                </a:lnTo>
                <a:lnTo>
                  <a:pt x="54248" y="276927"/>
                </a:lnTo>
                <a:lnTo>
                  <a:pt x="76847" y="236962"/>
                </a:lnTo>
                <a:lnTo>
                  <a:pt x="102870" y="199363"/>
                </a:lnTo>
                <a:lnTo>
                  <a:pt x="132104" y="164340"/>
                </a:lnTo>
                <a:lnTo>
                  <a:pt x="164338" y="132105"/>
                </a:lnTo>
                <a:lnTo>
                  <a:pt x="199360" y="102871"/>
                </a:lnTo>
                <a:lnTo>
                  <a:pt x="236959" y="76848"/>
                </a:lnTo>
                <a:lnTo>
                  <a:pt x="276923" y="54248"/>
                </a:lnTo>
                <a:lnTo>
                  <a:pt x="319040" y="35283"/>
                </a:lnTo>
                <a:lnTo>
                  <a:pt x="363099" y="20164"/>
                </a:lnTo>
                <a:lnTo>
                  <a:pt x="408888" y="9102"/>
                </a:lnTo>
                <a:lnTo>
                  <a:pt x="456197" y="2310"/>
                </a:lnTo>
                <a:lnTo>
                  <a:pt x="504812" y="0"/>
                </a:lnTo>
                <a:lnTo>
                  <a:pt x="553431" y="2310"/>
                </a:lnTo>
                <a:lnTo>
                  <a:pt x="600743" y="9102"/>
                </a:lnTo>
                <a:lnTo>
                  <a:pt x="646535" y="20164"/>
                </a:lnTo>
                <a:lnTo>
                  <a:pt x="690596" y="35283"/>
                </a:lnTo>
                <a:lnTo>
                  <a:pt x="732715" y="54248"/>
                </a:lnTo>
                <a:lnTo>
                  <a:pt x="772680" y="76848"/>
                </a:lnTo>
                <a:lnTo>
                  <a:pt x="810279" y="102871"/>
                </a:lnTo>
                <a:lnTo>
                  <a:pt x="845302" y="132105"/>
                </a:lnTo>
                <a:lnTo>
                  <a:pt x="877535" y="164340"/>
                </a:lnTo>
                <a:lnTo>
                  <a:pt x="906769" y="199363"/>
                </a:lnTo>
                <a:lnTo>
                  <a:pt x="932791" y="236962"/>
                </a:lnTo>
                <a:lnTo>
                  <a:pt x="955391" y="276927"/>
                </a:lnTo>
                <a:lnTo>
                  <a:pt x="974355" y="319045"/>
                </a:lnTo>
                <a:lnTo>
                  <a:pt x="989474" y="363106"/>
                </a:lnTo>
                <a:lnTo>
                  <a:pt x="1000534" y="408897"/>
                </a:lnTo>
                <a:lnTo>
                  <a:pt x="1007326" y="456207"/>
                </a:lnTo>
                <a:lnTo>
                  <a:pt x="1009637" y="504825"/>
                </a:lnTo>
                <a:close/>
              </a:path>
            </a:pathLst>
          </a:custGeom>
          <a:solidFill>
            <a:schemeClr val="bg1"/>
          </a:solidFill>
          <a:ln w="12700">
            <a:solidFill>
              <a:srgbClr val="0046BA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3B3B3A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7" name="bg object 16">
            <a:extLst>
              <a:ext uri="{FF2B5EF4-FFF2-40B4-BE49-F238E27FC236}">
                <a16:creationId xmlns:a16="http://schemas.microsoft.com/office/drawing/2014/main" id="{BCFAEBF8-790C-A54A-9E47-3E3639BCC461}"/>
              </a:ext>
            </a:extLst>
          </p:cNvPr>
          <p:cNvSpPr/>
          <p:nvPr/>
        </p:nvSpPr>
        <p:spPr>
          <a:xfrm>
            <a:off x="11330381" y="6448615"/>
            <a:ext cx="311785" cy="410845"/>
          </a:xfrm>
          <a:custGeom>
            <a:avLst/>
            <a:gdLst/>
            <a:ahLst/>
            <a:cxnLst/>
            <a:rect l="l" t="t" r="r" b="b"/>
            <a:pathLst>
              <a:path w="311784" h="410845">
                <a:moveTo>
                  <a:pt x="311645" y="0"/>
                </a:moveTo>
                <a:lnTo>
                  <a:pt x="0" y="0"/>
                </a:lnTo>
                <a:lnTo>
                  <a:pt x="0" y="410438"/>
                </a:lnTo>
                <a:lnTo>
                  <a:pt x="311645" y="410438"/>
                </a:lnTo>
                <a:lnTo>
                  <a:pt x="311645" y="0"/>
                </a:lnTo>
                <a:close/>
              </a:path>
            </a:pathLst>
          </a:custGeom>
          <a:solidFill>
            <a:srgbClr val="0047B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" name="Holder 7">
            <a:extLst>
              <a:ext uri="{FF2B5EF4-FFF2-40B4-BE49-F238E27FC236}">
                <a16:creationId xmlns:a16="http://schemas.microsoft.com/office/drawing/2014/main" id="{EADEFA5D-780C-4841-8968-F8DA8FB77458}"/>
              </a:ext>
            </a:extLst>
          </p:cNvPr>
          <p:cNvSpPr txBox="1">
            <a:spLocks/>
          </p:cNvSpPr>
          <p:nvPr/>
        </p:nvSpPr>
        <p:spPr>
          <a:xfrm>
            <a:off x="11342726" y="6520516"/>
            <a:ext cx="256044" cy="16158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it-IT"/>
            </a:defPPr>
            <a:lvl1pPr marL="0" algn="l" defTabSz="914400" rtl="0" eaLnBrk="1" latinLnBrk="0" hangingPunct="1">
              <a:defRPr sz="850" b="1" i="0" kern="1200">
                <a:solidFill>
                  <a:schemeClr val="bg1"/>
                </a:solidFill>
                <a:latin typeface="Verdana"/>
                <a:ea typeface="+mn-ea"/>
                <a:cs typeface="Verdana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8100" algn="ctr">
              <a:spcBef>
                <a:spcPts val="105"/>
              </a:spcBef>
            </a:pPr>
            <a:fld id="{81D60167-4931-47E6-BA6A-407CBD079E47}" type="slidenum">
              <a:rPr lang="it-IT" sz="1050" b="0" i="0" spc="5" smtClean="0">
                <a:latin typeface="Avenir Next LT Pro" pitchFamily="2" charset="0"/>
              </a:rPr>
              <a:pPr marL="38100" algn="ctr">
                <a:spcBef>
                  <a:spcPts val="105"/>
                </a:spcBef>
              </a:pPr>
              <a:t>‹N›</a:t>
            </a:fld>
            <a:endParaRPr lang="it-IT" sz="1050" b="0" i="0" spc="5" dirty="0">
              <a:latin typeface="Avenir Next LT Pro" pitchFamily="2" charset="0"/>
            </a:endParaRPr>
          </a:p>
        </p:txBody>
      </p:sp>
      <p:sp>
        <p:nvSpPr>
          <p:cNvPr id="6" name="Triangolo isoscele 16">
            <a:extLst>
              <a:ext uri="{FF2B5EF4-FFF2-40B4-BE49-F238E27FC236}">
                <a16:creationId xmlns:a16="http://schemas.microsoft.com/office/drawing/2014/main" id="{8A368720-335F-0F45-860A-0606EE42684C}"/>
              </a:ext>
            </a:extLst>
          </p:cNvPr>
          <p:cNvSpPr/>
          <p:nvPr/>
        </p:nvSpPr>
        <p:spPr>
          <a:xfrm rot="10800000">
            <a:off x="303127" y="-324737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7" name="Triangolo isoscele 17">
            <a:extLst>
              <a:ext uri="{FF2B5EF4-FFF2-40B4-BE49-F238E27FC236}">
                <a16:creationId xmlns:a16="http://schemas.microsoft.com/office/drawing/2014/main" id="{E2772AA6-60C9-0B42-835F-13797EE9ED3C}"/>
              </a:ext>
            </a:extLst>
          </p:cNvPr>
          <p:cNvSpPr/>
          <p:nvPr/>
        </p:nvSpPr>
        <p:spPr>
          <a:xfrm rot="10800000">
            <a:off x="11756536" y="-324737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8" name="Triangolo isoscele 18">
            <a:extLst>
              <a:ext uri="{FF2B5EF4-FFF2-40B4-BE49-F238E27FC236}">
                <a16:creationId xmlns:a16="http://schemas.microsoft.com/office/drawing/2014/main" id="{C7BF371F-A6F2-FD41-82B8-D9B554CACAF1}"/>
              </a:ext>
            </a:extLst>
          </p:cNvPr>
          <p:cNvSpPr/>
          <p:nvPr/>
        </p:nvSpPr>
        <p:spPr>
          <a:xfrm>
            <a:off x="303127" y="6950754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9" name="Triangolo isoscele 19">
            <a:extLst>
              <a:ext uri="{FF2B5EF4-FFF2-40B4-BE49-F238E27FC236}">
                <a16:creationId xmlns:a16="http://schemas.microsoft.com/office/drawing/2014/main" id="{FCEF8EFB-88B6-D747-9382-15136CFCC56E}"/>
              </a:ext>
            </a:extLst>
          </p:cNvPr>
          <p:cNvSpPr/>
          <p:nvPr/>
        </p:nvSpPr>
        <p:spPr>
          <a:xfrm>
            <a:off x="11756536" y="6950754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10" name="Triangolo isoscele 20">
            <a:extLst>
              <a:ext uri="{FF2B5EF4-FFF2-40B4-BE49-F238E27FC236}">
                <a16:creationId xmlns:a16="http://schemas.microsoft.com/office/drawing/2014/main" id="{47007676-0BFD-5F42-846B-AA823A1BFA60}"/>
              </a:ext>
            </a:extLst>
          </p:cNvPr>
          <p:cNvSpPr/>
          <p:nvPr/>
        </p:nvSpPr>
        <p:spPr>
          <a:xfrm rot="5400000">
            <a:off x="-276040" y="885372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11" name="Triangolo isoscele 21">
            <a:extLst>
              <a:ext uri="{FF2B5EF4-FFF2-40B4-BE49-F238E27FC236}">
                <a16:creationId xmlns:a16="http://schemas.microsoft.com/office/drawing/2014/main" id="{9F8B8967-D8B7-EF40-A160-9FD75894783B}"/>
              </a:ext>
            </a:extLst>
          </p:cNvPr>
          <p:cNvSpPr/>
          <p:nvPr/>
        </p:nvSpPr>
        <p:spPr>
          <a:xfrm rot="5400000">
            <a:off x="-276039" y="5982836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12" name="Triangolo isoscele 22">
            <a:extLst>
              <a:ext uri="{FF2B5EF4-FFF2-40B4-BE49-F238E27FC236}">
                <a16:creationId xmlns:a16="http://schemas.microsoft.com/office/drawing/2014/main" id="{58B46DE6-6338-7140-8CA8-25EC1DE4AEB7}"/>
              </a:ext>
            </a:extLst>
          </p:cNvPr>
          <p:cNvSpPr/>
          <p:nvPr/>
        </p:nvSpPr>
        <p:spPr>
          <a:xfrm rot="16200000">
            <a:off x="12331119" y="885372"/>
            <a:ext cx="132336" cy="261257"/>
          </a:xfrm>
          <a:prstGeom prst="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13" name="Triangolo isoscele 23">
            <a:extLst>
              <a:ext uri="{FF2B5EF4-FFF2-40B4-BE49-F238E27FC236}">
                <a16:creationId xmlns:a16="http://schemas.microsoft.com/office/drawing/2014/main" id="{BA951F18-3E6B-F245-B833-D4E6A22CAE34}"/>
              </a:ext>
            </a:extLst>
          </p:cNvPr>
          <p:cNvSpPr/>
          <p:nvPr/>
        </p:nvSpPr>
        <p:spPr>
          <a:xfrm rot="16200000">
            <a:off x="12331120" y="5982836"/>
            <a:ext cx="132336" cy="261257"/>
          </a:xfrm>
          <a:prstGeom prst="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14" name="Triangolo isoscele 31">
            <a:extLst>
              <a:ext uri="{FF2B5EF4-FFF2-40B4-BE49-F238E27FC236}">
                <a16:creationId xmlns:a16="http://schemas.microsoft.com/office/drawing/2014/main" id="{07246241-C678-DB48-84D0-2C7143C6A157}"/>
              </a:ext>
            </a:extLst>
          </p:cNvPr>
          <p:cNvSpPr/>
          <p:nvPr/>
        </p:nvSpPr>
        <p:spPr>
          <a:xfrm rot="10800000">
            <a:off x="303127" y="-324737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15" name="Triangolo isoscele 32">
            <a:extLst>
              <a:ext uri="{FF2B5EF4-FFF2-40B4-BE49-F238E27FC236}">
                <a16:creationId xmlns:a16="http://schemas.microsoft.com/office/drawing/2014/main" id="{A3BC8E3A-7E5D-BE49-8DBD-35856251134F}"/>
              </a:ext>
            </a:extLst>
          </p:cNvPr>
          <p:cNvSpPr/>
          <p:nvPr/>
        </p:nvSpPr>
        <p:spPr>
          <a:xfrm rot="10800000">
            <a:off x="11756536" y="-324737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16" name="Triangolo isoscele 33">
            <a:extLst>
              <a:ext uri="{FF2B5EF4-FFF2-40B4-BE49-F238E27FC236}">
                <a16:creationId xmlns:a16="http://schemas.microsoft.com/office/drawing/2014/main" id="{E9B5EA53-1DC4-1940-8594-3256ADD5AE0C}"/>
              </a:ext>
            </a:extLst>
          </p:cNvPr>
          <p:cNvSpPr/>
          <p:nvPr/>
        </p:nvSpPr>
        <p:spPr>
          <a:xfrm>
            <a:off x="303127" y="6950754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21" name="Triangolo isoscele 34">
            <a:extLst>
              <a:ext uri="{FF2B5EF4-FFF2-40B4-BE49-F238E27FC236}">
                <a16:creationId xmlns:a16="http://schemas.microsoft.com/office/drawing/2014/main" id="{749E0E17-FFD8-164C-B560-1DFF3FBB41DF}"/>
              </a:ext>
            </a:extLst>
          </p:cNvPr>
          <p:cNvSpPr/>
          <p:nvPr/>
        </p:nvSpPr>
        <p:spPr>
          <a:xfrm>
            <a:off x="11756536" y="6950754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22" name="Triangolo isoscele 35">
            <a:extLst>
              <a:ext uri="{FF2B5EF4-FFF2-40B4-BE49-F238E27FC236}">
                <a16:creationId xmlns:a16="http://schemas.microsoft.com/office/drawing/2014/main" id="{2449D32D-31E9-1E41-8135-CF757AF1ADCB}"/>
              </a:ext>
            </a:extLst>
          </p:cNvPr>
          <p:cNvSpPr/>
          <p:nvPr/>
        </p:nvSpPr>
        <p:spPr>
          <a:xfrm rot="5400000">
            <a:off x="-276040" y="885372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23" name="Triangolo isoscele 36">
            <a:extLst>
              <a:ext uri="{FF2B5EF4-FFF2-40B4-BE49-F238E27FC236}">
                <a16:creationId xmlns:a16="http://schemas.microsoft.com/office/drawing/2014/main" id="{92505FB0-1068-1143-AB9B-F5A849D826DE}"/>
              </a:ext>
            </a:extLst>
          </p:cNvPr>
          <p:cNvSpPr/>
          <p:nvPr/>
        </p:nvSpPr>
        <p:spPr>
          <a:xfrm rot="5400000">
            <a:off x="-276039" y="5982836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24" name="Triangolo isoscele 37">
            <a:extLst>
              <a:ext uri="{FF2B5EF4-FFF2-40B4-BE49-F238E27FC236}">
                <a16:creationId xmlns:a16="http://schemas.microsoft.com/office/drawing/2014/main" id="{D60FCBF0-3D48-CF40-ABA6-F53B703D88CA}"/>
              </a:ext>
            </a:extLst>
          </p:cNvPr>
          <p:cNvSpPr/>
          <p:nvPr/>
        </p:nvSpPr>
        <p:spPr>
          <a:xfrm rot="16200000">
            <a:off x="12331119" y="885372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25" name="Triangolo isoscele 38">
            <a:extLst>
              <a:ext uri="{FF2B5EF4-FFF2-40B4-BE49-F238E27FC236}">
                <a16:creationId xmlns:a16="http://schemas.microsoft.com/office/drawing/2014/main" id="{95E14022-E59F-9F4C-998B-8575096AA6A0}"/>
              </a:ext>
            </a:extLst>
          </p:cNvPr>
          <p:cNvSpPr/>
          <p:nvPr/>
        </p:nvSpPr>
        <p:spPr>
          <a:xfrm rot="16200000">
            <a:off x="12331120" y="5982836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pic>
        <p:nvPicPr>
          <p:cNvPr id="36" name="Elemento grafico 35">
            <a:extLst>
              <a:ext uri="{FF2B5EF4-FFF2-40B4-BE49-F238E27FC236}">
                <a16:creationId xmlns:a16="http://schemas.microsoft.com/office/drawing/2014/main" id="{9531B5A1-7BA2-E141-B54D-FEC62D4B762E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081892" y="-5080"/>
            <a:ext cx="1560273" cy="309880"/>
          </a:xfrm>
          <a:prstGeom prst="rect">
            <a:avLst/>
          </a:prstGeom>
        </p:spPr>
      </p:pic>
      <p:sp>
        <p:nvSpPr>
          <p:cNvPr id="37" name="object 267">
            <a:extLst>
              <a:ext uri="{FF2B5EF4-FFF2-40B4-BE49-F238E27FC236}">
                <a16:creationId xmlns:a16="http://schemas.microsoft.com/office/drawing/2014/main" id="{1A701277-6B82-924C-9434-545B7977906E}"/>
              </a:ext>
            </a:extLst>
          </p:cNvPr>
          <p:cNvSpPr/>
          <p:nvPr/>
        </p:nvSpPr>
        <p:spPr>
          <a:xfrm>
            <a:off x="0" y="1251482"/>
            <a:ext cx="675518" cy="45719"/>
          </a:xfrm>
          <a:custGeom>
            <a:avLst/>
            <a:gdLst/>
            <a:ahLst/>
            <a:cxnLst/>
            <a:rect l="l" t="t" r="r" b="b"/>
            <a:pathLst>
              <a:path w="657225">
                <a:moveTo>
                  <a:pt x="0" y="0"/>
                </a:moveTo>
                <a:lnTo>
                  <a:pt x="656678" y="0"/>
                </a:lnTo>
              </a:path>
            </a:pathLst>
          </a:custGeom>
          <a:ln w="76200">
            <a:solidFill>
              <a:srgbClr val="EEDC00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JhengHei UI Light" panose="020B0304030504040204" pitchFamily="34" charset="-120"/>
              <a:ea typeface="Microsoft JhengHei UI Light" panose="020B0304030504040204" pitchFamily="34" charset="-120"/>
              <a:cs typeface="+mn-cs"/>
            </a:endParaRPr>
          </a:p>
        </p:txBody>
      </p:sp>
      <p:sp>
        <p:nvSpPr>
          <p:cNvPr id="40" name="Segnaposto testo 4">
            <a:extLst>
              <a:ext uri="{FF2B5EF4-FFF2-40B4-BE49-F238E27FC236}">
                <a16:creationId xmlns:a16="http://schemas.microsoft.com/office/drawing/2014/main" id="{597E06C8-CAFB-E24B-A154-8EA093E0C54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49834" y="5917932"/>
            <a:ext cx="9402763" cy="573088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900" b="0" i="0">
                <a:latin typeface="Avenir Next LT Pro" panose="020B0504020202020204" pitchFamily="34" charset="77"/>
              </a:defRPr>
            </a:lvl1pPr>
            <a:lvl2pPr marL="457200" indent="0">
              <a:buNone/>
              <a:defRPr sz="900" b="0" i="0">
                <a:latin typeface="Avenir Next LT Pro" panose="020B0504020202020204" pitchFamily="34" charset="77"/>
              </a:defRPr>
            </a:lvl2pPr>
            <a:lvl3pPr marL="914400" indent="0">
              <a:buNone/>
              <a:defRPr sz="900" b="0" i="0">
                <a:latin typeface="Avenir Next LT Pro" panose="020B0504020202020204" pitchFamily="34" charset="77"/>
              </a:defRPr>
            </a:lvl3pPr>
            <a:lvl4pPr marL="1371600" indent="0">
              <a:buNone/>
              <a:defRPr sz="900" b="0" i="0">
                <a:latin typeface="Avenir Next LT Pro" panose="020B0504020202020204" pitchFamily="34" charset="77"/>
              </a:defRPr>
            </a:lvl4pPr>
            <a:lvl5pPr marL="1828800" indent="0">
              <a:buNone/>
              <a:defRPr sz="900" b="0" i="0">
                <a:latin typeface="Avenir Next LT Pro" panose="020B0504020202020204" pitchFamily="34" charset="77"/>
              </a:defRPr>
            </a:lvl5pPr>
          </a:lstStyle>
          <a:p>
            <a:pPr lvl="0"/>
            <a:r>
              <a:rPr lang="it-IT" dirty="0"/>
              <a:t>1. Fare clic per modificare le note 2. Fare clic per modificare le note 3. Fare clic per modificare le note </a:t>
            </a:r>
          </a:p>
        </p:txBody>
      </p:sp>
      <p:sp>
        <p:nvSpPr>
          <p:cNvPr id="46" name="object 47">
            <a:extLst>
              <a:ext uri="{FF2B5EF4-FFF2-40B4-BE49-F238E27FC236}">
                <a16:creationId xmlns:a16="http://schemas.microsoft.com/office/drawing/2014/main" id="{C3CCE1DA-2BD5-CD45-8599-38CE991939DC}"/>
              </a:ext>
            </a:extLst>
          </p:cNvPr>
          <p:cNvSpPr/>
          <p:nvPr/>
        </p:nvSpPr>
        <p:spPr>
          <a:xfrm>
            <a:off x="687940" y="1563967"/>
            <a:ext cx="648000" cy="648000"/>
          </a:xfrm>
          <a:custGeom>
            <a:avLst/>
            <a:gdLst/>
            <a:ahLst/>
            <a:cxnLst/>
            <a:rect l="l" t="t" r="r" b="b"/>
            <a:pathLst>
              <a:path w="836294" h="836294">
                <a:moveTo>
                  <a:pt x="417944" y="0"/>
                </a:moveTo>
                <a:lnTo>
                  <a:pt x="369203" y="2811"/>
                </a:lnTo>
                <a:lnTo>
                  <a:pt x="322114" y="11038"/>
                </a:lnTo>
                <a:lnTo>
                  <a:pt x="276989" y="24365"/>
                </a:lnTo>
                <a:lnTo>
                  <a:pt x="234143" y="42480"/>
                </a:lnTo>
                <a:lnTo>
                  <a:pt x="193890" y="65069"/>
                </a:lnTo>
                <a:lnTo>
                  <a:pt x="156542" y="91818"/>
                </a:lnTo>
                <a:lnTo>
                  <a:pt x="122413" y="122413"/>
                </a:lnTo>
                <a:lnTo>
                  <a:pt x="91818" y="156542"/>
                </a:lnTo>
                <a:lnTo>
                  <a:pt x="65069" y="193890"/>
                </a:lnTo>
                <a:lnTo>
                  <a:pt x="42480" y="234143"/>
                </a:lnTo>
                <a:lnTo>
                  <a:pt x="24365" y="276989"/>
                </a:lnTo>
                <a:lnTo>
                  <a:pt x="11038" y="322114"/>
                </a:lnTo>
                <a:lnTo>
                  <a:pt x="2811" y="369203"/>
                </a:lnTo>
                <a:lnTo>
                  <a:pt x="0" y="417944"/>
                </a:lnTo>
                <a:lnTo>
                  <a:pt x="2811" y="466685"/>
                </a:lnTo>
                <a:lnTo>
                  <a:pt x="11038" y="513774"/>
                </a:lnTo>
                <a:lnTo>
                  <a:pt x="24365" y="558898"/>
                </a:lnTo>
                <a:lnTo>
                  <a:pt x="42480" y="601744"/>
                </a:lnTo>
                <a:lnTo>
                  <a:pt x="65069" y="641998"/>
                </a:lnTo>
                <a:lnTo>
                  <a:pt x="91818" y="679346"/>
                </a:lnTo>
                <a:lnTo>
                  <a:pt x="122413" y="713474"/>
                </a:lnTo>
                <a:lnTo>
                  <a:pt x="156542" y="744070"/>
                </a:lnTo>
                <a:lnTo>
                  <a:pt x="193890" y="770819"/>
                </a:lnTo>
                <a:lnTo>
                  <a:pt x="234143" y="793407"/>
                </a:lnTo>
                <a:lnTo>
                  <a:pt x="276989" y="811522"/>
                </a:lnTo>
                <a:lnTo>
                  <a:pt x="322114" y="824850"/>
                </a:lnTo>
                <a:lnTo>
                  <a:pt x="369203" y="833076"/>
                </a:lnTo>
                <a:lnTo>
                  <a:pt x="417944" y="835888"/>
                </a:lnTo>
                <a:lnTo>
                  <a:pt x="466685" y="833076"/>
                </a:lnTo>
                <a:lnTo>
                  <a:pt x="513774" y="824850"/>
                </a:lnTo>
                <a:lnTo>
                  <a:pt x="558898" y="811522"/>
                </a:lnTo>
                <a:lnTo>
                  <a:pt x="601744" y="793407"/>
                </a:lnTo>
                <a:lnTo>
                  <a:pt x="641998" y="770819"/>
                </a:lnTo>
                <a:lnTo>
                  <a:pt x="679346" y="744070"/>
                </a:lnTo>
                <a:lnTo>
                  <a:pt x="713474" y="713474"/>
                </a:lnTo>
                <a:lnTo>
                  <a:pt x="744070" y="679346"/>
                </a:lnTo>
                <a:lnTo>
                  <a:pt x="770819" y="641998"/>
                </a:lnTo>
                <a:lnTo>
                  <a:pt x="793407" y="601744"/>
                </a:lnTo>
                <a:lnTo>
                  <a:pt x="811522" y="558898"/>
                </a:lnTo>
                <a:lnTo>
                  <a:pt x="824850" y="513774"/>
                </a:lnTo>
                <a:lnTo>
                  <a:pt x="833076" y="466685"/>
                </a:lnTo>
                <a:lnTo>
                  <a:pt x="835888" y="417944"/>
                </a:lnTo>
                <a:lnTo>
                  <a:pt x="833076" y="369203"/>
                </a:lnTo>
                <a:lnTo>
                  <a:pt x="824850" y="322114"/>
                </a:lnTo>
                <a:lnTo>
                  <a:pt x="811522" y="276989"/>
                </a:lnTo>
                <a:lnTo>
                  <a:pt x="793407" y="234143"/>
                </a:lnTo>
                <a:lnTo>
                  <a:pt x="770819" y="193890"/>
                </a:lnTo>
                <a:lnTo>
                  <a:pt x="744070" y="156542"/>
                </a:lnTo>
                <a:lnTo>
                  <a:pt x="713474" y="122413"/>
                </a:lnTo>
                <a:lnTo>
                  <a:pt x="679346" y="91818"/>
                </a:lnTo>
                <a:lnTo>
                  <a:pt x="641998" y="65069"/>
                </a:lnTo>
                <a:lnTo>
                  <a:pt x="601744" y="42480"/>
                </a:lnTo>
                <a:lnTo>
                  <a:pt x="558898" y="24365"/>
                </a:lnTo>
                <a:lnTo>
                  <a:pt x="513774" y="11038"/>
                </a:lnTo>
                <a:lnTo>
                  <a:pt x="466685" y="2811"/>
                </a:lnTo>
                <a:lnTo>
                  <a:pt x="417944" y="0"/>
                </a:lnTo>
                <a:close/>
              </a:path>
            </a:pathLst>
          </a:custGeom>
          <a:solidFill>
            <a:srgbClr val="EEDC00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 dirty="0">
              <a:ln>
                <a:noFill/>
              </a:ln>
              <a:solidFill>
                <a:srgbClr val="3B3B3A"/>
              </a:solidFill>
              <a:effectLst/>
              <a:uLnTx/>
              <a:uFillTx/>
              <a:latin typeface="Avenir Next LT Pro" panose="020B0504020202020204" pitchFamily="34" charset="77"/>
              <a:ea typeface="+mn-ea"/>
              <a:cs typeface="+mn-cs"/>
            </a:endParaRPr>
          </a:p>
        </p:txBody>
      </p:sp>
      <p:sp>
        <p:nvSpPr>
          <p:cNvPr id="31" name="object 46">
            <a:extLst>
              <a:ext uri="{FF2B5EF4-FFF2-40B4-BE49-F238E27FC236}">
                <a16:creationId xmlns:a16="http://schemas.microsoft.com/office/drawing/2014/main" id="{5D13B668-912F-4A46-A031-65A671E9D20C}"/>
              </a:ext>
            </a:extLst>
          </p:cNvPr>
          <p:cNvSpPr>
            <a:spLocks noChangeAspect="1"/>
          </p:cNvSpPr>
          <p:nvPr/>
        </p:nvSpPr>
        <p:spPr>
          <a:xfrm>
            <a:off x="633940" y="1509967"/>
            <a:ext cx="756000" cy="756000"/>
          </a:xfrm>
          <a:custGeom>
            <a:avLst/>
            <a:gdLst/>
            <a:ahLst/>
            <a:cxnLst/>
            <a:rect l="l" t="t" r="r" b="b"/>
            <a:pathLst>
              <a:path w="1009650" h="1009650">
                <a:moveTo>
                  <a:pt x="1009637" y="504825"/>
                </a:moveTo>
                <a:lnTo>
                  <a:pt x="1007326" y="553440"/>
                </a:lnTo>
                <a:lnTo>
                  <a:pt x="1000534" y="600748"/>
                </a:lnTo>
                <a:lnTo>
                  <a:pt x="989474" y="646537"/>
                </a:lnTo>
                <a:lnTo>
                  <a:pt x="974355" y="690596"/>
                </a:lnTo>
                <a:lnTo>
                  <a:pt x="955391" y="732714"/>
                </a:lnTo>
                <a:lnTo>
                  <a:pt x="932791" y="772678"/>
                </a:lnTo>
                <a:lnTo>
                  <a:pt x="906769" y="810276"/>
                </a:lnTo>
                <a:lnTo>
                  <a:pt x="877535" y="845298"/>
                </a:lnTo>
                <a:lnTo>
                  <a:pt x="845302" y="877532"/>
                </a:lnTo>
                <a:lnTo>
                  <a:pt x="810279" y="906766"/>
                </a:lnTo>
                <a:lnTo>
                  <a:pt x="772680" y="932789"/>
                </a:lnTo>
                <a:lnTo>
                  <a:pt x="732715" y="955389"/>
                </a:lnTo>
                <a:lnTo>
                  <a:pt x="690596" y="974354"/>
                </a:lnTo>
                <a:lnTo>
                  <a:pt x="646535" y="989473"/>
                </a:lnTo>
                <a:lnTo>
                  <a:pt x="600743" y="1000534"/>
                </a:lnTo>
                <a:lnTo>
                  <a:pt x="553431" y="1007326"/>
                </a:lnTo>
                <a:lnTo>
                  <a:pt x="504812" y="1009637"/>
                </a:lnTo>
                <a:lnTo>
                  <a:pt x="456197" y="1007326"/>
                </a:lnTo>
                <a:lnTo>
                  <a:pt x="408888" y="1000534"/>
                </a:lnTo>
                <a:lnTo>
                  <a:pt x="363099" y="989473"/>
                </a:lnTo>
                <a:lnTo>
                  <a:pt x="319040" y="974354"/>
                </a:lnTo>
                <a:lnTo>
                  <a:pt x="276923" y="955389"/>
                </a:lnTo>
                <a:lnTo>
                  <a:pt x="236959" y="932789"/>
                </a:lnTo>
                <a:lnTo>
                  <a:pt x="199360" y="906766"/>
                </a:lnTo>
                <a:lnTo>
                  <a:pt x="164338" y="877532"/>
                </a:lnTo>
                <a:lnTo>
                  <a:pt x="132104" y="845298"/>
                </a:lnTo>
                <a:lnTo>
                  <a:pt x="102870" y="810276"/>
                </a:lnTo>
                <a:lnTo>
                  <a:pt x="76847" y="772678"/>
                </a:lnTo>
                <a:lnTo>
                  <a:pt x="54248" y="732714"/>
                </a:lnTo>
                <a:lnTo>
                  <a:pt x="35283" y="690596"/>
                </a:lnTo>
                <a:lnTo>
                  <a:pt x="20164" y="646537"/>
                </a:lnTo>
                <a:lnTo>
                  <a:pt x="9102" y="600748"/>
                </a:lnTo>
                <a:lnTo>
                  <a:pt x="2310" y="553440"/>
                </a:lnTo>
                <a:lnTo>
                  <a:pt x="0" y="504825"/>
                </a:lnTo>
                <a:lnTo>
                  <a:pt x="2310" y="456207"/>
                </a:lnTo>
                <a:lnTo>
                  <a:pt x="9102" y="408897"/>
                </a:lnTo>
                <a:lnTo>
                  <a:pt x="20164" y="363106"/>
                </a:lnTo>
                <a:lnTo>
                  <a:pt x="35283" y="319045"/>
                </a:lnTo>
                <a:lnTo>
                  <a:pt x="54248" y="276927"/>
                </a:lnTo>
                <a:lnTo>
                  <a:pt x="76847" y="236962"/>
                </a:lnTo>
                <a:lnTo>
                  <a:pt x="102870" y="199363"/>
                </a:lnTo>
                <a:lnTo>
                  <a:pt x="132104" y="164340"/>
                </a:lnTo>
                <a:lnTo>
                  <a:pt x="164338" y="132105"/>
                </a:lnTo>
                <a:lnTo>
                  <a:pt x="199360" y="102871"/>
                </a:lnTo>
                <a:lnTo>
                  <a:pt x="236959" y="76848"/>
                </a:lnTo>
                <a:lnTo>
                  <a:pt x="276923" y="54248"/>
                </a:lnTo>
                <a:lnTo>
                  <a:pt x="319040" y="35283"/>
                </a:lnTo>
                <a:lnTo>
                  <a:pt x="363099" y="20164"/>
                </a:lnTo>
                <a:lnTo>
                  <a:pt x="408888" y="9102"/>
                </a:lnTo>
                <a:lnTo>
                  <a:pt x="456197" y="2310"/>
                </a:lnTo>
                <a:lnTo>
                  <a:pt x="504812" y="0"/>
                </a:lnTo>
                <a:lnTo>
                  <a:pt x="553431" y="2310"/>
                </a:lnTo>
                <a:lnTo>
                  <a:pt x="600743" y="9102"/>
                </a:lnTo>
                <a:lnTo>
                  <a:pt x="646535" y="20164"/>
                </a:lnTo>
                <a:lnTo>
                  <a:pt x="690596" y="35283"/>
                </a:lnTo>
                <a:lnTo>
                  <a:pt x="732715" y="54248"/>
                </a:lnTo>
                <a:lnTo>
                  <a:pt x="772680" y="76848"/>
                </a:lnTo>
                <a:lnTo>
                  <a:pt x="810279" y="102871"/>
                </a:lnTo>
                <a:lnTo>
                  <a:pt x="845302" y="132105"/>
                </a:lnTo>
                <a:lnTo>
                  <a:pt x="877535" y="164340"/>
                </a:lnTo>
                <a:lnTo>
                  <a:pt x="906769" y="199363"/>
                </a:lnTo>
                <a:lnTo>
                  <a:pt x="932791" y="236962"/>
                </a:lnTo>
                <a:lnTo>
                  <a:pt x="955391" y="276927"/>
                </a:lnTo>
                <a:lnTo>
                  <a:pt x="974355" y="319045"/>
                </a:lnTo>
                <a:lnTo>
                  <a:pt x="989474" y="363106"/>
                </a:lnTo>
                <a:lnTo>
                  <a:pt x="1000534" y="408897"/>
                </a:lnTo>
                <a:lnTo>
                  <a:pt x="1007326" y="456207"/>
                </a:lnTo>
                <a:lnTo>
                  <a:pt x="1009637" y="504825"/>
                </a:lnTo>
                <a:close/>
              </a:path>
            </a:pathLst>
          </a:custGeom>
          <a:solidFill>
            <a:schemeClr val="bg1"/>
          </a:solidFill>
          <a:ln w="12700">
            <a:solidFill>
              <a:srgbClr val="0046BA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3B3B3A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2" name="bg object 16">
            <a:extLst>
              <a:ext uri="{FF2B5EF4-FFF2-40B4-BE49-F238E27FC236}">
                <a16:creationId xmlns:a16="http://schemas.microsoft.com/office/drawing/2014/main" id="{7B75A25D-A157-804F-9EB1-E5B1BA717368}"/>
              </a:ext>
            </a:extLst>
          </p:cNvPr>
          <p:cNvSpPr/>
          <p:nvPr/>
        </p:nvSpPr>
        <p:spPr>
          <a:xfrm>
            <a:off x="11330381" y="6448615"/>
            <a:ext cx="311785" cy="410845"/>
          </a:xfrm>
          <a:custGeom>
            <a:avLst/>
            <a:gdLst/>
            <a:ahLst/>
            <a:cxnLst/>
            <a:rect l="l" t="t" r="r" b="b"/>
            <a:pathLst>
              <a:path w="311784" h="410845">
                <a:moveTo>
                  <a:pt x="311645" y="0"/>
                </a:moveTo>
                <a:lnTo>
                  <a:pt x="0" y="0"/>
                </a:lnTo>
                <a:lnTo>
                  <a:pt x="0" y="410438"/>
                </a:lnTo>
                <a:lnTo>
                  <a:pt x="311645" y="410438"/>
                </a:lnTo>
                <a:lnTo>
                  <a:pt x="311645" y="0"/>
                </a:lnTo>
                <a:close/>
              </a:path>
            </a:pathLst>
          </a:custGeom>
          <a:solidFill>
            <a:srgbClr val="0047B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3" name="Holder 7">
            <a:extLst>
              <a:ext uri="{FF2B5EF4-FFF2-40B4-BE49-F238E27FC236}">
                <a16:creationId xmlns:a16="http://schemas.microsoft.com/office/drawing/2014/main" id="{65CDA657-C303-3146-B143-EAAA8DFF416C}"/>
              </a:ext>
            </a:extLst>
          </p:cNvPr>
          <p:cNvSpPr txBox="1">
            <a:spLocks/>
          </p:cNvSpPr>
          <p:nvPr/>
        </p:nvSpPr>
        <p:spPr>
          <a:xfrm>
            <a:off x="11342726" y="6520516"/>
            <a:ext cx="256044" cy="16158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it-IT"/>
            </a:defPPr>
            <a:lvl1pPr marL="0" algn="l" defTabSz="914400" rtl="0" eaLnBrk="1" latinLnBrk="0" hangingPunct="1">
              <a:defRPr sz="850" b="1" i="0" kern="1200">
                <a:solidFill>
                  <a:schemeClr val="bg1"/>
                </a:solidFill>
                <a:latin typeface="Verdana"/>
                <a:ea typeface="+mn-ea"/>
                <a:cs typeface="Verdana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8100" algn="ctr">
              <a:spcBef>
                <a:spcPts val="105"/>
              </a:spcBef>
            </a:pPr>
            <a:fld id="{81D60167-4931-47E6-BA6A-407CBD079E47}" type="slidenum">
              <a:rPr lang="it-IT" sz="1050" b="0" i="0" spc="5" smtClean="0">
                <a:latin typeface="Avenir Next LT Pro" pitchFamily="2" charset="0"/>
              </a:rPr>
              <a:pPr marL="38100" algn="ctr">
                <a:spcBef>
                  <a:spcPts val="105"/>
                </a:spcBef>
              </a:pPr>
              <a:t>‹N›</a:t>
            </a:fld>
            <a:endParaRPr lang="it-IT" sz="1050" b="0" i="0" spc="5" dirty="0">
              <a:latin typeface="Avenir Next LT Pro" pitchFamily="2" charset="0"/>
            </a:endParaRPr>
          </a:p>
        </p:txBody>
      </p:sp>
      <p:sp>
        <p:nvSpPr>
          <p:cNvPr id="38" name="Triangolo isoscele 16">
            <a:extLst>
              <a:ext uri="{FF2B5EF4-FFF2-40B4-BE49-F238E27FC236}">
                <a16:creationId xmlns:a16="http://schemas.microsoft.com/office/drawing/2014/main" id="{09E8455E-E08B-C94C-8326-DDAC9A57E74A}"/>
              </a:ext>
            </a:extLst>
          </p:cNvPr>
          <p:cNvSpPr/>
          <p:nvPr/>
        </p:nvSpPr>
        <p:spPr>
          <a:xfrm rot="10800000">
            <a:off x="303127" y="-324737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39" name="Triangolo isoscele 17">
            <a:extLst>
              <a:ext uri="{FF2B5EF4-FFF2-40B4-BE49-F238E27FC236}">
                <a16:creationId xmlns:a16="http://schemas.microsoft.com/office/drawing/2014/main" id="{B708E2E1-1A1A-C24B-9E52-8C0E2CB574BD}"/>
              </a:ext>
            </a:extLst>
          </p:cNvPr>
          <p:cNvSpPr/>
          <p:nvPr/>
        </p:nvSpPr>
        <p:spPr>
          <a:xfrm rot="10800000">
            <a:off x="11756536" y="-324737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41" name="Triangolo isoscele 18">
            <a:extLst>
              <a:ext uri="{FF2B5EF4-FFF2-40B4-BE49-F238E27FC236}">
                <a16:creationId xmlns:a16="http://schemas.microsoft.com/office/drawing/2014/main" id="{47F89D31-8FF0-C545-B8E7-34186263F031}"/>
              </a:ext>
            </a:extLst>
          </p:cNvPr>
          <p:cNvSpPr/>
          <p:nvPr/>
        </p:nvSpPr>
        <p:spPr>
          <a:xfrm>
            <a:off x="303127" y="6950754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42" name="Triangolo isoscele 19">
            <a:extLst>
              <a:ext uri="{FF2B5EF4-FFF2-40B4-BE49-F238E27FC236}">
                <a16:creationId xmlns:a16="http://schemas.microsoft.com/office/drawing/2014/main" id="{01E3FF88-2B5B-E541-832E-60783B3F3049}"/>
              </a:ext>
            </a:extLst>
          </p:cNvPr>
          <p:cNvSpPr/>
          <p:nvPr/>
        </p:nvSpPr>
        <p:spPr>
          <a:xfrm>
            <a:off x="11756536" y="6950754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43" name="Triangolo isoscele 20">
            <a:extLst>
              <a:ext uri="{FF2B5EF4-FFF2-40B4-BE49-F238E27FC236}">
                <a16:creationId xmlns:a16="http://schemas.microsoft.com/office/drawing/2014/main" id="{83819D8D-3F74-2F46-8FEB-69F42E36F1FF}"/>
              </a:ext>
            </a:extLst>
          </p:cNvPr>
          <p:cNvSpPr/>
          <p:nvPr/>
        </p:nvSpPr>
        <p:spPr>
          <a:xfrm rot="5400000">
            <a:off x="-276040" y="885372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44" name="Triangolo isoscele 21">
            <a:extLst>
              <a:ext uri="{FF2B5EF4-FFF2-40B4-BE49-F238E27FC236}">
                <a16:creationId xmlns:a16="http://schemas.microsoft.com/office/drawing/2014/main" id="{D054F160-7F14-A241-9A10-59E376545546}"/>
              </a:ext>
            </a:extLst>
          </p:cNvPr>
          <p:cNvSpPr/>
          <p:nvPr/>
        </p:nvSpPr>
        <p:spPr>
          <a:xfrm rot="5400000">
            <a:off x="-276039" y="5982836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45" name="Triangolo isoscele 22">
            <a:extLst>
              <a:ext uri="{FF2B5EF4-FFF2-40B4-BE49-F238E27FC236}">
                <a16:creationId xmlns:a16="http://schemas.microsoft.com/office/drawing/2014/main" id="{D79E158E-648C-9A4D-B364-F9A803C8FBA1}"/>
              </a:ext>
            </a:extLst>
          </p:cNvPr>
          <p:cNvSpPr/>
          <p:nvPr/>
        </p:nvSpPr>
        <p:spPr>
          <a:xfrm rot="16200000">
            <a:off x="12331119" y="885372"/>
            <a:ext cx="132336" cy="261257"/>
          </a:xfrm>
          <a:prstGeom prst="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49" name="Triangolo isoscele 23">
            <a:extLst>
              <a:ext uri="{FF2B5EF4-FFF2-40B4-BE49-F238E27FC236}">
                <a16:creationId xmlns:a16="http://schemas.microsoft.com/office/drawing/2014/main" id="{5175DAB9-FF7E-E147-90F5-2AA86215EC64}"/>
              </a:ext>
            </a:extLst>
          </p:cNvPr>
          <p:cNvSpPr/>
          <p:nvPr/>
        </p:nvSpPr>
        <p:spPr>
          <a:xfrm rot="16200000">
            <a:off x="12331120" y="5982836"/>
            <a:ext cx="132336" cy="261257"/>
          </a:xfrm>
          <a:prstGeom prst="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50" name="Triangolo isoscele 31">
            <a:extLst>
              <a:ext uri="{FF2B5EF4-FFF2-40B4-BE49-F238E27FC236}">
                <a16:creationId xmlns:a16="http://schemas.microsoft.com/office/drawing/2014/main" id="{23E60D04-3216-EA4F-B2C4-51C5E7B20AEE}"/>
              </a:ext>
            </a:extLst>
          </p:cNvPr>
          <p:cNvSpPr/>
          <p:nvPr/>
        </p:nvSpPr>
        <p:spPr>
          <a:xfrm rot="10800000">
            <a:off x="303127" y="-324737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51" name="Triangolo isoscele 32">
            <a:extLst>
              <a:ext uri="{FF2B5EF4-FFF2-40B4-BE49-F238E27FC236}">
                <a16:creationId xmlns:a16="http://schemas.microsoft.com/office/drawing/2014/main" id="{A3F97FB7-701F-1545-ACC9-C7228CD823EA}"/>
              </a:ext>
            </a:extLst>
          </p:cNvPr>
          <p:cNvSpPr/>
          <p:nvPr/>
        </p:nvSpPr>
        <p:spPr>
          <a:xfrm rot="10800000">
            <a:off x="11756536" y="-324737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52" name="Triangolo isoscele 33">
            <a:extLst>
              <a:ext uri="{FF2B5EF4-FFF2-40B4-BE49-F238E27FC236}">
                <a16:creationId xmlns:a16="http://schemas.microsoft.com/office/drawing/2014/main" id="{DB1FB688-AC42-E24E-8A57-90E7C4C92ADC}"/>
              </a:ext>
            </a:extLst>
          </p:cNvPr>
          <p:cNvSpPr/>
          <p:nvPr/>
        </p:nvSpPr>
        <p:spPr>
          <a:xfrm>
            <a:off x="303127" y="6950754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53" name="Triangolo isoscele 34">
            <a:extLst>
              <a:ext uri="{FF2B5EF4-FFF2-40B4-BE49-F238E27FC236}">
                <a16:creationId xmlns:a16="http://schemas.microsoft.com/office/drawing/2014/main" id="{1F3F50F8-6F2D-6D43-A1B5-B9D3F8006B49}"/>
              </a:ext>
            </a:extLst>
          </p:cNvPr>
          <p:cNvSpPr/>
          <p:nvPr/>
        </p:nvSpPr>
        <p:spPr>
          <a:xfrm>
            <a:off x="11756536" y="6950754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54" name="Triangolo isoscele 35">
            <a:extLst>
              <a:ext uri="{FF2B5EF4-FFF2-40B4-BE49-F238E27FC236}">
                <a16:creationId xmlns:a16="http://schemas.microsoft.com/office/drawing/2014/main" id="{1F5DC3B4-2684-AB47-9A52-20F709B2BEC9}"/>
              </a:ext>
            </a:extLst>
          </p:cNvPr>
          <p:cNvSpPr/>
          <p:nvPr/>
        </p:nvSpPr>
        <p:spPr>
          <a:xfrm rot="5400000">
            <a:off x="-276040" y="885372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55" name="Triangolo isoscele 36">
            <a:extLst>
              <a:ext uri="{FF2B5EF4-FFF2-40B4-BE49-F238E27FC236}">
                <a16:creationId xmlns:a16="http://schemas.microsoft.com/office/drawing/2014/main" id="{9775CC0E-2446-3C4E-88FF-0B1A121FAAE0}"/>
              </a:ext>
            </a:extLst>
          </p:cNvPr>
          <p:cNvSpPr/>
          <p:nvPr/>
        </p:nvSpPr>
        <p:spPr>
          <a:xfrm rot="5400000">
            <a:off x="-276039" y="5982836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56" name="Triangolo isoscele 37">
            <a:extLst>
              <a:ext uri="{FF2B5EF4-FFF2-40B4-BE49-F238E27FC236}">
                <a16:creationId xmlns:a16="http://schemas.microsoft.com/office/drawing/2014/main" id="{78F6ECED-F9B1-884B-A9CF-20F25B619BB9}"/>
              </a:ext>
            </a:extLst>
          </p:cNvPr>
          <p:cNvSpPr/>
          <p:nvPr/>
        </p:nvSpPr>
        <p:spPr>
          <a:xfrm rot="16200000">
            <a:off x="12331119" y="885372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57" name="Triangolo isoscele 38">
            <a:extLst>
              <a:ext uri="{FF2B5EF4-FFF2-40B4-BE49-F238E27FC236}">
                <a16:creationId xmlns:a16="http://schemas.microsoft.com/office/drawing/2014/main" id="{174AE928-C517-5D48-ABCB-7317566988CF}"/>
              </a:ext>
            </a:extLst>
          </p:cNvPr>
          <p:cNvSpPr/>
          <p:nvPr/>
        </p:nvSpPr>
        <p:spPr>
          <a:xfrm rot="16200000">
            <a:off x="12331120" y="5982836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pic>
        <p:nvPicPr>
          <p:cNvPr id="58" name="Elemento grafico 57">
            <a:extLst>
              <a:ext uri="{FF2B5EF4-FFF2-40B4-BE49-F238E27FC236}">
                <a16:creationId xmlns:a16="http://schemas.microsoft.com/office/drawing/2014/main" id="{9CF271F8-58BD-C440-8BC0-6EE0E16487AE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081892" y="-5080"/>
            <a:ext cx="1560273" cy="309880"/>
          </a:xfrm>
          <a:prstGeom prst="rect">
            <a:avLst/>
          </a:prstGeom>
        </p:spPr>
      </p:pic>
      <p:sp>
        <p:nvSpPr>
          <p:cNvPr id="59" name="object 267">
            <a:extLst>
              <a:ext uri="{FF2B5EF4-FFF2-40B4-BE49-F238E27FC236}">
                <a16:creationId xmlns:a16="http://schemas.microsoft.com/office/drawing/2014/main" id="{0663B2D6-616D-474D-95F5-501AEB146A56}"/>
              </a:ext>
            </a:extLst>
          </p:cNvPr>
          <p:cNvSpPr/>
          <p:nvPr/>
        </p:nvSpPr>
        <p:spPr>
          <a:xfrm>
            <a:off x="0" y="1251482"/>
            <a:ext cx="675518" cy="45719"/>
          </a:xfrm>
          <a:custGeom>
            <a:avLst/>
            <a:gdLst/>
            <a:ahLst/>
            <a:cxnLst/>
            <a:rect l="l" t="t" r="r" b="b"/>
            <a:pathLst>
              <a:path w="657225">
                <a:moveTo>
                  <a:pt x="0" y="0"/>
                </a:moveTo>
                <a:lnTo>
                  <a:pt x="656678" y="0"/>
                </a:lnTo>
              </a:path>
            </a:pathLst>
          </a:custGeom>
          <a:ln w="76200">
            <a:solidFill>
              <a:srgbClr val="EEDC00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JhengHei UI Light" panose="020B0304030504040204" pitchFamily="34" charset="-120"/>
              <a:ea typeface="Microsoft JhengHei UI Light" panose="020B0304030504040204" pitchFamily="34" charset="-120"/>
              <a:cs typeface="+mn-cs"/>
            </a:endParaRPr>
          </a:p>
        </p:txBody>
      </p:sp>
      <p:sp>
        <p:nvSpPr>
          <p:cNvPr id="60" name="object 47">
            <a:extLst>
              <a:ext uri="{FF2B5EF4-FFF2-40B4-BE49-F238E27FC236}">
                <a16:creationId xmlns:a16="http://schemas.microsoft.com/office/drawing/2014/main" id="{7887AF11-4FEA-AC4E-9013-F5EB6889D806}"/>
              </a:ext>
            </a:extLst>
          </p:cNvPr>
          <p:cNvSpPr/>
          <p:nvPr/>
        </p:nvSpPr>
        <p:spPr>
          <a:xfrm>
            <a:off x="687940" y="1563967"/>
            <a:ext cx="648000" cy="648000"/>
          </a:xfrm>
          <a:custGeom>
            <a:avLst/>
            <a:gdLst/>
            <a:ahLst/>
            <a:cxnLst/>
            <a:rect l="l" t="t" r="r" b="b"/>
            <a:pathLst>
              <a:path w="836294" h="836294">
                <a:moveTo>
                  <a:pt x="417944" y="0"/>
                </a:moveTo>
                <a:lnTo>
                  <a:pt x="369203" y="2811"/>
                </a:lnTo>
                <a:lnTo>
                  <a:pt x="322114" y="11038"/>
                </a:lnTo>
                <a:lnTo>
                  <a:pt x="276989" y="24365"/>
                </a:lnTo>
                <a:lnTo>
                  <a:pt x="234143" y="42480"/>
                </a:lnTo>
                <a:lnTo>
                  <a:pt x="193890" y="65069"/>
                </a:lnTo>
                <a:lnTo>
                  <a:pt x="156542" y="91818"/>
                </a:lnTo>
                <a:lnTo>
                  <a:pt x="122413" y="122413"/>
                </a:lnTo>
                <a:lnTo>
                  <a:pt x="91818" y="156542"/>
                </a:lnTo>
                <a:lnTo>
                  <a:pt x="65069" y="193890"/>
                </a:lnTo>
                <a:lnTo>
                  <a:pt x="42480" y="234143"/>
                </a:lnTo>
                <a:lnTo>
                  <a:pt x="24365" y="276989"/>
                </a:lnTo>
                <a:lnTo>
                  <a:pt x="11038" y="322114"/>
                </a:lnTo>
                <a:lnTo>
                  <a:pt x="2811" y="369203"/>
                </a:lnTo>
                <a:lnTo>
                  <a:pt x="0" y="417944"/>
                </a:lnTo>
                <a:lnTo>
                  <a:pt x="2811" y="466685"/>
                </a:lnTo>
                <a:lnTo>
                  <a:pt x="11038" y="513774"/>
                </a:lnTo>
                <a:lnTo>
                  <a:pt x="24365" y="558898"/>
                </a:lnTo>
                <a:lnTo>
                  <a:pt x="42480" y="601744"/>
                </a:lnTo>
                <a:lnTo>
                  <a:pt x="65069" y="641998"/>
                </a:lnTo>
                <a:lnTo>
                  <a:pt x="91818" y="679346"/>
                </a:lnTo>
                <a:lnTo>
                  <a:pt x="122413" y="713474"/>
                </a:lnTo>
                <a:lnTo>
                  <a:pt x="156542" y="744070"/>
                </a:lnTo>
                <a:lnTo>
                  <a:pt x="193890" y="770819"/>
                </a:lnTo>
                <a:lnTo>
                  <a:pt x="234143" y="793407"/>
                </a:lnTo>
                <a:lnTo>
                  <a:pt x="276989" y="811522"/>
                </a:lnTo>
                <a:lnTo>
                  <a:pt x="322114" y="824850"/>
                </a:lnTo>
                <a:lnTo>
                  <a:pt x="369203" y="833076"/>
                </a:lnTo>
                <a:lnTo>
                  <a:pt x="417944" y="835888"/>
                </a:lnTo>
                <a:lnTo>
                  <a:pt x="466685" y="833076"/>
                </a:lnTo>
                <a:lnTo>
                  <a:pt x="513774" y="824850"/>
                </a:lnTo>
                <a:lnTo>
                  <a:pt x="558898" y="811522"/>
                </a:lnTo>
                <a:lnTo>
                  <a:pt x="601744" y="793407"/>
                </a:lnTo>
                <a:lnTo>
                  <a:pt x="641998" y="770819"/>
                </a:lnTo>
                <a:lnTo>
                  <a:pt x="679346" y="744070"/>
                </a:lnTo>
                <a:lnTo>
                  <a:pt x="713474" y="713474"/>
                </a:lnTo>
                <a:lnTo>
                  <a:pt x="744070" y="679346"/>
                </a:lnTo>
                <a:lnTo>
                  <a:pt x="770819" y="641998"/>
                </a:lnTo>
                <a:lnTo>
                  <a:pt x="793407" y="601744"/>
                </a:lnTo>
                <a:lnTo>
                  <a:pt x="811522" y="558898"/>
                </a:lnTo>
                <a:lnTo>
                  <a:pt x="824850" y="513774"/>
                </a:lnTo>
                <a:lnTo>
                  <a:pt x="833076" y="466685"/>
                </a:lnTo>
                <a:lnTo>
                  <a:pt x="835888" y="417944"/>
                </a:lnTo>
                <a:lnTo>
                  <a:pt x="833076" y="369203"/>
                </a:lnTo>
                <a:lnTo>
                  <a:pt x="824850" y="322114"/>
                </a:lnTo>
                <a:lnTo>
                  <a:pt x="811522" y="276989"/>
                </a:lnTo>
                <a:lnTo>
                  <a:pt x="793407" y="234143"/>
                </a:lnTo>
                <a:lnTo>
                  <a:pt x="770819" y="193890"/>
                </a:lnTo>
                <a:lnTo>
                  <a:pt x="744070" y="156542"/>
                </a:lnTo>
                <a:lnTo>
                  <a:pt x="713474" y="122413"/>
                </a:lnTo>
                <a:lnTo>
                  <a:pt x="679346" y="91818"/>
                </a:lnTo>
                <a:lnTo>
                  <a:pt x="641998" y="65069"/>
                </a:lnTo>
                <a:lnTo>
                  <a:pt x="601744" y="42480"/>
                </a:lnTo>
                <a:lnTo>
                  <a:pt x="558898" y="24365"/>
                </a:lnTo>
                <a:lnTo>
                  <a:pt x="513774" y="11038"/>
                </a:lnTo>
                <a:lnTo>
                  <a:pt x="466685" y="2811"/>
                </a:lnTo>
                <a:lnTo>
                  <a:pt x="417944" y="0"/>
                </a:lnTo>
                <a:close/>
              </a:path>
            </a:pathLst>
          </a:custGeom>
          <a:solidFill>
            <a:srgbClr val="EEDC00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 dirty="0">
              <a:ln>
                <a:noFill/>
              </a:ln>
              <a:solidFill>
                <a:srgbClr val="3B3B3A"/>
              </a:solidFill>
              <a:effectLst/>
              <a:uLnTx/>
              <a:uFillTx/>
              <a:latin typeface="Avenir Next LT Pro" panose="020B0504020202020204" pitchFamily="34" charset="77"/>
              <a:ea typeface="+mn-ea"/>
              <a:cs typeface="+mn-cs"/>
            </a:endParaRPr>
          </a:p>
        </p:txBody>
      </p:sp>
      <p:sp>
        <p:nvSpPr>
          <p:cNvPr id="61" name="Segnaposto titolo 1">
            <a:extLst>
              <a:ext uri="{FF2B5EF4-FFF2-40B4-BE49-F238E27FC236}">
                <a16:creationId xmlns:a16="http://schemas.microsoft.com/office/drawing/2014/main" id="{B6EA9F3D-BB40-3F46-9FB2-BD2DAFA10B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7394" y="504194"/>
            <a:ext cx="10515600" cy="725421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it-IT"/>
              <a:t>Fare clic per modificare lo stile del titolo dello schema</a:t>
            </a:r>
            <a:endParaRPr lang="it-IT" dirty="0"/>
          </a:p>
        </p:txBody>
      </p:sp>
      <p:sp>
        <p:nvSpPr>
          <p:cNvPr id="2" name="CasellaDiTesto 1">
            <a:extLst>
              <a:ext uri="{FF2B5EF4-FFF2-40B4-BE49-F238E27FC236}">
                <a16:creationId xmlns:a16="http://schemas.microsoft.com/office/drawing/2014/main" id="{51830BCD-367C-CBFE-0535-D46981548625}"/>
              </a:ext>
            </a:extLst>
          </p:cNvPr>
          <p:cNvSpPr txBox="1"/>
          <p:nvPr userDrawn="1"/>
        </p:nvSpPr>
        <p:spPr>
          <a:xfrm>
            <a:off x="3916392" y="6623540"/>
            <a:ext cx="739499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it-IT" sz="800" i="1" dirty="0"/>
              <a:t>Documento ad uso esclusivamente interno, da intendersi come strettamente riservato; non è autorizzata la trasmissione ad altri e la divulgazione all’esterno.</a:t>
            </a:r>
            <a:endParaRPr lang="en-US" sz="800" i="1" dirty="0"/>
          </a:p>
        </p:txBody>
      </p:sp>
    </p:spTree>
    <p:extLst>
      <p:ext uri="{BB962C8B-B14F-4D97-AF65-F5344CB8AC3E}">
        <p14:creationId xmlns:p14="http://schemas.microsoft.com/office/powerpoint/2010/main" val="1051833551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5" orient="horz" pos="2160">
          <p15:clr>
            <a:srgbClr val="FBAE40"/>
          </p15:clr>
        </p15:guide>
        <p15:guide id="6" pos="3840">
          <p15:clr>
            <a:srgbClr val="FBAE40"/>
          </p15:clr>
        </p15:guide>
        <p15:guide id="7" pos="325">
          <p15:clr>
            <a:srgbClr val="FBAE40"/>
          </p15:clr>
        </p15:guide>
        <p15:guide id="8" pos="7333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Indice di sezion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" name="Segnaposto testo 2">
            <a:extLst>
              <a:ext uri="{FF2B5EF4-FFF2-40B4-BE49-F238E27FC236}">
                <a16:creationId xmlns:a16="http://schemas.microsoft.com/office/drawing/2014/main" id="{AE61EBCE-F91A-364C-8C3C-A53E2CE8D32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320356" y="1938648"/>
            <a:ext cx="8354939" cy="5762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0" i="0">
                <a:solidFill>
                  <a:srgbClr val="0047BB"/>
                </a:solidFill>
                <a:latin typeface="Avenir Next LT Pro" panose="020B0504020202020204" pitchFamily="34" charset="77"/>
              </a:defRPr>
            </a:lvl1pPr>
            <a:lvl2pPr marL="457200" indent="0">
              <a:buNone/>
              <a:defRPr sz="2400" b="0" i="0">
                <a:solidFill>
                  <a:srgbClr val="0047BB"/>
                </a:solidFill>
                <a:latin typeface="Avenir Next LT Pro" panose="020B0504020202020204" pitchFamily="34" charset="77"/>
              </a:defRPr>
            </a:lvl2pPr>
            <a:lvl3pPr marL="914400" indent="0">
              <a:buNone/>
              <a:defRPr sz="2400" b="0" i="0">
                <a:solidFill>
                  <a:srgbClr val="0047BB"/>
                </a:solidFill>
                <a:latin typeface="Avenir Next LT Pro" panose="020B0504020202020204" pitchFamily="34" charset="77"/>
              </a:defRPr>
            </a:lvl3pPr>
            <a:lvl4pPr marL="1371600" indent="0">
              <a:buNone/>
              <a:defRPr sz="2400" b="0" i="0">
                <a:solidFill>
                  <a:srgbClr val="0047BB"/>
                </a:solidFill>
                <a:latin typeface="Avenir Next LT Pro" panose="020B0504020202020204" pitchFamily="34" charset="77"/>
              </a:defRPr>
            </a:lvl4pPr>
            <a:lvl5pPr marL="1828800" indent="0">
              <a:buNone/>
              <a:defRPr sz="2400" b="0" i="0">
                <a:solidFill>
                  <a:srgbClr val="0047BB"/>
                </a:solidFill>
                <a:latin typeface="Avenir Next LT Pro" panose="020B0504020202020204" pitchFamily="34" charset="77"/>
              </a:defRPr>
            </a:lvl5pPr>
          </a:lstStyle>
          <a:p>
            <a:pPr lvl="0"/>
            <a:r>
              <a:rPr lang="it-IT" dirty="0"/>
              <a:t>Fare clic per modificare indice 1</a:t>
            </a:r>
          </a:p>
        </p:txBody>
      </p:sp>
      <p:sp>
        <p:nvSpPr>
          <p:cNvPr id="75" name="Segnaposto testo 2">
            <a:extLst>
              <a:ext uri="{FF2B5EF4-FFF2-40B4-BE49-F238E27FC236}">
                <a16:creationId xmlns:a16="http://schemas.microsoft.com/office/drawing/2014/main" id="{CF45F212-B65B-4A41-9BAD-08C2497B77E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341756" y="2858954"/>
            <a:ext cx="8354939" cy="5762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0" i="0">
                <a:solidFill>
                  <a:srgbClr val="0047BB"/>
                </a:solidFill>
                <a:latin typeface="Avenir Next LT Pro" panose="020B0504020202020204" pitchFamily="34" charset="77"/>
              </a:defRPr>
            </a:lvl1pPr>
            <a:lvl2pPr marL="457200" indent="0">
              <a:buNone/>
              <a:defRPr sz="2400" b="0" i="0">
                <a:solidFill>
                  <a:srgbClr val="0047BB"/>
                </a:solidFill>
                <a:latin typeface="Avenir Next LT Pro" panose="020B0504020202020204" pitchFamily="34" charset="77"/>
              </a:defRPr>
            </a:lvl2pPr>
            <a:lvl3pPr marL="914400" indent="0">
              <a:buNone/>
              <a:defRPr sz="2400" b="0" i="0">
                <a:solidFill>
                  <a:srgbClr val="0047BB"/>
                </a:solidFill>
                <a:latin typeface="Avenir Next LT Pro" panose="020B0504020202020204" pitchFamily="34" charset="77"/>
              </a:defRPr>
            </a:lvl3pPr>
            <a:lvl4pPr marL="1371600" indent="0">
              <a:buNone/>
              <a:defRPr sz="2400" b="0" i="0">
                <a:solidFill>
                  <a:srgbClr val="0047BB"/>
                </a:solidFill>
                <a:latin typeface="Avenir Next LT Pro" panose="020B0504020202020204" pitchFamily="34" charset="77"/>
              </a:defRPr>
            </a:lvl4pPr>
            <a:lvl5pPr marL="1828800" indent="0">
              <a:buNone/>
              <a:defRPr sz="2400" b="0" i="0">
                <a:solidFill>
                  <a:srgbClr val="0047BB"/>
                </a:solidFill>
                <a:latin typeface="Avenir Next LT Pro" panose="020B0504020202020204" pitchFamily="34" charset="77"/>
              </a:defRPr>
            </a:lvl5pPr>
          </a:lstStyle>
          <a:p>
            <a:pPr lvl="0"/>
            <a:r>
              <a:rPr lang="it-IT" dirty="0"/>
              <a:t>Fare clic per modificare indice 1</a:t>
            </a:r>
          </a:p>
        </p:txBody>
      </p:sp>
      <p:sp>
        <p:nvSpPr>
          <p:cNvPr id="76" name="Segnaposto testo 2">
            <a:extLst>
              <a:ext uri="{FF2B5EF4-FFF2-40B4-BE49-F238E27FC236}">
                <a16:creationId xmlns:a16="http://schemas.microsoft.com/office/drawing/2014/main" id="{F82CA0C2-D1FA-6D4F-B882-91540A2085E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328148" y="3771964"/>
            <a:ext cx="8354939" cy="5762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0" i="0">
                <a:solidFill>
                  <a:srgbClr val="0047BB"/>
                </a:solidFill>
                <a:latin typeface="Avenir Next LT Pro" panose="020B0504020202020204" pitchFamily="34" charset="77"/>
              </a:defRPr>
            </a:lvl1pPr>
            <a:lvl2pPr marL="457200" indent="0">
              <a:buNone/>
              <a:defRPr sz="2400" b="0" i="0">
                <a:solidFill>
                  <a:srgbClr val="0047BB"/>
                </a:solidFill>
                <a:latin typeface="Avenir Next LT Pro" panose="020B0504020202020204" pitchFamily="34" charset="77"/>
              </a:defRPr>
            </a:lvl2pPr>
            <a:lvl3pPr marL="914400" indent="0">
              <a:buNone/>
              <a:defRPr sz="2400" b="0" i="0">
                <a:solidFill>
                  <a:srgbClr val="0047BB"/>
                </a:solidFill>
                <a:latin typeface="Avenir Next LT Pro" panose="020B0504020202020204" pitchFamily="34" charset="77"/>
              </a:defRPr>
            </a:lvl3pPr>
            <a:lvl4pPr marL="1371600" indent="0">
              <a:buNone/>
              <a:defRPr sz="2400" b="0" i="0">
                <a:solidFill>
                  <a:srgbClr val="0047BB"/>
                </a:solidFill>
                <a:latin typeface="Avenir Next LT Pro" panose="020B0504020202020204" pitchFamily="34" charset="77"/>
              </a:defRPr>
            </a:lvl4pPr>
            <a:lvl5pPr marL="1828800" indent="0">
              <a:buNone/>
              <a:defRPr sz="2400" b="0" i="0">
                <a:solidFill>
                  <a:srgbClr val="0047BB"/>
                </a:solidFill>
                <a:latin typeface="Avenir Next LT Pro" panose="020B0504020202020204" pitchFamily="34" charset="77"/>
              </a:defRPr>
            </a:lvl5pPr>
          </a:lstStyle>
          <a:p>
            <a:pPr lvl="0"/>
            <a:r>
              <a:rPr lang="it-IT" dirty="0"/>
              <a:t>Fare clic per modificare indice 1</a:t>
            </a:r>
          </a:p>
        </p:txBody>
      </p:sp>
      <p:sp>
        <p:nvSpPr>
          <p:cNvPr id="77" name="Segnaposto testo 2">
            <a:extLst>
              <a:ext uri="{FF2B5EF4-FFF2-40B4-BE49-F238E27FC236}">
                <a16:creationId xmlns:a16="http://schemas.microsoft.com/office/drawing/2014/main" id="{2D12AD48-5820-7345-8F91-96DAEB84544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341755" y="4645510"/>
            <a:ext cx="8354939" cy="5762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0" i="0">
                <a:solidFill>
                  <a:srgbClr val="0047BB"/>
                </a:solidFill>
                <a:latin typeface="Avenir Next LT Pro" panose="020B0504020202020204" pitchFamily="34" charset="77"/>
              </a:defRPr>
            </a:lvl1pPr>
            <a:lvl2pPr marL="457200" indent="0">
              <a:buNone/>
              <a:defRPr sz="2400" b="0" i="0">
                <a:solidFill>
                  <a:srgbClr val="0047BB"/>
                </a:solidFill>
                <a:latin typeface="Avenir Next LT Pro" panose="020B0504020202020204" pitchFamily="34" charset="77"/>
              </a:defRPr>
            </a:lvl2pPr>
            <a:lvl3pPr marL="914400" indent="0">
              <a:buNone/>
              <a:defRPr sz="2400" b="0" i="0">
                <a:solidFill>
                  <a:srgbClr val="0047BB"/>
                </a:solidFill>
                <a:latin typeface="Avenir Next LT Pro" panose="020B0504020202020204" pitchFamily="34" charset="77"/>
              </a:defRPr>
            </a:lvl3pPr>
            <a:lvl4pPr marL="1371600" indent="0">
              <a:buNone/>
              <a:defRPr sz="2400" b="0" i="0">
                <a:solidFill>
                  <a:srgbClr val="0047BB"/>
                </a:solidFill>
                <a:latin typeface="Avenir Next LT Pro" panose="020B0504020202020204" pitchFamily="34" charset="77"/>
              </a:defRPr>
            </a:lvl4pPr>
            <a:lvl5pPr marL="1828800" indent="0">
              <a:buNone/>
              <a:defRPr sz="2400" b="0" i="0">
                <a:solidFill>
                  <a:srgbClr val="0047BB"/>
                </a:solidFill>
                <a:latin typeface="Avenir Next LT Pro" panose="020B0504020202020204" pitchFamily="34" charset="77"/>
              </a:defRPr>
            </a:lvl5pPr>
          </a:lstStyle>
          <a:p>
            <a:pPr lvl="0"/>
            <a:r>
              <a:rPr lang="it-IT" dirty="0"/>
              <a:t>Fare clic per modificare indice 1</a:t>
            </a:r>
          </a:p>
        </p:txBody>
      </p:sp>
      <p:sp>
        <p:nvSpPr>
          <p:cNvPr id="44" name="bg object 16">
            <a:extLst>
              <a:ext uri="{FF2B5EF4-FFF2-40B4-BE49-F238E27FC236}">
                <a16:creationId xmlns:a16="http://schemas.microsoft.com/office/drawing/2014/main" id="{A21AC191-3059-944D-92E8-B4EC13D05DE2}"/>
              </a:ext>
            </a:extLst>
          </p:cNvPr>
          <p:cNvSpPr/>
          <p:nvPr/>
        </p:nvSpPr>
        <p:spPr>
          <a:xfrm>
            <a:off x="11330381" y="6448615"/>
            <a:ext cx="311785" cy="410845"/>
          </a:xfrm>
          <a:custGeom>
            <a:avLst/>
            <a:gdLst/>
            <a:ahLst/>
            <a:cxnLst/>
            <a:rect l="l" t="t" r="r" b="b"/>
            <a:pathLst>
              <a:path w="311784" h="410845">
                <a:moveTo>
                  <a:pt x="311645" y="0"/>
                </a:moveTo>
                <a:lnTo>
                  <a:pt x="0" y="0"/>
                </a:lnTo>
                <a:lnTo>
                  <a:pt x="0" y="410438"/>
                </a:lnTo>
                <a:lnTo>
                  <a:pt x="311645" y="410438"/>
                </a:lnTo>
                <a:lnTo>
                  <a:pt x="311645" y="0"/>
                </a:lnTo>
                <a:close/>
              </a:path>
            </a:pathLst>
          </a:custGeom>
          <a:solidFill>
            <a:srgbClr val="0047B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6" name="Holder 7">
            <a:extLst>
              <a:ext uri="{FF2B5EF4-FFF2-40B4-BE49-F238E27FC236}">
                <a16:creationId xmlns:a16="http://schemas.microsoft.com/office/drawing/2014/main" id="{98C2DA49-F46E-2545-B8D0-7CCBF61A32C5}"/>
              </a:ext>
            </a:extLst>
          </p:cNvPr>
          <p:cNvSpPr txBox="1">
            <a:spLocks/>
          </p:cNvSpPr>
          <p:nvPr/>
        </p:nvSpPr>
        <p:spPr>
          <a:xfrm>
            <a:off x="11342726" y="6520516"/>
            <a:ext cx="256044" cy="16158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it-IT"/>
            </a:defPPr>
            <a:lvl1pPr marL="0" algn="l" defTabSz="914400" rtl="0" eaLnBrk="1" latinLnBrk="0" hangingPunct="1">
              <a:defRPr sz="850" b="1" i="0" kern="1200">
                <a:solidFill>
                  <a:schemeClr val="bg1"/>
                </a:solidFill>
                <a:latin typeface="Verdana"/>
                <a:ea typeface="+mn-ea"/>
                <a:cs typeface="Verdana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8100" algn="ctr">
              <a:spcBef>
                <a:spcPts val="105"/>
              </a:spcBef>
            </a:pPr>
            <a:fld id="{81D60167-4931-47E6-BA6A-407CBD079E47}" type="slidenum">
              <a:rPr lang="it-IT" sz="1050" b="0" i="0" spc="5" smtClean="0">
                <a:latin typeface="Avenir Next LT Pro" pitchFamily="2" charset="0"/>
              </a:rPr>
              <a:pPr marL="38100" algn="ctr">
                <a:spcBef>
                  <a:spcPts val="105"/>
                </a:spcBef>
              </a:pPr>
              <a:t>‹N›</a:t>
            </a:fld>
            <a:endParaRPr lang="it-IT" sz="1050" b="0" i="0" spc="5" dirty="0">
              <a:latin typeface="Avenir Next LT Pro" pitchFamily="2" charset="0"/>
            </a:endParaRPr>
          </a:p>
        </p:txBody>
      </p:sp>
      <p:sp>
        <p:nvSpPr>
          <p:cNvPr id="50" name="Triangolo isoscele 16">
            <a:extLst>
              <a:ext uri="{FF2B5EF4-FFF2-40B4-BE49-F238E27FC236}">
                <a16:creationId xmlns:a16="http://schemas.microsoft.com/office/drawing/2014/main" id="{578582B3-A204-6E46-B2B3-ACCF2B5FC7EA}"/>
              </a:ext>
            </a:extLst>
          </p:cNvPr>
          <p:cNvSpPr/>
          <p:nvPr/>
        </p:nvSpPr>
        <p:spPr>
          <a:xfrm rot="10800000">
            <a:off x="303127" y="-324737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52" name="Triangolo isoscele 17">
            <a:extLst>
              <a:ext uri="{FF2B5EF4-FFF2-40B4-BE49-F238E27FC236}">
                <a16:creationId xmlns:a16="http://schemas.microsoft.com/office/drawing/2014/main" id="{F0C1204B-8E28-8943-87F6-22C66DB22DA6}"/>
              </a:ext>
            </a:extLst>
          </p:cNvPr>
          <p:cNvSpPr/>
          <p:nvPr/>
        </p:nvSpPr>
        <p:spPr>
          <a:xfrm rot="10800000">
            <a:off x="11756536" y="-324737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53" name="Triangolo isoscele 18">
            <a:extLst>
              <a:ext uri="{FF2B5EF4-FFF2-40B4-BE49-F238E27FC236}">
                <a16:creationId xmlns:a16="http://schemas.microsoft.com/office/drawing/2014/main" id="{6F0B725D-05A5-AC4C-9496-FC066C6B37B0}"/>
              </a:ext>
            </a:extLst>
          </p:cNvPr>
          <p:cNvSpPr/>
          <p:nvPr/>
        </p:nvSpPr>
        <p:spPr>
          <a:xfrm>
            <a:off x="303127" y="6950754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55" name="Triangolo isoscele 19">
            <a:extLst>
              <a:ext uri="{FF2B5EF4-FFF2-40B4-BE49-F238E27FC236}">
                <a16:creationId xmlns:a16="http://schemas.microsoft.com/office/drawing/2014/main" id="{09C9464E-7BA2-3C42-97EB-FC7C02A179A0}"/>
              </a:ext>
            </a:extLst>
          </p:cNvPr>
          <p:cNvSpPr/>
          <p:nvPr/>
        </p:nvSpPr>
        <p:spPr>
          <a:xfrm>
            <a:off x="11756536" y="6950754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56" name="Triangolo isoscele 20">
            <a:extLst>
              <a:ext uri="{FF2B5EF4-FFF2-40B4-BE49-F238E27FC236}">
                <a16:creationId xmlns:a16="http://schemas.microsoft.com/office/drawing/2014/main" id="{492AE717-7262-874B-A349-AB0E87FAED4E}"/>
              </a:ext>
            </a:extLst>
          </p:cNvPr>
          <p:cNvSpPr/>
          <p:nvPr/>
        </p:nvSpPr>
        <p:spPr>
          <a:xfrm rot="5400000">
            <a:off x="-276040" y="885372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57" name="Triangolo isoscele 21">
            <a:extLst>
              <a:ext uri="{FF2B5EF4-FFF2-40B4-BE49-F238E27FC236}">
                <a16:creationId xmlns:a16="http://schemas.microsoft.com/office/drawing/2014/main" id="{7359C621-E128-FE4D-AFD6-2394CE5C3B9D}"/>
              </a:ext>
            </a:extLst>
          </p:cNvPr>
          <p:cNvSpPr/>
          <p:nvPr/>
        </p:nvSpPr>
        <p:spPr>
          <a:xfrm rot="5400000">
            <a:off x="-276039" y="5982836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58" name="Triangolo isoscele 22">
            <a:extLst>
              <a:ext uri="{FF2B5EF4-FFF2-40B4-BE49-F238E27FC236}">
                <a16:creationId xmlns:a16="http://schemas.microsoft.com/office/drawing/2014/main" id="{0957E77E-2AFA-9348-A826-AAFB7A540FD4}"/>
              </a:ext>
            </a:extLst>
          </p:cNvPr>
          <p:cNvSpPr/>
          <p:nvPr/>
        </p:nvSpPr>
        <p:spPr>
          <a:xfrm rot="16200000">
            <a:off x="12331119" y="885372"/>
            <a:ext cx="132336" cy="261257"/>
          </a:xfrm>
          <a:prstGeom prst="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60" name="Triangolo isoscele 23">
            <a:extLst>
              <a:ext uri="{FF2B5EF4-FFF2-40B4-BE49-F238E27FC236}">
                <a16:creationId xmlns:a16="http://schemas.microsoft.com/office/drawing/2014/main" id="{1270546B-AB85-7F4B-921D-D161A44C9957}"/>
              </a:ext>
            </a:extLst>
          </p:cNvPr>
          <p:cNvSpPr/>
          <p:nvPr/>
        </p:nvSpPr>
        <p:spPr>
          <a:xfrm rot="16200000">
            <a:off x="12331120" y="5982836"/>
            <a:ext cx="132336" cy="261257"/>
          </a:xfrm>
          <a:prstGeom prst="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62" name="Triangolo isoscele 31">
            <a:extLst>
              <a:ext uri="{FF2B5EF4-FFF2-40B4-BE49-F238E27FC236}">
                <a16:creationId xmlns:a16="http://schemas.microsoft.com/office/drawing/2014/main" id="{B007B432-5433-3F45-A703-0A95B5B98F70}"/>
              </a:ext>
            </a:extLst>
          </p:cNvPr>
          <p:cNvSpPr/>
          <p:nvPr/>
        </p:nvSpPr>
        <p:spPr>
          <a:xfrm rot="10800000">
            <a:off x="303127" y="-324737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64" name="Triangolo isoscele 32">
            <a:extLst>
              <a:ext uri="{FF2B5EF4-FFF2-40B4-BE49-F238E27FC236}">
                <a16:creationId xmlns:a16="http://schemas.microsoft.com/office/drawing/2014/main" id="{C509EE08-9330-354B-A23C-1780291E0CD0}"/>
              </a:ext>
            </a:extLst>
          </p:cNvPr>
          <p:cNvSpPr/>
          <p:nvPr/>
        </p:nvSpPr>
        <p:spPr>
          <a:xfrm rot="10800000">
            <a:off x="11756536" y="-324737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65" name="Triangolo isoscele 33">
            <a:extLst>
              <a:ext uri="{FF2B5EF4-FFF2-40B4-BE49-F238E27FC236}">
                <a16:creationId xmlns:a16="http://schemas.microsoft.com/office/drawing/2014/main" id="{A06061CD-2D33-2949-B25D-42D86A4B8F7E}"/>
              </a:ext>
            </a:extLst>
          </p:cNvPr>
          <p:cNvSpPr/>
          <p:nvPr/>
        </p:nvSpPr>
        <p:spPr>
          <a:xfrm>
            <a:off x="303127" y="6950754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66" name="Triangolo isoscele 34">
            <a:extLst>
              <a:ext uri="{FF2B5EF4-FFF2-40B4-BE49-F238E27FC236}">
                <a16:creationId xmlns:a16="http://schemas.microsoft.com/office/drawing/2014/main" id="{86DAC96B-4BDC-D54D-993A-6FF1FDCBBBF3}"/>
              </a:ext>
            </a:extLst>
          </p:cNvPr>
          <p:cNvSpPr/>
          <p:nvPr/>
        </p:nvSpPr>
        <p:spPr>
          <a:xfrm>
            <a:off x="11756536" y="6950754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67" name="Triangolo isoscele 35">
            <a:extLst>
              <a:ext uri="{FF2B5EF4-FFF2-40B4-BE49-F238E27FC236}">
                <a16:creationId xmlns:a16="http://schemas.microsoft.com/office/drawing/2014/main" id="{96DE6BBA-86BF-3C46-9A14-769E3A9BF351}"/>
              </a:ext>
            </a:extLst>
          </p:cNvPr>
          <p:cNvSpPr/>
          <p:nvPr/>
        </p:nvSpPr>
        <p:spPr>
          <a:xfrm rot="5400000">
            <a:off x="-276040" y="885372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68" name="Triangolo isoscele 36">
            <a:extLst>
              <a:ext uri="{FF2B5EF4-FFF2-40B4-BE49-F238E27FC236}">
                <a16:creationId xmlns:a16="http://schemas.microsoft.com/office/drawing/2014/main" id="{4ECF7C09-48CB-8741-B3CB-459AD6720363}"/>
              </a:ext>
            </a:extLst>
          </p:cNvPr>
          <p:cNvSpPr/>
          <p:nvPr/>
        </p:nvSpPr>
        <p:spPr>
          <a:xfrm rot="5400000">
            <a:off x="-276039" y="5982836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69" name="Triangolo isoscele 37">
            <a:extLst>
              <a:ext uri="{FF2B5EF4-FFF2-40B4-BE49-F238E27FC236}">
                <a16:creationId xmlns:a16="http://schemas.microsoft.com/office/drawing/2014/main" id="{9B281C8A-C1E5-7D4D-AB27-5B3901C28196}"/>
              </a:ext>
            </a:extLst>
          </p:cNvPr>
          <p:cNvSpPr/>
          <p:nvPr/>
        </p:nvSpPr>
        <p:spPr>
          <a:xfrm rot="16200000">
            <a:off x="12331119" y="885372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70" name="Triangolo isoscele 38">
            <a:extLst>
              <a:ext uri="{FF2B5EF4-FFF2-40B4-BE49-F238E27FC236}">
                <a16:creationId xmlns:a16="http://schemas.microsoft.com/office/drawing/2014/main" id="{9EDB5FCA-9E1A-A34D-8F08-68D793D142E1}"/>
              </a:ext>
            </a:extLst>
          </p:cNvPr>
          <p:cNvSpPr/>
          <p:nvPr/>
        </p:nvSpPr>
        <p:spPr>
          <a:xfrm rot="16200000">
            <a:off x="12331120" y="5982836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pic>
        <p:nvPicPr>
          <p:cNvPr id="71" name="Elemento grafico 70">
            <a:extLst>
              <a:ext uri="{FF2B5EF4-FFF2-40B4-BE49-F238E27FC236}">
                <a16:creationId xmlns:a16="http://schemas.microsoft.com/office/drawing/2014/main" id="{DCC144D8-9208-4E4F-8E3D-BE547EFA3058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081892" y="-5080"/>
            <a:ext cx="1560273" cy="309880"/>
          </a:xfrm>
          <a:prstGeom prst="rect">
            <a:avLst/>
          </a:prstGeom>
        </p:spPr>
      </p:pic>
      <p:sp>
        <p:nvSpPr>
          <p:cNvPr id="72" name="object 267">
            <a:extLst>
              <a:ext uri="{FF2B5EF4-FFF2-40B4-BE49-F238E27FC236}">
                <a16:creationId xmlns:a16="http://schemas.microsoft.com/office/drawing/2014/main" id="{92B4529D-1D0E-AA4C-A179-3E5D78AE32CA}"/>
              </a:ext>
            </a:extLst>
          </p:cNvPr>
          <p:cNvSpPr/>
          <p:nvPr/>
        </p:nvSpPr>
        <p:spPr>
          <a:xfrm>
            <a:off x="0" y="1251482"/>
            <a:ext cx="675518" cy="45719"/>
          </a:xfrm>
          <a:custGeom>
            <a:avLst/>
            <a:gdLst/>
            <a:ahLst/>
            <a:cxnLst/>
            <a:rect l="l" t="t" r="r" b="b"/>
            <a:pathLst>
              <a:path w="657225">
                <a:moveTo>
                  <a:pt x="0" y="0"/>
                </a:moveTo>
                <a:lnTo>
                  <a:pt x="656678" y="0"/>
                </a:lnTo>
              </a:path>
            </a:pathLst>
          </a:custGeom>
          <a:ln w="76200">
            <a:solidFill>
              <a:srgbClr val="EEDC00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JhengHei UI Light" panose="020B0304030504040204" pitchFamily="34" charset="-120"/>
              <a:ea typeface="Microsoft JhengHei UI Light" panose="020B0304030504040204" pitchFamily="34" charset="-120"/>
              <a:cs typeface="+mn-cs"/>
            </a:endParaRPr>
          </a:p>
        </p:txBody>
      </p:sp>
      <p:sp>
        <p:nvSpPr>
          <p:cNvPr id="73" name="Arco 72">
            <a:extLst>
              <a:ext uri="{FF2B5EF4-FFF2-40B4-BE49-F238E27FC236}">
                <a16:creationId xmlns:a16="http://schemas.microsoft.com/office/drawing/2014/main" id="{E288BBFD-56DB-5D48-8DFB-663C2DDAF59C}"/>
              </a:ext>
            </a:extLst>
          </p:cNvPr>
          <p:cNvSpPr/>
          <p:nvPr/>
        </p:nvSpPr>
        <p:spPr>
          <a:xfrm>
            <a:off x="1221228" y="1643720"/>
            <a:ext cx="699715" cy="699715"/>
          </a:xfrm>
          <a:prstGeom prst="arc">
            <a:avLst/>
          </a:prstGeom>
          <a:ln w="12700">
            <a:solidFill>
              <a:srgbClr val="0047B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1200" cap="none" spc="0" normalizeH="0" baseline="0" noProof="0">
              <a:ln>
                <a:noFill/>
              </a:ln>
              <a:solidFill>
                <a:srgbClr val="3B3B3A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pSp>
        <p:nvGrpSpPr>
          <p:cNvPr id="78" name="Gruppo 77">
            <a:extLst>
              <a:ext uri="{FF2B5EF4-FFF2-40B4-BE49-F238E27FC236}">
                <a16:creationId xmlns:a16="http://schemas.microsoft.com/office/drawing/2014/main" id="{B7BA2252-9805-A949-BD93-3F93B1B83A62}"/>
              </a:ext>
            </a:extLst>
          </p:cNvPr>
          <p:cNvGrpSpPr/>
          <p:nvPr/>
        </p:nvGrpSpPr>
        <p:grpSpPr>
          <a:xfrm>
            <a:off x="643244" y="1375851"/>
            <a:ext cx="562798" cy="562797"/>
            <a:chOff x="630463" y="1998492"/>
            <a:chExt cx="1027152" cy="1027151"/>
          </a:xfrm>
        </p:grpSpPr>
        <p:sp>
          <p:nvSpPr>
            <p:cNvPr id="79" name="object 46">
              <a:extLst>
                <a:ext uri="{FF2B5EF4-FFF2-40B4-BE49-F238E27FC236}">
                  <a16:creationId xmlns:a16="http://schemas.microsoft.com/office/drawing/2014/main" id="{22B8FB41-644C-C240-8B1D-7038B0BB94B8}"/>
                </a:ext>
              </a:extLst>
            </p:cNvPr>
            <p:cNvSpPr/>
            <p:nvPr/>
          </p:nvSpPr>
          <p:spPr>
            <a:xfrm>
              <a:off x="630463" y="1998492"/>
              <a:ext cx="1027152" cy="1027151"/>
            </a:xfrm>
            <a:custGeom>
              <a:avLst/>
              <a:gdLst/>
              <a:ahLst/>
              <a:cxnLst/>
              <a:rect l="l" t="t" r="r" b="b"/>
              <a:pathLst>
                <a:path w="1009650" h="1009650">
                  <a:moveTo>
                    <a:pt x="1009637" y="504825"/>
                  </a:moveTo>
                  <a:lnTo>
                    <a:pt x="1007326" y="553440"/>
                  </a:lnTo>
                  <a:lnTo>
                    <a:pt x="1000534" y="600748"/>
                  </a:lnTo>
                  <a:lnTo>
                    <a:pt x="989474" y="646537"/>
                  </a:lnTo>
                  <a:lnTo>
                    <a:pt x="974355" y="690596"/>
                  </a:lnTo>
                  <a:lnTo>
                    <a:pt x="955391" y="732714"/>
                  </a:lnTo>
                  <a:lnTo>
                    <a:pt x="932791" y="772678"/>
                  </a:lnTo>
                  <a:lnTo>
                    <a:pt x="906769" y="810276"/>
                  </a:lnTo>
                  <a:lnTo>
                    <a:pt x="877535" y="845298"/>
                  </a:lnTo>
                  <a:lnTo>
                    <a:pt x="845302" y="877532"/>
                  </a:lnTo>
                  <a:lnTo>
                    <a:pt x="810279" y="906766"/>
                  </a:lnTo>
                  <a:lnTo>
                    <a:pt x="772680" y="932789"/>
                  </a:lnTo>
                  <a:lnTo>
                    <a:pt x="732715" y="955389"/>
                  </a:lnTo>
                  <a:lnTo>
                    <a:pt x="690596" y="974354"/>
                  </a:lnTo>
                  <a:lnTo>
                    <a:pt x="646535" y="989473"/>
                  </a:lnTo>
                  <a:lnTo>
                    <a:pt x="600743" y="1000534"/>
                  </a:lnTo>
                  <a:lnTo>
                    <a:pt x="553431" y="1007326"/>
                  </a:lnTo>
                  <a:lnTo>
                    <a:pt x="504812" y="1009637"/>
                  </a:lnTo>
                  <a:lnTo>
                    <a:pt x="456197" y="1007326"/>
                  </a:lnTo>
                  <a:lnTo>
                    <a:pt x="408888" y="1000534"/>
                  </a:lnTo>
                  <a:lnTo>
                    <a:pt x="363099" y="989473"/>
                  </a:lnTo>
                  <a:lnTo>
                    <a:pt x="319040" y="974354"/>
                  </a:lnTo>
                  <a:lnTo>
                    <a:pt x="276923" y="955389"/>
                  </a:lnTo>
                  <a:lnTo>
                    <a:pt x="236959" y="932789"/>
                  </a:lnTo>
                  <a:lnTo>
                    <a:pt x="199360" y="906766"/>
                  </a:lnTo>
                  <a:lnTo>
                    <a:pt x="164338" y="877532"/>
                  </a:lnTo>
                  <a:lnTo>
                    <a:pt x="132104" y="845298"/>
                  </a:lnTo>
                  <a:lnTo>
                    <a:pt x="102870" y="810276"/>
                  </a:lnTo>
                  <a:lnTo>
                    <a:pt x="76847" y="772678"/>
                  </a:lnTo>
                  <a:lnTo>
                    <a:pt x="54248" y="732714"/>
                  </a:lnTo>
                  <a:lnTo>
                    <a:pt x="35283" y="690596"/>
                  </a:lnTo>
                  <a:lnTo>
                    <a:pt x="20164" y="646537"/>
                  </a:lnTo>
                  <a:lnTo>
                    <a:pt x="9102" y="600748"/>
                  </a:lnTo>
                  <a:lnTo>
                    <a:pt x="2310" y="553440"/>
                  </a:lnTo>
                  <a:lnTo>
                    <a:pt x="0" y="504825"/>
                  </a:lnTo>
                  <a:lnTo>
                    <a:pt x="2310" y="456207"/>
                  </a:lnTo>
                  <a:lnTo>
                    <a:pt x="9102" y="408897"/>
                  </a:lnTo>
                  <a:lnTo>
                    <a:pt x="20164" y="363106"/>
                  </a:lnTo>
                  <a:lnTo>
                    <a:pt x="35283" y="319045"/>
                  </a:lnTo>
                  <a:lnTo>
                    <a:pt x="54248" y="276927"/>
                  </a:lnTo>
                  <a:lnTo>
                    <a:pt x="76847" y="236962"/>
                  </a:lnTo>
                  <a:lnTo>
                    <a:pt x="102870" y="199363"/>
                  </a:lnTo>
                  <a:lnTo>
                    <a:pt x="132104" y="164340"/>
                  </a:lnTo>
                  <a:lnTo>
                    <a:pt x="164338" y="132105"/>
                  </a:lnTo>
                  <a:lnTo>
                    <a:pt x="199360" y="102871"/>
                  </a:lnTo>
                  <a:lnTo>
                    <a:pt x="236959" y="76848"/>
                  </a:lnTo>
                  <a:lnTo>
                    <a:pt x="276923" y="54248"/>
                  </a:lnTo>
                  <a:lnTo>
                    <a:pt x="319040" y="35283"/>
                  </a:lnTo>
                  <a:lnTo>
                    <a:pt x="363099" y="20164"/>
                  </a:lnTo>
                  <a:lnTo>
                    <a:pt x="408888" y="9102"/>
                  </a:lnTo>
                  <a:lnTo>
                    <a:pt x="456197" y="2310"/>
                  </a:lnTo>
                  <a:lnTo>
                    <a:pt x="504812" y="0"/>
                  </a:lnTo>
                  <a:lnTo>
                    <a:pt x="553431" y="2310"/>
                  </a:lnTo>
                  <a:lnTo>
                    <a:pt x="600743" y="9102"/>
                  </a:lnTo>
                  <a:lnTo>
                    <a:pt x="646535" y="20164"/>
                  </a:lnTo>
                  <a:lnTo>
                    <a:pt x="690596" y="35283"/>
                  </a:lnTo>
                  <a:lnTo>
                    <a:pt x="732715" y="54248"/>
                  </a:lnTo>
                  <a:lnTo>
                    <a:pt x="772680" y="76848"/>
                  </a:lnTo>
                  <a:lnTo>
                    <a:pt x="810279" y="102871"/>
                  </a:lnTo>
                  <a:lnTo>
                    <a:pt x="845302" y="132105"/>
                  </a:lnTo>
                  <a:lnTo>
                    <a:pt x="877535" y="164340"/>
                  </a:lnTo>
                  <a:lnTo>
                    <a:pt x="906769" y="199363"/>
                  </a:lnTo>
                  <a:lnTo>
                    <a:pt x="932791" y="236962"/>
                  </a:lnTo>
                  <a:lnTo>
                    <a:pt x="955391" y="276927"/>
                  </a:lnTo>
                  <a:lnTo>
                    <a:pt x="974355" y="319045"/>
                  </a:lnTo>
                  <a:lnTo>
                    <a:pt x="989474" y="363106"/>
                  </a:lnTo>
                  <a:lnTo>
                    <a:pt x="1000534" y="408897"/>
                  </a:lnTo>
                  <a:lnTo>
                    <a:pt x="1007326" y="456207"/>
                  </a:lnTo>
                  <a:lnTo>
                    <a:pt x="1009637" y="504825"/>
                  </a:lnTo>
                  <a:close/>
                </a:path>
              </a:pathLst>
            </a:custGeom>
            <a:solidFill>
              <a:schemeClr val="bg1"/>
            </a:solidFill>
            <a:ln w="12700">
              <a:solidFill>
                <a:srgbClr val="0046BA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3B3B3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80" name="object 47">
              <a:extLst>
                <a:ext uri="{FF2B5EF4-FFF2-40B4-BE49-F238E27FC236}">
                  <a16:creationId xmlns:a16="http://schemas.microsoft.com/office/drawing/2014/main" id="{D6EB08F2-7F58-AD4B-9D66-6A57B02D4044}"/>
                </a:ext>
              </a:extLst>
            </p:cNvPr>
            <p:cNvSpPr/>
            <p:nvPr/>
          </p:nvSpPr>
          <p:spPr>
            <a:xfrm>
              <a:off x="718643" y="2086672"/>
              <a:ext cx="850791" cy="850791"/>
            </a:xfrm>
            <a:custGeom>
              <a:avLst/>
              <a:gdLst/>
              <a:ahLst/>
              <a:cxnLst/>
              <a:rect l="l" t="t" r="r" b="b"/>
              <a:pathLst>
                <a:path w="836294" h="836294">
                  <a:moveTo>
                    <a:pt x="417944" y="0"/>
                  </a:moveTo>
                  <a:lnTo>
                    <a:pt x="369203" y="2811"/>
                  </a:lnTo>
                  <a:lnTo>
                    <a:pt x="322114" y="11038"/>
                  </a:lnTo>
                  <a:lnTo>
                    <a:pt x="276989" y="24365"/>
                  </a:lnTo>
                  <a:lnTo>
                    <a:pt x="234143" y="42480"/>
                  </a:lnTo>
                  <a:lnTo>
                    <a:pt x="193890" y="65069"/>
                  </a:lnTo>
                  <a:lnTo>
                    <a:pt x="156542" y="91818"/>
                  </a:lnTo>
                  <a:lnTo>
                    <a:pt x="122413" y="122413"/>
                  </a:lnTo>
                  <a:lnTo>
                    <a:pt x="91818" y="156542"/>
                  </a:lnTo>
                  <a:lnTo>
                    <a:pt x="65069" y="193890"/>
                  </a:lnTo>
                  <a:lnTo>
                    <a:pt x="42480" y="234143"/>
                  </a:lnTo>
                  <a:lnTo>
                    <a:pt x="24365" y="276989"/>
                  </a:lnTo>
                  <a:lnTo>
                    <a:pt x="11038" y="322114"/>
                  </a:lnTo>
                  <a:lnTo>
                    <a:pt x="2811" y="369203"/>
                  </a:lnTo>
                  <a:lnTo>
                    <a:pt x="0" y="417944"/>
                  </a:lnTo>
                  <a:lnTo>
                    <a:pt x="2811" y="466685"/>
                  </a:lnTo>
                  <a:lnTo>
                    <a:pt x="11038" y="513774"/>
                  </a:lnTo>
                  <a:lnTo>
                    <a:pt x="24365" y="558898"/>
                  </a:lnTo>
                  <a:lnTo>
                    <a:pt x="42480" y="601744"/>
                  </a:lnTo>
                  <a:lnTo>
                    <a:pt x="65069" y="641998"/>
                  </a:lnTo>
                  <a:lnTo>
                    <a:pt x="91818" y="679346"/>
                  </a:lnTo>
                  <a:lnTo>
                    <a:pt x="122413" y="713474"/>
                  </a:lnTo>
                  <a:lnTo>
                    <a:pt x="156542" y="744070"/>
                  </a:lnTo>
                  <a:lnTo>
                    <a:pt x="193890" y="770819"/>
                  </a:lnTo>
                  <a:lnTo>
                    <a:pt x="234143" y="793407"/>
                  </a:lnTo>
                  <a:lnTo>
                    <a:pt x="276989" y="811522"/>
                  </a:lnTo>
                  <a:lnTo>
                    <a:pt x="322114" y="824850"/>
                  </a:lnTo>
                  <a:lnTo>
                    <a:pt x="369203" y="833076"/>
                  </a:lnTo>
                  <a:lnTo>
                    <a:pt x="417944" y="835888"/>
                  </a:lnTo>
                  <a:lnTo>
                    <a:pt x="466685" y="833076"/>
                  </a:lnTo>
                  <a:lnTo>
                    <a:pt x="513774" y="824850"/>
                  </a:lnTo>
                  <a:lnTo>
                    <a:pt x="558898" y="811522"/>
                  </a:lnTo>
                  <a:lnTo>
                    <a:pt x="601744" y="793407"/>
                  </a:lnTo>
                  <a:lnTo>
                    <a:pt x="641998" y="770819"/>
                  </a:lnTo>
                  <a:lnTo>
                    <a:pt x="679346" y="744070"/>
                  </a:lnTo>
                  <a:lnTo>
                    <a:pt x="713474" y="713474"/>
                  </a:lnTo>
                  <a:lnTo>
                    <a:pt x="744070" y="679346"/>
                  </a:lnTo>
                  <a:lnTo>
                    <a:pt x="770819" y="641998"/>
                  </a:lnTo>
                  <a:lnTo>
                    <a:pt x="793407" y="601744"/>
                  </a:lnTo>
                  <a:lnTo>
                    <a:pt x="811522" y="558898"/>
                  </a:lnTo>
                  <a:lnTo>
                    <a:pt x="824850" y="513774"/>
                  </a:lnTo>
                  <a:lnTo>
                    <a:pt x="833076" y="466685"/>
                  </a:lnTo>
                  <a:lnTo>
                    <a:pt x="835888" y="417944"/>
                  </a:lnTo>
                  <a:lnTo>
                    <a:pt x="833076" y="369203"/>
                  </a:lnTo>
                  <a:lnTo>
                    <a:pt x="824850" y="322114"/>
                  </a:lnTo>
                  <a:lnTo>
                    <a:pt x="811522" y="276989"/>
                  </a:lnTo>
                  <a:lnTo>
                    <a:pt x="793407" y="234143"/>
                  </a:lnTo>
                  <a:lnTo>
                    <a:pt x="770819" y="193890"/>
                  </a:lnTo>
                  <a:lnTo>
                    <a:pt x="744070" y="156542"/>
                  </a:lnTo>
                  <a:lnTo>
                    <a:pt x="713474" y="122413"/>
                  </a:lnTo>
                  <a:lnTo>
                    <a:pt x="679346" y="91818"/>
                  </a:lnTo>
                  <a:lnTo>
                    <a:pt x="641998" y="65069"/>
                  </a:lnTo>
                  <a:lnTo>
                    <a:pt x="601744" y="42480"/>
                  </a:lnTo>
                  <a:lnTo>
                    <a:pt x="558898" y="24365"/>
                  </a:lnTo>
                  <a:lnTo>
                    <a:pt x="513774" y="11038"/>
                  </a:lnTo>
                  <a:lnTo>
                    <a:pt x="466685" y="2811"/>
                  </a:lnTo>
                  <a:lnTo>
                    <a:pt x="417944" y="0"/>
                  </a:lnTo>
                  <a:close/>
                </a:path>
              </a:pathLst>
            </a:custGeom>
            <a:solidFill>
              <a:srgbClr val="EEDC00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3B3B3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pic>
          <p:nvPicPr>
            <p:cNvPr id="81" name="Elemento grafico 80" descr="Obiettivo contorno">
              <a:extLst>
                <a:ext uri="{FF2B5EF4-FFF2-40B4-BE49-F238E27FC236}">
                  <a16:creationId xmlns:a16="http://schemas.microsoft.com/office/drawing/2014/main" id="{0C20B10F-1BDD-ED4F-AC23-2060E4AD2B8A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/>
            <a:stretch/>
          </p:blipFill>
          <p:spPr>
            <a:xfrm>
              <a:off x="813092" y="2174253"/>
              <a:ext cx="661893" cy="661893"/>
            </a:xfrm>
            <a:prstGeom prst="rect">
              <a:avLst/>
            </a:prstGeom>
          </p:spPr>
        </p:pic>
      </p:grpSp>
      <p:cxnSp>
        <p:nvCxnSpPr>
          <p:cNvPr id="82" name="Connettore 1 81">
            <a:extLst>
              <a:ext uri="{FF2B5EF4-FFF2-40B4-BE49-F238E27FC236}">
                <a16:creationId xmlns:a16="http://schemas.microsoft.com/office/drawing/2014/main" id="{C3768425-53DF-F045-B011-1F5D4D049D8F}"/>
              </a:ext>
            </a:extLst>
          </p:cNvPr>
          <p:cNvCxnSpPr>
            <a:cxnSpLocks/>
          </p:cNvCxnSpPr>
          <p:nvPr/>
        </p:nvCxnSpPr>
        <p:spPr>
          <a:xfrm>
            <a:off x="1206042" y="1643720"/>
            <a:ext cx="368345" cy="0"/>
          </a:xfrm>
          <a:prstGeom prst="line">
            <a:avLst/>
          </a:prstGeom>
          <a:ln w="12700">
            <a:solidFill>
              <a:srgbClr val="0047B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object 46">
            <a:extLst>
              <a:ext uri="{FF2B5EF4-FFF2-40B4-BE49-F238E27FC236}">
                <a16:creationId xmlns:a16="http://schemas.microsoft.com/office/drawing/2014/main" id="{1D55961B-69DE-8846-9689-CF3CEA6B0396}"/>
              </a:ext>
            </a:extLst>
          </p:cNvPr>
          <p:cNvSpPr/>
          <p:nvPr/>
        </p:nvSpPr>
        <p:spPr>
          <a:xfrm>
            <a:off x="1532628" y="1950635"/>
            <a:ext cx="771803" cy="771803"/>
          </a:xfrm>
          <a:custGeom>
            <a:avLst/>
            <a:gdLst/>
            <a:ahLst/>
            <a:cxnLst/>
            <a:rect l="l" t="t" r="r" b="b"/>
            <a:pathLst>
              <a:path w="1009650" h="1009650">
                <a:moveTo>
                  <a:pt x="1009637" y="504825"/>
                </a:moveTo>
                <a:lnTo>
                  <a:pt x="1007326" y="553440"/>
                </a:lnTo>
                <a:lnTo>
                  <a:pt x="1000534" y="600748"/>
                </a:lnTo>
                <a:lnTo>
                  <a:pt x="989474" y="646537"/>
                </a:lnTo>
                <a:lnTo>
                  <a:pt x="974355" y="690596"/>
                </a:lnTo>
                <a:lnTo>
                  <a:pt x="955391" y="732714"/>
                </a:lnTo>
                <a:lnTo>
                  <a:pt x="932791" y="772678"/>
                </a:lnTo>
                <a:lnTo>
                  <a:pt x="906769" y="810276"/>
                </a:lnTo>
                <a:lnTo>
                  <a:pt x="877535" y="845298"/>
                </a:lnTo>
                <a:lnTo>
                  <a:pt x="845302" y="877532"/>
                </a:lnTo>
                <a:lnTo>
                  <a:pt x="810279" y="906766"/>
                </a:lnTo>
                <a:lnTo>
                  <a:pt x="772680" y="932789"/>
                </a:lnTo>
                <a:lnTo>
                  <a:pt x="732715" y="955389"/>
                </a:lnTo>
                <a:lnTo>
                  <a:pt x="690596" y="974354"/>
                </a:lnTo>
                <a:lnTo>
                  <a:pt x="646535" y="989473"/>
                </a:lnTo>
                <a:lnTo>
                  <a:pt x="600743" y="1000534"/>
                </a:lnTo>
                <a:lnTo>
                  <a:pt x="553431" y="1007326"/>
                </a:lnTo>
                <a:lnTo>
                  <a:pt x="504812" y="1009637"/>
                </a:lnTo>
                <a:lnTo>
                  <a:pt x="456197" y="1007326"/>
                </a:lnTo>
                <a:lnTo>
                  <a:pt x="408888" y="1000534"/>
                </a:lnTo>
                <a:lnTo>
                  <a:pt x="363099" y="989473"/>
                </a:lnTo>
                <a:lnTo>
                  <a:pt x="319040" y="974354"/>
                </a:lnTo>
                <a:lnTo>
                  <a:pt x="276923" y="955389"/>
                </a:lnTo>
                <a:lnTo>
                  <a:pt x="236959" y="932789"/>
                </a:lnTo>
                <a:lnTo>
                  <a:pt x="199360" y="906766"/>
                </a:lnTo>
                <a:lnTo>
                  <a:pt x="164338" y="877532"/>
                </a:lnTo>
                <a:lnTo>
                  <a:pt x="132104" y="845298"/>
                </a:lnTo>
                <a:lnTo>
                  <a:pt x="102870" y="810276"/>
                </a:lnTo>
                <a:lnTo>
                  <a:pt x="76847" y="772678"/>
                </a:lnTo>
                <a:lnTo>
                  <a:pt x="54248" y="732714"/>
                </a:lnTo>
                <a:lnTo>
                  <a:pt x="35283" y="690596"/>
                </a:lnTo>
                <a:lnTo>
                  <a:pt x="20164" y="646537"/>
                </a:lnTo>
                <a:lnTo>
                  <a:pt x="9102" y="600748"/>
                </a:lnTo>
                <a:lnTo>
                  <a:pt x="2310" y="553440"/>
                </a:lnTo>
                <a:lnTo>
                  <a:pt x="0" y="504825"/>
                </a:lnTo>
                <a:lnTo>
                  <a:pt x="2310" y="456207"/>
                </a:lnTo>
                <a:lnTo>
                  <a:pt x="9102" y="408897"/>
                </a:lnTo>
                <a:lnTo>
                  <a:pt x="20164" y="363106"/>
                </a:lnTo>
                <a:lnTo>
                  <a:pt x="35283" y="319045"/>
                </a:lnTo>
                <a:lnTo>
                  <a:pt x="54248" y="276927"/>
                </a:lnTo>
                <a:lnTo>
                  <a:pt x="76847" y="236962"/>
                </a:lnTo>
                <a:lnTo>
                  <a:pt x="102870" y="199363"/>
                </a:lnTo>
                <a:lnTo>
                  <a:pt x="132104" y="164340"/>
                </a:lnTo>
                <a:lnTo>
                  <a:pt x="164338" y="132105"/>
                </a:lnTo>
                <a:lnTo>
                  <a:pt x="199360" y="102871"/>
                </a:lnTo>
                <a:lnTo>
                  <a:pt x="236959" y="76848"/>
                </a:lnTo>
                <a:lnTo>
                  <a:pt x="276923" y="54248"/>
                </a:lnTo>
                <a:lnTo>
                  <a:pt x="319040" y="35283"/>
                </a:lnTo>
                <a:lnTo>
                  <a:pt x="363099" y="20164"/>
                </a:lnTo>
                <a:lnTo>
                  <a:pt x="408888" y="9102"/>
                </a:lnTo>
                <a:lnTo>
                  <a:pt x="456197" y="2310"/>
                </a:lnTo>
                <a:lnTo>
                  <a:pt x="504812" y="0"/>
                </a:lnTo>
                <a:lnTo>
                  <a:pt x="553431" y="2310"/>
                </a:lnTo>
                <a:lnTo>
                  <a:pt x="600743" y="9102"/>
                </a:lnTo>
                <a:lnTo>
                  <a:pt x="646535" y="20164"/>
                </a:lnTo>
                <a:lnTo>
                  <a:pt x="690596" y="35283"/>
                </a:lnTo>
                <a:lnTo>
                  <a:pt x="732715" y="54248"/>
                </a:lnTo>
                <a:lnTo>
                  <a:pt x="772680" y="76848"/>
                </a:lnTo>
                <a:lnTo>
                  <a:pt x="810279" y="102871"/>
                </a:lnTo>
                <a:lnTo>
                  <a:pt x="845302" y="132105"/>
                </a:lnTo>
                <a:lnTo>
                  <a:pt x="877535" y="164340"/>
                </a:lnTo>
                <a:lnTo>
                  <a:pt x="906769" y="199363"/>
                </a:lnTo>
                <a:lnTo>
                  <a:pt x="932791" y="236962"/>
                </a:lnTo>
                <a:lnTo>
                  <a:pt x="955391" y="276927"/>
                </a:lnTo>
                <a:lnTo>
                  <a:pt x="974355" y="319045"/>
                </a:lnTo>
                <a:lnTo>
                  <a:pt x="989474" y="363106"/>
                </a:lnTo>
                <a:lnTo>
                  <a:pt x="1000534" y="408897"/>
                </a:lnTo>
                <a:lnTo>
                  <a:pt x="1007326" y="456207"/>
                </a:lnTo>
                <a:lnTo>
                  <a:pt x="1009637" y="504825"/>
                </a:lnTo>
                <a:close/>
              </a:path>
            </a:pathLst>
          </a:custGeom>
          <a:solidFill>
            <a:schemeClr val="bg1"/>
          </a:solidFill>
          <a:ln w="12700">
            <a:solidFill>
              <a:srgbClr val="0046BA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3B3B3A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84" name="Connettore 1 83">
            <a:extLst>
              <a:ext uri="{FF2B5EF4-FFF2-40B4-BE49-F238E27FC236}">
                <a16:creationId xmlns:a16="http://schemas.microsoft.com/office/drawing/2014/main" id="{7FDC7421-8658-C149-8673-5F90B20EABC4}"/>
              </a:ext>
            </a:extLst>
          </p:cNvPr>
          <p:cNvCxnSpPr>
            <a:cxnSpLocks/>
          </p:cNvCxnSpPr>
          <p:nvPr/>
        </p:nvCxnSpPr>
        <p:spPr>
          <a:xfrm>
            <a:off x="2304477" y="2320372"/>
            <a:ext cx="4516447" cy="0"/>
          </a:xfrm>
          <a:prstGeom prst="line">
            <a:avLst/>
          </a:prstGeom>
          <a:ln w="12700">
            <a:solidFill>
              <a:srgbClr val="0047B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5" name="object 46">
            <a:extLst>
              <a:ext uri="{FF2B5EF4-FFF2-40B4-BE49-F238E27FC236}">
                <a16:creationId xmlns:a16="http://schemas.microsoft.com/office/drawing/2014/main" id="{C893C4E5-7B31-1B49-97B2-ED2F96DA5FA1}"/>
              </a:ext>
            </a:extLst>
          </p:cNvPr>
          <p:cNvSpPr/>
          <p:nvPr/>
        </p:nvSpPr>
        <p:spPr>
          <a:xfrm>
            <a:off x="1532628" y="2841180"/>
            <a:ext cx="771803" cy="771803"/>
          </a:xfrm>
          <a:custGeom>
            <a:avLst/>
            <a:gdLst/>
            <a:ahLst/>
            <a:cxnLst/>
            <a:rect l="l" t="t" r="r" b="b"/>
            <a:pathLst>
              <a:path w="1009650" h="1009650">
                <a:moveTo>
                  <a:pt x="1009637" y="504825"/>
                </a:moveTo>
                <a:lnTo>
                  <a:pt x="1007326" y="553440"/>
                </a:lnTo>
                <a:lnTo>
                  <a:pt x="1000534" y="600748"/>
                </a:lnTo>
                <a:lnTo>
                  <a:pt x="989474" y="646537"/>
                </a:lnTo>
                <a:lnTo>
                  <a:pt x="974355" y="690596"/>
                </a:lnTo>
                <a:lnTo>
                  <a:pt x="955391" y="732714"/>
                </a:lnTo>
                <a:lnTo>
                  <a:pt x="932791" y="772678"/>
                </a:lnTo>
                <a:lnTo>
                  <a:pt x="906769" y="810276"/>
                </a:lnTo>
                <a:lnTo>
                  <a:pt x="877535" y="845298"/>
                </a:lnTo>
                <a:lnTo>
                  <a:pt x="845302" y="877532"/>
                </a:lnTo>
                <a:lnTo>
                  <a:pt x="810279" y="906766"/>
                </a:lnTo>
                <a:lnTo>
                  <a:pt x="772680" y="932789"/>
                </a:lnTo>
                <a:lnTo>
                  <a:pt x="732715" y="955389"/>
                </a:lnTo>
                <a:lnTo>
                  <a:pt x="690596" y="974354"/>
                </a:lnTo>
                <a:lnTo>
                  <a:pt x="646535" y="989473"/>
                </a:lnTo>
                <a:lnTo>
                  <a:pt x="600743" y="1000534"/>
                </a:lnTo>
                <a:lnTo>
                  <a:pt x="553431" y="1007326"/>
                </a:lnTo>
                <a:lnTo>
                  <a:pt x="504812" y="1009637"/>
                </a:lnTo>
                <a:lnTo>
                  <a:pt x="456197" y="1007326"/>
                </a:lnTo>
                <a:lnTo>
                  <a:pt x="408888" y="1000534"/>
                </a:lnTo>
                <a:lnTo>
                  <a:pt x="363099" y="989473"/>
                </a:lnTo>
                <a:lnTo>
                  <a:pt x="319040" y="974354"/>
                </a:lnTo>
                <a:lnTo>
                  <a:pt x="276923" y="955389"/>
                </a:lnTo>
                <a:lnTo>
                  <a:pt x="236959" y="932789"/>
                </a:lnTo>
                <a:lnTo>
                  <a:pt x="199360" y="906766"/>
                </a:lnTo>
                <a:lnTo>
                  <a:pt x="164338" y="877532"/>
                </a:lnTo>
                <a:lnTo>
                  <a:pt x="132104" y="845298"/>
                </a:lnTo>
                <a:lnTo>
                  <a:pt x="102870" y="810276"/>
                </a:lnTo>
                <a:lnTo>
                  <a:pt x="76847" y="772678"/>
                </a:lnTo>
                <a:lnTo>
                  <a:pt x="54248" y="732714"/>
                </a:lnTo>
                <a:lnTo>
                  <a:pt x="35283" y="690596"/>
                </a:lnTo>
                <a:lnTo>
                  <a:pt x="20164" y="646537"/>
                </a:lnTo>
                <a:lnTo>
                  <a:pt x="9102" y="600748"/>
                </a:lnTo>
                <a:lnTo>
                  <a:pt x="2310" y="553440"/>
                </a:lnTo>
                <a:lnTo>
                  <a:pt x="0" y="504825"/>
                </a:lnTo>
                <a:lnTo>
                  <a:pt x="2310" y="456207"/>
                </a:lnTo>
                <a:lnTo>
                  <a:pt x="9102" y="408897"/>
                </a:lnTo>
                <a:lnTo>
                  <a:pt x="20164" y="363106"/>
                </a:lnTo>
                <a:lnTo>
                  <a:pt x="35283" y="319045"/>
                </a:lnTo>
                <a:lnTo>
                  <a:pt x="54248" y="276927"/>
                </a:lnTo>
                <a:lnTo>
                  <a:pt x="76847" y="236962"/>
                </a:lnTo>
                <a:lnTo>
                  <a:pt x="102870" y="199363"/>
                </a:lnTo>
                <a:lnTo>
                  <a:pt x="132104" y="164340"/>
                </a:lnTo>
                <a:lnTo>
                  <a:pt x="164338" y="132105"/>
                </a:lnTo>
                <a:lnTo>
                  <a:pt x="199360" y="102871"/>
                </a:lnTo>
                <a:lnTo>
                  <a:pt x="236959" y="76848"/>
                </a:lnTo>
                <a:lnTo>
                  <a:pt x="276923" y="54248"/>
                </a:lnTo>
                <a:lnTo>
                  <a:pt x="319040" y="35283"/>
                </a:lnTo>
                <a:lnTo>
                  <a:pt x="363099" y="20164"/>
                </a:lnTo>
                <a:lnTo>
                  <a:pt x="408888" y="9102"/>
                </a:lnTo>
                <a:lnTo>
                  <a:pt x="456197" y="2310"/>
                </a:lnTo>
                <a:lnTo>
                  <a:pt x="504812" y="0"/>
                </a:lnTo>
                <a:lnTo>
                  <a:pt x="553431" y="2310"/>
                </a:lnTo>
                <a:lnTo>
                  <a:pt x="600743" y="9102"/>
                </a:lnTo>
                <a:lnTo>
                  <a:pt x="646535" y="20164"/>
                </a:lnTo>
                <a:lnTo>
                  <a:pt x="690596" y="35283"/>
                </a:lnTo>
                <a:lnTo>
                  <a:pt x="732715" y="54248"/>
                </a:lnTo>
                <a:lnTo>
                  <a:pt x="772680" y="76848"/>
                </a:lnTo>
                <a:lnTo>
                  <a:pt x="810279" y="102871"/>
                </a:lnTo>
                <a:lnTo>
                  <a:pt x="845302" y="132105"/>
                </a:lnTo>
                <a:lnTo>
                  <a:pt x="877535" y="164340"/>
                </a:lnTo>
                <a:lnTo>
                  <a:pt x="906769" y="199363"/>
                </a:lnTo>
                <a:lnTo>
                  <a:pt x="932791" y="236962"/>
                </a:lnTo>
                <a:lnTo>
                  <a:pt x="955391" y="276927"/>
                </a:lnTo>
                <a:lnTo>
                  <a:pt x="974355" y="319045"/>
                </a:lnTo>
                <a:lnTo>
                  <a:pt x="989474" y="363106"/>
                </a:lnTo>
                <a:lnTo>
                  <a:pt x="1000534" y="408897"/>
                </a:lnTo>
                <a:lnTo>
                  <a:pt x="1007326" y="456207"/>
                </a:lnTo>
                <a:lnTo>
                  <a:pt x="1009637" y="504825"/>
                </a:lnTo>
                <a:close/>
              </a:path>
            </a:pathLst>
          </a:custGeom>
          <a:solidFill>
            <a:schemeClr val="bg1"/>
          </a:solidFill>
          <a:ln w="12700">
            <a:solidFill>
              <a:srgbClr val="0046BA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3B3B3A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6" name="object 46">
            <a:extLst>
              <a:ext uri="{FF2B5EF4-FFF2-40B4-BE49-F238E27FC236}">
                <a16:creationId xmlns:a16="http://schemas.microsoft.com/office/drawing/2014/main" id="{3F49E9FA-A88B-D446-A9C7-C5F0CC30B64A}"/>
              </a:ext>
            </a:extLst>
          </p:cNvPr>
          <p:cNvSpPr/>
          <p:nvPr/>
        </p:nvSpPr>
        <p:spPr>
          <a:xfrm>
            <a:off x="1532628" y="3741572"/>
            <a:ext cx="771803" cy="771803"/>
          </a:xfrm>
          <a:custGeom>
            <a:avLst/>
            <a:gdLst/>
            <a:ahLst/>
            <a:cxnLst/>
            <a:rect l="l" t="t" r="r" b="b"/>
            <a:pathLst>
              <a:path w="1009650" h="1009650">
                <a:moveTo>
                  <a:pt x="1009637" y="504825"/>
                </a:moveTo>
                <a:lnTo>
                  <a:pt x="1007326" y="553440"/>
                </a:lnTo>
                <a:lnTo>
                  <a:pt x="1000534" y="600748"/>
                </a:lnTo>
                <a:lnTo>
                  <a:pt x="989474" y="646537"/>
                </a:lnTo>
                <a:lnTo>
                  <a:pt x="974355" y="690596"/>
                </a:lnTo>
                <a:lnTo>
                  <a:pt x="955391" y="732714"/>
                </a:lnTo>
                <a:lnTo>
                  <a:pt x="932791" y="772678"/>
                </a:lnTo>
                <a:lnTo>
                  <a:pt x="906769" y="810276"/>
                </a:lnTo>
                <a:lnTo>
                  <a:pt x="877535" y="845298"/>
                </a:lnTo>
                <a:lnTo>
                  <a:pt x="845302" y="877532"/>
                </a:lnTo>
                <a:lnTo>
                  <a:pt x="810279" y="906766"/>
                </a:lnTo>
                <a:lnTo>
                  <a:pt x="772680" y="932789"/>
                </a:lnTo>
                <a:lnTo>
                  <a:pt x="732715" y="955389"/>
                </a:lnTo>
                <a:lnTo>
                  <a:pt x="690596" y="974354"/>
                </a:lnTo>
                <a:lnTo>
                  <a:pt x="646535" y="989473"/>
                </a:lnTo>
                <a:lnTo>
                  <a:pt x="600743" y="1000534"/>
                </a:lnTo>
                <a:lnTo>
                  <a:pt x="553431" y="1007326"/>
                </a:lnTo>
                <a:lnTo>
                  <a:pt x="504812" y="1009637"/>
                </a:lnTo>
                <a:lnTo>
                  <a:pt x="456197" y="1007326"/>
                </a:lnTo>
                <a:lnTo>
                  <a:pt x="408888" y="1000534"/>
                </a:lnTo>
                <a:lnTo>
                  <a:pt x="363099" y="989473"/>
                </a:lnTo>
                <a:lnTo>
                  <a:pt x="319040" y="974354"/>
                </a:lnTo>
                <a:lnTo>
                  <a:pt x="276923" y="955389"/>
                </a:lnTo>
                <a:lnTo>
                  <a:pt x="236959" y="932789"/>
                </a:lnTo>
                <a:lnTo>
                  <a:pt x="199360" y="906766"/>
                </a:lnTo>
                <a:lnTo>
                  <a:pt x="164338" y="877532"/>
                </a:lnTo>
                <a:lnTo>
                  <a:pt x="132104" y="845298"/>
                </a:lnTo>
                <a:lnTo>
                  <a:pt x="102870" y="810276"/>
                </a:lnTo>
                <a:lnTo>
                  <a:pt x="76847" y="772678"/>
                </a:lnTo>
                <a:lnTo>
                  <a:pt x="54248" y="732714"/>
                </a:lnTo>
                <a:lnTo>
                  <a:pt x="35283" y="690596"/>
                </a:lnTo>
                <a:lnTo>
                  <a:pt x="20164" y="646537"/>
                </a:lnTo>
                <a:lnTo>
                  <a:pt x="9102" y="600748"/>
                </a:lnTo>
                <a:lnTo>
                  <a:pt x="2310" y="553440"/>
                </a:lnTo>
                <a:lnTo>
                  <a:pt x="0" y="504825"/>
                </a:lnTo>
                <a:lnTo>
                  <a:pt x="2310" y="456207"/>
                </a:lnTo>
                <a:lnTo>
                  <a:pt x="9102" y="408897"/>
                </a:lnTo>
                <a:lnTo>
                  <a:pt x="20164" y="363106"/>
                </a:lnTo>
                <a:lnTo>
                  <a:pt x="35283" y="319045"/>
                </a:lnTo>
                <a:lnTo>
                  <a:pt x="54248" y="276927"/>
                </a:lnTo>
                <a:lnTo>
                  <a:pt x="76847" y="236962"/>
                </a:lnTo>
                <a:lnTo>
                  <a:pt x="102870" y="199363"/>
                </a:lnTo>
                <a:lnTo>
                  <a:pt x="132104" y="164340"/>
                </a:lnTo>
                <a:lnTo>
                  <a:pt x="164338" y="132105"/>
                </a:lnTo>
                <a:lnTo>
                  <a:pt x="199360" y="102871"/>
                </a:lnTo>
                <a:lnTo>
                  <a:pt x="236959" y="76848"/>
                </a:lnTo>
                <a:lnTo>
                  <a:pt x="276923" y="54248"/>
                </a:lnTo>
                <a:lnTo>
                  <a:pt x="319040" y="35283"/>
                </a:lnTo>
                <a:lnTo>
                  <a:pt x="363099" y="20164"/>
                </a:lnTo>
                <a:lnTo>
                  <a:pt x="408888" y="9102"/>
                </a:lnTo>
                <a:lnTo>
                  <a:pt x="456197" y="2310"/>
                </a:lnTo>
                <a:lnTo>
                  <a:pt x="504812" y="0"/>
                </a:lnTo>
                <a:lnTo>
                  <a:pt x="553431" y="2310"/>
                </a:lnTo>
                <a:lnTo>
                  <a:pt x="600743" y="9102"/>
                </a:lnTo>
                <a:lnTo>
                  <a:pt x="646535" y="20164"/>
                </a:lnTo>
                <a:lnTo>
                  <a:pt x="690596" y="35283"/>
                </a:lnTo>
                <a:lnTo>
                  <a:pt x="732715" y="54248"/>
                </a:lnTo>
                <a:lnTo>
                  <a:pt x="772680" y="76848"/>
                </a:lnTo>
                <a:lnTo>
                  <a:pt x="810279" y="102871"/>
                </a:lnTo>
                <a:lnTo>
                  <a:pt x="845302" y="132105"/>
                </a:lnTo>
                <a:lnTo>
                  <a:pt x="877535" y="164340"/>
                </a:lnTo>
                <a:lnTo>
                  <a:pt x="906769" y="199363"/>
                </a:lnTo>
                <a:lnTo>
                  <a:pt x="932791" y="236962"/>
                </a:lnTo>
                <a:lnTo>
                  <a:pt x="955391" y="276927"/>
                </a:lnTo>
                <a:lnTo>
                  <a:pt x="974355" y="319045"/>
                </a:lnTo>
                <a:lnTo>
                  <a:pt x="989474" y="363106"/>
                </a:lnTo>
                <a:lnTo>
                  <a:pt x="1000534" y="408897"/>
                </a:lnTo>
                <a:lnTo>
                  <a:pt x="1007326" y="456207"/>
                </a:lnTo>
                <a:lnTo>
                  <a:pt x="1009637" y="504825"/>
                </a:lnTo>
                <a:close/>
              </a:path>
            </a:pathLst>
          </a:custGeom>
          <a:solidFill>
            <a:schemeClr val="bg1"/>
          </a:solidFill>
          <a:ln w="12700">
            <a:solidFill>
              <a:srgbClr val="0046BA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3B3B3A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7" name="object 46">
            <a:extLst>
              <a:ext uri="{FF2B5EF4-FFF2-40B4-BE49-F238E27FC236}">
                <a16:creationId xmlns:a16="http://schemas.microsoft.com/office/drawing/2014/main" id="{CE6BAD99-D194-F948-9748-68E2DBB385A0}"/>
              </a:ext>
            </a:extLst>
          </p:cNvPr>
          <p:cNvSpPr/>
          <p:nvPr/>
        </p:nvSpPr>
        <p:spPr>
          <a:xfrm>
            <a:off x="1532628" y="4646627"/>
            <a:ext cx="771803" cy="771803"/>
          </a:xfrm>
          <a:custGeom>
            <a:avLst/>
            <a:gdLst/>
            <a:ahLst/>
            <a:cxnLst/>
            <a:rect l="l" t="t" r="r" b="b"/>
            <a:pathLst>
              <a:path w="1009650" h="1009650">
                <a:moveTo>
                  <a:pt x="1009637" y="504825"/>
                </a:moveTo>
                <a:lnTo>
                  <a:pt x="1007326" y="553440"/>
                </a:lnTo>
                <a:lnTo>
                  <a:pt x="1000534" y="600748"/>
                </a:lnTo>
                <a:lnTo>
                  <a:pt x="989474" y="646537"/>
                </a:lnTo>
                <a:lnTo>
                  <a:pt x="974355" y="690596"/>
                </a:lnTo>
                <a:lnTo>
                  <a:pt x="955391" y="732714"/>
                </a:lnTo>
                <a:lnTo>
                  <a:pt x="932791" y="772678"/>
                </a:lnTo>
                <a:lnTo>
                  <a:pt x="906769" y="810276"/>
                </a:lnTo>
                <a:lnTo>
                  <a:pt x="877535" y="845298"/>
                </a:lnTo>
                <a:lnTo>
                  <a:pt x="845302" y="877532"/>
                </a:lnTo>
                <a:lnTo>
                  <a:pt x="810279" y="906766"/>
                </a:lnTo>
                <a:lnTo>
                  <a:pt x="772680" y="932789"/>
                </a:lnTo>
                <a:lnTo>
                  <a:pt x="732715" y="955389"/>
                </a:lnTo>
                <a:lnTo>
                  <a:pt x="690596" y="974354"/>
                </a:lnTo>
                <a:lnTo>
                  <a:pt x="646535" y="989473"/>
                </a:lnTo>
                <a:lnTo>
                  <a:pt x="600743" y="1000534"/>
                </a:lnTo>
                <a:lnTo>
                  <a:pt x="553431" y="1007326"/>
                </a:lnTo>
                <a:lnTo>
                  <a:pt x="504812" y="1009637"/>
                </a:lnTo>
                <a:lnTo>
                  <a:pt x="456197" y="1007326"/>
                </a:lnTo>
                <a:lnTo>
                  <a:pt x="408888" y="1000534"/>
                </a:lnTo>
                <a:lnTo>
                  <a:pt x="363099" y="989473"/>
                </a:lnTo>
                <a:lnTo>
                  <a:pt x="319040" y="974354"/>
                </a:lnTo>
                <a:lnTo>
                  <a:pt x="276923" y="955389"/>
                </a:lnTo>
                <a:lnTo>
                  <a:pt x="236959" y="932789"/>
                </a:lnTo>
                <a:lnTo>
                  <a:pt x="199360" y="906766"/>
                </a:lnTo>
                <a:lnTo>
                  <a:pt x="164338" y="877532"/>
                </a:lnTo>
                <a:lnTo>
                  <a:pt x="132104" y="845298"/>
                </a:lnTo>
                <a:lnTo>
                  <a:pt x="102870" y="810276"/>
                </a:lnTo>
                <a:lnTo>
                  <a:pt x="76847" y="772678"/>
                </a:lnTo>
                <a:lnTo>
                  <a:pt x="54248" y="732714"/>
                </a:lnTo>
                <a:lnTo>
                  <a:pt x="35283" y="690596"/>
                </a:lnTo>
                <a:lnTo>
                  <a:pt x="20164" y="646537"/>
                </a:lnTo>
                <a:lnTo>
                  <a:pt x="9102" y="600748"/>
                </a:lnTo>
                <a:lnTo>
                  <a:pt x="2310" y="553440"/>
                </a:lnTo>
                <a:lnTo>
                  <a:pt x="0" y="504825"/>
                </a:lnTo>
                <a:lnTo>
                  <a:pt x="2310" y="456207"/>
                </a:lnTo>
                <a:lnTo>
                  <a:pt x="9102" y="408897"/>
                </a:lnTo>
                <a:lnTo>
                  <a:pt x="20164" y="363106"/>
                </a:lnTo>
                <a:lnTo>
                  <a:pt x="35283" y="319045"/>
                </a:lnTo>
                <a:lnTo>
                  <a:pt x="54248" y="276927"/>
                </a:lnTo>
                <a:lnTo>
                  <a:pt x="76847" y="236962"/>
                </a:lnTo>
                <a:lnTo>
                  <a:pt x="102870" y="199363"/>
                </a:lnTo>
                <a:lnTo>
                  <a:pt x="132104" y="164340"/>
                </a:lnTo>
                <a:lnTo>
                  <a:pt x="164338" y="132105"/>
                </a:lnTo>
                <a:lnTo>
                  <a:pt x="199360" y="102871"/>
                </a:lnTo>
                <a:lnTo>
                  <a:pt x="236959" y="76848"/>
                </a:lnTo>
                <a:lnTo>
                  <a:pt x="276923" y="54248"/>
                </a:lnTo>
                <a:lnTo>
                  <a:pt x="319040" y="35283"/>
                </a:lnTo>
                <a:lnTo>
                  <a:pt x="363099" y="20164"/>
                </a:lnTo>
                <a:lnTo>
                  <a:pt x="408888" y="9102"/>
                </a:lnTo>
                <a:lnTo>
                  <a:pt x="456197" y="2310"/>
                </a:lnTo>
                <a:lnTo>
                  <a:pt x="504812" y="0"/>
                </a:lnTo>
                <a:lnTo>
                  <a:pt x="553431" y="2310"/>
                </a:lnTo>
                <a:lnTo>
                  <a:pt x="600743" y="9102"/>
                </a:lnTo>
                <a:lnTo>
                  <a:pt x="646535" y="20164"/>
                </a:lnTo>
                <a:lnTo>
                  <a:pt x="690596" y="35283"/>
                </a:lnTo>
                <a:lnTo>
                  <a:pt x="732715" y="54248"/>
                </a:lnTo>
                <a:lnTo>
                  <a:pt x="772680" y="76848"/>
                </a:lnTo>
                <a:lnTo>
                  <a:pt x="810279" y="102871"/>
                </a:lnTo>
                <a:lnTo>
                  <a:pt x="845302" y="132105"/>
                </a:lnTo>
                <a:lnTo>
                  <a:pt x="877535" y="164340"/>
                </a:lnTo>
                <a:lnTo>
                  <a:pt x="906769" y="199363"/>
                </a:lnTo>
                <a:lnTo>
                  <a:pt x="932791" y="236962"/>
                </a:lnTo>
                <a:lnTo>
                  <a:pt x="955391" y="276927"/>
                </a:lnTo>
                <a:lnTo>
                  <a:pt x="974355" y="319045"/>
                </a:lnTo>
                <a:lnTo>
                  <a:pt x="989474" y="363106"/>
                </a:lnTo>
                <a:lnTo>
                  <a:pt x="1000534" y="408897"/>
                </a:lnTo>
                <a:lnTo>
                  <a:pt x="1007326" y="456207"/>
                </a:lnTo>
                <a:lnTo>
                  <a:pt x="1009637" y="504825"/>
                </a:lnTo>
                <a:close/>
              </a:path>
            </a:pathLst>
          </a:custGeom>
          <a:solidFill>
            <a:schemeClr val="bg1"/>
          </a:solidFill>
          <a:ln w="12700">
            <a:solidFill>
              <a:srgbClr val="0046BA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3B3B3A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88" name="Connettore 1 87">
            <a:extLst>
              <a:ext uri="{FF2B5EF4-FFF2-40B4-BE49-F238E27FC236}">
                <a16:creationId xmlns:a16="http://schemas.microsoft.com/office/drawing/2014/main" id="{1AFBB2D4-92B3-5045-AFEE-6710A6758E0F}"/>
              </a:ext>
            </a:extLst>
          </p:cNvPr>
          <p:cNvCxnSpPr>
            <a:cxnSpLocks/>
          </p:cNvCxnSpPr>
          <p:nvPr/>
        </p:nvCxnSpPr>
        <p:spPr>
          <a:xfrm>
            <a:off x="2304476" y="3234772"/>
            <a:ext cx="4516448" cy="0"/>
          </a:xfrm>
          <a:prstGeom prst="line">
            <a:avLst/>
          </a:prstGeom>
          <a:ln w="12700">
            <a:solidFill>
              <a:srgbClr val="0047B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Connettore 1 88">
            <a:extLst>
              <a:ext uri="{FF2B5EF4-FFF2-40B4-BE49-F238E27FC236}">
                <a16:creationId xmlns:a16="http://schemas.microsoft.com/office/drawing/2014/main" id="{A4C5B1E3-9C2E-CF40-8D4B-EF68C7CDB83E}"/>
              </a:ext>
            </a:extLst>
          </p:cNvPr>
          <p:cNvCxnSpPr>
            <a:cxnSpLocks/>
          </p:cNvCxnSpPr>
          <p:nvPr/>
        </p:nvCxnSpPr>
        <p:spPr>
          <a:xfrm>
            <a:off x="2304476" y="4149172"/>
            <a:ext cx="4516448" cy="0"/>
          </a:xfrm>
          <a:prstGeom prst="line">
            <a:avLst/>
          </a:prstGeom>
          <a:ln w="12700">
            <a:solidFill>
              <a:srgbClr val="0047B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" name="Connettore 1 89">
            <a:extLst>
              <a:ext uri="{FF2B5EF4-FFF2-40B4-BE49-F238E27FC236}">
                <a16:creationId xmlns:a16="http://schemas.microsoft.com/office/drawing/2014/main" id="{112AAB5D-849E-1A4B-8E9D-6735E7968F76}"/>
              </a:ext>
            </a:extLst>
          </p:cNvPr>
          <p:cNvCxnSpPr>
            <a:cxnSpLocks/>
          </p:cNvCxnSpPr>
          <p:nvPr/>
        </p:nvCxnSpPr>
        <p:spPr>
          <a:xfrm>
            <a:off x="2304477" y="5031299"/>
            <a:ext cx="4516447" cy="0"/>
          </a:xfrm>
          <a:prstGeom prst="line">
            <a:avLst/>
          </a:prstGeom>
          <a:ln w="12700">
            <a:solidFill>
              <a:srgbClr val="0047B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1" name="Segnaposto titolo 1">
            <a:extLst>
              <a:ext uri="{FF2B5EF4-FFF2-40B4-BE49-F238E27FC236}">
                <a16:creationId xmlns:a16="http://schemas.microsoft.com/office/drawing/2014/main" id="{E4151C40-6CC7-1F48-A5D2-0456B2FD9F0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7394" y="504194"/>
            <a:ext cx="10515600" cy="725421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it-IT"/>
              <a:t>Fare clic per modificare lo stile del titolo dello schema</a:t>
            </a:r>
            <a:endParaRPr lang="it-IT" dirty="0"/>
          </a:p>
        </p:txBody>
      </p:sp>
      <p:sp>
        <p:nvSpPr>
          <p:cNvPr id="2" name="CasellaDiTesto 1">
            <a:extLst>
              <a:ext uri="{FF2B5EF4-FFF2-40B4-BE49-F238E27FC236}">
                <a16:creationId xmlns:a16="http://schemas.microsoft.com/office/drawing/2014/main" id="{0F1D7810-2037-2214-BC5F-BBA7C519EDD1}"/>
              </a:ext>
            </a:extLst>
          </p:cNvPr>
          <p:cNvSpPr txBox="1"/>
          <p:nvPr userDrawn="1"/>
        </p:nvSpPr>
        <p:spPr>
          <a:xfrm>
            <a:off x="3916392" y="6623540"/>
            <a:ext cx="739499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it-IT" sz="800" i="1" dirty="0"/>
              <a:t>Documento ad uso esclusivamente interno, da intendersi come strettamente riservato; non è autorizzata la trasmissione ad altri e la divulgazione all’esterno.</a:t>
            </a:r>
            <a:endParaRPr lang="en-US" sz="800" i="1" dirty="0"/>
          </a:p>
        </p:txBody>
      </p:sp>
    </p:spTree>
    <p:extLst>
      <p:ext uri="{BB962C8B-B14F-4D97-AF65-F5344CB8AC3E}">
        <p14:creationId xmlns:p14="http://schemas.microsoft.com/office/powerpoint/2010/main" val="2457212988"/>
      </p:ext>
    </p:extLst>
  </p:cSld>
  <p:clrMapOvr>
    <a:masterClrMapping/>
  </p:clrMapOvr>
  <p:hf hdr="0" ftr="0" dt="0"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Indice di sezione + illustrazion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" name="Segnaposto testo 2">
            <a:extLst>
              <a:ext uri="{FF2B5EF4-FFF2-40B4-BE49-F238E27FC236}">
                <a16:creationId xmlns:a16="http://schemas.microsoft.com/office/drawing/2014/main" id="{AE61EBCE-F91A-364C-8C3C-A53E2CE8D32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320356" y="1938648"/>
            <a:ext cx="8354939" cy="5762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0" i="0">
                <a:solidFill>
                  <a:srgbClr val="0047BB"/>
                </a:solidFill>
                <a:latin typeface="Avenir Next LT Pro" panose="020B0504020202020204" pitchFamily="34" charset="77"/>
              </a:defRPr>
            </a:lvl1pPr>
            <a:lvl2pPr marL="457200" indent="0">
              <a:buNone/>
              <a:defRPr sz="2400" b="0" i="0">
                <a:solidFill>
                  <a:srgbClr val="0047BB"/>
                </a:solidFill>
                <a:latin typeface="Avenir Next LT Pro" panose="020B0504020202020204" pitchFamily="34" charset="77"/>
              </a:defRPr>
            </a:lvl2pPr>
            <a:lvl3pPr marL="914400" indent="0">
              <a:buNone/>
              <a:defRPr sz="2400" b="0" i="0">
                <a:solidFill>
                  <a:srgbClr val="0047BB"/>
                </a:solidFill>
                <a:latin typeface="Avenir Next LT Pro" panose="020B0504020202020204" pitchFamily="34" charset="77"/>
              </a:defRPr>
            </a:lvl3pPr>
            <a:lvl4pPr marL="1371600" indent="0">
              <a:buNone/>
              <a:defRPr sz="2400" b="0" i="0">
                <a:solidFill>
                  <a:srgbClr val="0047BB"/>
                </a:solidFill>
                <a:latin typeface="Avenir Next LT Pro" panose="020B0504020202020204" pitchFamily="34" charset="77"/>
              </a:defRPr>
            </a:lvl4pPr>
            <a:lvl5pPr marL="1828800" indent="0">
              <a:buNone/>
              <a:defRPr sz="2400" b="0" i="0">
                <a:solidFill>
                  <a:srgbClr val="0047BB"/>
                </a:solidFill>
                <a:latin typeface="Avenir Next LT Pro" panose="020B0504020202020204" pitchFamily="34" charset="77"/>
              </a:defRPr>
            </a:lvl5pPr>
          </a:lstStyle>
          <a:p>
            <a:pPr lvl="0"/>
            <a:r>
              <a:rPr lang="it-IT" dirty="0"/>
              <a:t>Fare clic per modificare indice 1</a:t>
            </a:r>
          </a:p>
        </p:txBody>
      </p:sp>
      <p:sp>
        <p:nvSpPr>
          <p:cNvPr id="75" name="Segnaposto testo 2">
            <a:extLst>
              <a:ext uri="{FF2B5EF4-FFF2-40B4-BE49-F238E27FC236}">
                <a16:creationId xmlns:a16="http://schemas.microsoft.com/office/drawing/2014/main" id="{CF45F212-B65B-4A41-9BAD-08C2497B77E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341756" y="2858954"/>
            <a:ext cx="8354939" cy="5762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0" i="0">
                <a:solidFill>
                  <a:srgbClr val="0047BB"/>
                </a:solidFill>
                <a:latin typeface="Avenir Next LT Pro" panose="020B0504020202020204" pitchFamily="34" charset="77"/>
              </a:defRPr>
            </a:lvl1pPr>
            <a:lvl2pPr marL="457200" indent="0">
              <a:buNone/>
              <a:defRPr sz="2400" b="0" i="0">
                <a:solidFill>
                  <a:srgbClr val="0047BB"/>
                </a:solidFill>
                <a:latin typeface="Avenir Next LT Pro" panose="020B0504020202020204" pitchFamily="34" charset="77"/>
              </a:defRPr>
            </a:lvl2pPr>
            <a:lvl3pPr marL="914400" indent="0">
              <a:buNone/>
              <a:defRPr sz="2400" b="0" i="0">
                <a:solidFill>
                  <a:srgbClr val="0047BB"/>
                </a:solidFill>
                <a:latin typeface="Avenir Next LT Pro" panose="020B0504020202020204" pitchFamily="34" charset="77"/>
              </a:defRPr>
            </a:lvl3pPr>
            <a:lvl4pPr marL="1371600" indent="0">
              <a:buNone/>
              <a:defRPr sz="2400" b="0" i="0">
                <a:solidFill>
                  <a:srgbClr val="0047BB"/>
                </a:solidFill>
                <a:latin typeface="Avenir Next LT Pro" panose="020B0504020202020204" pitchFamily="34" charset="77"/>
              </a:defRPr>
            </a:lvl4pPr>
            <a:lvl5pPr marL="1828800" indent="0">
              <a:buNone/>
              <a:defRPr sz="2400" b="0" i="0">
                <a:solidFill>
                  <a:srgbClr val="0047BB"/>
                </a:solidFill>
                <a:latin typeface="Avenir Next LT Pro" panose="020B0504020202020204" pitchFamily="34" charset="77"/>
              </a:defRPr>
            </a:lvl5pPr>
          </a:lstStyle>
          <a:p>
            <a:pPr lvl="0"/>
            <a:r>
              <a:rPr lang="it-IT" dirty="0"/>
              <a:t>Fare clic per modificare indice 1</a:t>
            </a:r>
          </a:p>
        </p:txBody>
      </p:sp>
      <p:sp>
        <p:nvSpPr>
          <p:cNvPr id="76" name="Segnaposto testo 2">
            <a:extLst>
              <a:ext uri="{FF2B5EF4-FFF2-40B4-BE49-F238E27FC236}">
                <a16:creationId xmlns:a16="http://schemas.microsoft.com/office/drawing/2014/main" id="{F82CA0C2-D1FA-6D4F-B882-91540A2085E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328148" y="3771964"/>
            <a:ext cx="8354939" cy="5762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0" i="0">
                <a:solidFill>
                  <a:srgbClr val="0047BB"/>
                </a:solidFill>
                <a:latin typeface="Avenir Next LT Pro" panose="020B0504020202020204" pitchFamily="34" charset="77"/>
              </a:defRPr>
            </a:lvl1pPr>
            <a:lvl2pPr marL="457200" indent="0">
              <a:buNone/>
              <a:defRPr sz="2400" b="0" i="0">
                <a:solidFill>
                  <a:srgbClr val="0047BB"/>
                </a:solidFill>
                <a:latin typeface="Avenir Next LT Pro" panose="020B0504020202020204" pitchFamily="34" charset="77"/>
              </a:defRPr>
            </a:lvl2pPr>
            <a:lvl3pPr marL="914400" indent="0">
              <a:buNone/>
              <a:defRPr sz="2400" b="0" i="0">
                <a:solidFill>
                  <a:srgbClr val="0047BB"/>
                </a:solidFill>
                <a:latin typeface="Avenir Next LT Pro" panose="020B0504020202020204" pitchFamily="34" charset="77"/>
              </a:defRPr>
            </a:lvl3pPr>
            <a:lvl4pPr marL="1371600" indent="0">
              <a:buNone/>
              <a:defRPr sz="2400" b="0" i="0">
                <a:solidFill>
                  <a:srgbClr val="0047BB"/>
                </a:solidFill>
                <a:latin typeface="Avenir Next LT Pro" panose="020B0504020202020204" pitchFamily="34" charset="77"/>
              </a:defRPr>
            </a:lvl4pPr>
            <a:lvl5pPr marL="1828800" indent="0">
              <a:buNone/>
              <a:defRPr sz="2400" b="0" i="0">
                <a:solidFill>
                  <a:srgbClr val="0047BB"/>
                </a:solidFill>
                <a:latin typeface="Avenir Next LT Pro" panose="020B0504020202020204" pitchFamily="34" charset="77"/>
              </a:defRPr>
            </a:lvl5pPr>
          </a:lstStyle>
          <a:p>
            <a:pPr lvl="0"/>
            <a:r>
              <a:rPr lang="it-IT" dirty="0"/>
              <a:t>Fare clic per modificare indice 1</a:t>
            </a:r>
          </a:p>
        </p:txBody>
      </p:sp>
      <p:sp>
        <p:nvSpPr>
          <p:cNvPr id="77" name="Segnaposto testo 2">
            <a:extLst>
              <a:ext uri="{FF2B5EF4-FFF2-40B4-BE49-F238E27FC236}">
                <a16:creationId xmlns:a16="http://schemas.microsoft.com/office/drawing/2014/main" id="{2D12AD48-5820-7345-8F91-96DAEB84544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341755" y="4645510"/>
            <a:ext cx="8354939" cy="5762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0" i="0">
                <a:solidFill>
                  <a:srgbClr val="0047BB"/>
                </a:solidFill>
                <a:latin typeface="Avenir Next LT Pro" panose="020B0504020202020204" pitchFamily="34" charset="77"/>
              </a:defRPr>
            </a:lvl1pPr>
            <a:lvl2pPr marL="457200" indent="0">
              <a:buNone/>
              <a:defRPr sz="2400" b="0" i="0">
                <a:solidFill>
                  <a:srgbClr val="0047BB"/>
                </a:solidFill>
                <a:latin typeface="Avenir Next LT Pro" panose="020B0504020202020204" pitchFamily="34" charset="77"/>
              </a:defRPr>
            </a:lvl2pPr>
            <a:lvl3pPr marL="914400" indent="0">
              <a:buNone/>
              <a:defRPr sz="2400" b="0" i="0">
                <a:solidFill>
                  <a:srgbClr val="0047BB"/>
                </a:solidFill>
                <a:latin typeface="Avenir Next LT Pro" panose="020B0504020202020204" pitchFamily="34" charset="77"/>
              </a:defRPr>
            </a:lvl3pPr>
            <a:lvl4pPr marL="1371600" indent="0">
              <a:buNone/>
              <a:defRPr sz="2400" b="0" i="0">
                <a:solidFill>
                  <a:srgbClr val="0047BB"/>
                </a:solidFill>
                <a:latin typeface="Avenir Next LT Pro" panose="020B0504020202020204" pitchFamily="34" charset="77"/>
              </a:defRPr>
            </a:lvl4pPr>
            <a:lvl5pPr marL="1828800" indent="0">
              <a:buNone/>
              <a:defRPr sz="2400" b="0" i="0">
                <a:solidFill>
                  <a:srgbClr val="0047BB"/>
                </a:solidFill>
                <a:latin typeface="Avenir Next LT Pro" panose="020B0504020202020204" pitchFamily="34" charset="77"/>
              </a:defRPr>
            </a:lvl5pPr>
          </a:lstStyle>
          <a:p>
            <a:pPr lvl="0"/>
            <a:r>
              <a:rPr lang="it-IT" dirty="0"/>
              <a:t>Fare clic per modificare indice 1</a:t>
            </a:r>
          </a:p>
        </p:txBody>
      </p:sp>
      <p:sp>
        <p:nvSpPr>
          <p:cNvPr id="44" name="bg object 16">
            <a:extLst>
              <a:ext uri="{FF2B5EF4-FFF2-40B4-BE49-F238E27FC236}">
                <a16:creationId xmlns:a16="http://schemas.microsoft.com/office/drawing/2014/main" id="{A21AC191-3059-944D-92E8-B4EC13D05DE2}"/>
              </a:ext>
            </a:extLst>
          </p:cNvPr>
          <p:cNvSpPr/>
          <p:nvPr/>
        </p:nvSpPr>
        <p:spPr>
          <a:xfrm>
            <a:off x="11330381" y="6448615"/>
            <a:ext cx="311785" cy="410845"/>
          </a:xfrm>
          <a:custGeom>
            <a:avLst/>
            <a:gdLst/>
            <a:ahLst/>
            <a:cxnLst/>
            <a:rect l="l" t="t" r="r" b="b"/>
            <a:pathLst>
              <a:path w="311784" h="410845">
                <a:moveTo>
                  <a:pt x="311645" y="0"/>
                </a:moveTo>
                <a:lnTo>
                  <a:pt x="0" y="0"/>
                </a:lnTo>
                <a:lnTo>
                  <a:pt x="0" y="410438"/>
                </a:lnTo>
                <a:lnTo>
                  <a:pt x="311645" y="410438"/>
                </a:lnTo>
                <a:lnTo>
                  <a:pt x="311645" y="0"/>
                </a:lnTo>
                <a:close/>
              </a:path>
            </a:pathLst>
          </a:custGeom>
          <a:solidFill>
            <a:srgbClr val="0047B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6" name="Holder 7">
            <a:extLst>
              <a:ext uri="{FF2B5EF4-FFF2-40B4-BE49-F238E27FC236}">
                <a16:creationId xmlns:a16="http://schemas.microsoft.com/office/drawing/2014/main" id="{98C2DA49-F46E-2545-B8D0-7CCBF61A32C5}"/>
              </a:ext>
            </a:extLst>
          </p:cNvPr>
          <p:cNvSpPr txBox="1">
            <a:spLocks/>
          </p:cNvSpPr>
          <p:nvPr/>
        </p:nvSpPr>
        <p:spPr>
          <a:xfrm>
            <a:off x="11342726" y="6520516"/>
            <a:ext cx="256044" cy="16158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it-IT"/>
            </a:defPPr>
            <a:lvl1pPr marL="0" algn="l" defTabSz="914400" rtl="0" eaLnBrk="1" latinLnBrk="0" hangingPunct="1">
              <a:defRPr sz="850" b="1" i="0" kern="1200">
                <a:solidFill>
                  <a:schemeClr val="bg1"/>
                </a:solidFill>
                <a:latin typeface="Verdana"/>
                <a:ea typeface="+mn-ea"/>
                <a:cs typeface="Verdana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8100" algn="ctr">
              <a:spcBef>
                <a:spcPts val="105"/>
              </a:spcBef>
            </a:pPr>
            <a:fld id="{81D60167-4931-47E6-BA6A-407CBD079E47}" type="slidenum">
              <a:rPr lang="it-IT" sz="1050" b="0" i="0" spc="5" smtClean="0">
                <a:latin typeface="Avenir Next LT Pro" pitchFamily="2" charset="0"/>
              </a:rPr>
              <a:pPr marL="38100" algn="ctr">
                <a:spcBef>
                  <a:spcPts val="105"/>
                </a:spcBef>
              </a:pPr>
              <a:t>‹N›</a:t>
            </a:fld>
            <a:endParaRPr lang="it-IT" sz="1050" b="0" i="0" spc="5" dirty="0">
              <a:latin typeface="Avenir Next LT Pro" pitchFamily="2" charset="0"/>
            </a:endParaRPr>
          </a:p>
        </p:txBody>
      </p:sp>
      <p:sp>
        <p:nvSpPr>
          <p:cNvPr id="50" name="Triangolo isoscele 16">
            <a:extLst>
              <a:ext uri="{FF2B5EF4-FFF2-40B4-BE49-F238E27FC236}">
                <a16:creationId xmlns:a16="http://schemas.microsoft.com/office/drawing/2014/main" id="{578582B3-A204-6E46-B2B3-ACCF2B5FC7EA}"/>
              </a:ext>
            </a:extLst>
          </p:cNvPr>
          <p:cNvSpPr/>
          <p:nvPr/>
        </p:nvSpPr>
        <p:spPr>
          <a:xfrm rot="10800000">
            <a:off x="303127" y="-324737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52" name="Triangolo isoscele 17">
            <a:extLst>
              <a:ext uri="{FF2B5EF4-FFF2-40B4-BE49-F238E27FC236}">
                <a16:creationId xmlns:a16="http://schemas.microsoft.com/office/drawing/2014/main" id="{F0C1204B-8E28-8943-87F6-22C66DB22DA6}"/>
              </a:ext>
            </a:extLst>
          </p:cNvPr>
          <p:cNvSpPr/>
          <p:nvPr/>
        </p:nvSpPr>
        <p:spPr>
          <a:xfrm rot="10800000">
            <a:off x="11756536" y="-324737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53" name="Triangolo isoscele 18">
            <a:extLst>
              <a:ext uri="{FF2B5EF4-FFF2-40B4-BE49-F238E27FC236}">
                <a16:creationId xmlns:a16="http://schemas.microsoft.com/office/drawing/2014/main" id="{6F0B725D-05A5-AC4C-9496-FC066C6B37B0}"/>
              </a:ext>
            </a:extLst>
          </p:cNvPr>
          <p:cNvSpPr/>
          <p:nvPr/>
        </p:nvSpPr>
        <p:spPr>
          <a:xfrm>
            <a:off x="303127" y="6950754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55" name="Triangolo isoscele 19">
            <a:extLst>
              <a:ext uri="{FF2B5EF4-FFF2-40B4-BE49-F238E27FC236}">
                <a16:creationId xmlns:a16="http://schemas.microsoft.com/office/drawing/2014/main" id="{09C9464E-7BA2-3C42-97EB-FC7C02A179A0}"/>
              </a:ext>
            </a:extLst>
          </p:cNvPr>
          <p:cNvSpPr/>
          <p:nvPr/>
        </p:nvSpPr>
        <p:spPr>
          <a:xfrm>
            <a:off x="11756536" y="6950754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56" name="Triangolo isoscele 20">
            <a:extLst>
              <a:ext uri="{FF2B5EF4-FFF2-40B4-BE49-F238E27FC236}">
                <a16:creationId xmlns:a16="http://schemas.microsoft.com/office/drawing/2014/main" id="{492AE717-7262-874B-A349-AB0E87FAED4E}"/>
              </a:ext>
            </a:extLst>
          </p:cNvPr>
          <p:cNvSpPr/>
          <p:nvPr/>
        </p:nvSpPr>
        <p:spPr>
          <a:xfrm rot="5400000">
            <a:off x="-276040" y="885372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57" name="Triangolo isoscele 21">
            <a:extLst>
              <a:ext uri="{FF2B5EF4-FFF2-40B4-BE49-F238E27FC236}">
                <a16:creationId xmlns:a16="http://schemas.microsoft.com/office/drawing/2014/main" id="{7359C621-E128-FE4D-AFD6-2394CE5C3B9D}"/>
              </a:ext>
            </a:extLst>
          </p:cNvPr>
          <p:cNvSpPr/>
          <p:nvPr/>
        </p:nvSpPr>
        <p:spPr>
          <a:xfrm rot="5400000">
            <a:off x="-276039" y="5982836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58" name="Triangolo isoscele 22">
            <a:extLst>
              <a:ext uri="{FF2B5EF4-FFF2-40B4-BE49-F238E27FC236}">
                <a16:creationId xmlns:a16="http://schemas.microsoft.com/office/drawing/2014/main" id="{0957E77E-2AFA-9348-A826-AAFB7A540FD4}"/>
              </a:ext>
            </a:extLst>
          </p:cNvPr>
          <p:cNvSpPr/>
          <p:nvPr/>
        </p:nvSpPr>
        <p:spPr>
          <a:xfrm rot="16200000">
            <a:off x="12331119" y="885372"/>
            <a:ext cx="132336" cy="261257"/>
          </a:xfrm>
          <a:prstGeom prst="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60" name="Triangolo isoscele 23">
            <a:extLst>
              <a:ext uri="{FF2B5EF4-FFF2-40B4-BE49-F238E27FC236}">
                <a16:creationId xmlns:a16="http://schemas.microsoft.com/office/drawing/2014/main" id="{1270546B-AB85-7F4B-921D-D161A44C9957}"/>
              </a:ext>
            </a:extLst>
          </p:cNvPr>
          <p:cNvSpPr/>
          <p:nvPr/>
        </p:nvSpPr>
        <p:spPr>
          <a:xfrm rot="16200000">
            <a:off x="12331120" y="5982836"/>
            <a:ext cx="132336" cy="261257"/>
          </a:xfrm>
          <a:prstGeom prst="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62" name="Triangolo isoscele 31">
            <a:extLst>
              <a:ext uri="{FF2B5EF4-FFF2-40B4-BE49-F238E27FC236}">
                <a16:creationId xmlns:a16="http://schemas.microsoft.com/office/drawing/2014/main" id="{B007B432-5433-3F45-A703-0A95B5B98F70}"/>
              </a:ext>
            </a:extLst>
          </p:cNvPr>
          <p:cNvSpPr/>
          <p:nvPr/>
        </p:nvSpPr>
        <p:spPr>
          <a:xfrm rot="10800000">
            <a:off x="303127" y="-324737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64" name="Triangolo isoscele 32">
            <a:extLst>
              <a:ext uri="{FF2B5EF4-FFF2-40B4-BE49-F238E27FC236}">
                <a16:creationId xmlns:a16="http://schemas.microsoft.com/office/drawing/2014/main" id="{C509EE08-9330-354B-A23C-1780291E0CD0}"/>
              </a:ext>
            </a:extLst>
          </p:cNvPr>
          <p:cNvSpPr/>
          <p:nvPr/>
        </p:nvSpPr>
        <p:spPr>
          <a:xfrm rot="10800000">
            <a:off x="11756536" y="-324737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65" name="Triangolo isoscele 33">
            <a:extLst>
              <a:ext uri="{FF2B5EF4-FFF2-40B4-BE49-F238E27FC236}">
                <a16:creationId xmlns:a16="http://schemas.microsoft.com/office/drawing/2014/main" id="{A06061CD-2D33-2949-B25D-42D86A4B8F7E}"/>
              </a:ext>
            </a:extLst>
          </p:cNvPr>
          <p:cNvSpPr/>
          <p:nvPr/>
        </p:nvSpPr>
        <p:spPr>
          <a:xfrm>
            <a:off x="303127" y="6950754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66" name="Triangolo isoscele 34">
            <a:extLst>
              <a:ext uri="{FF2B5EF4-FFF2-40B4-BE49-F238E27FC236}">
                <a16:creationId xmlns:a16="http://schemas.microsoft.com/office/drawing/2014/main" id="{86DAC96B-4BDC-D54D-993A-6FF1FDCBBBF3}"/>
              </a:ext>
            </a:extLst>
          </p:cNvPr>
          <p:cNvSpPr/>
          <p:nvPr/>
        </p:nvSpPr>
        <p:spPr>
          <a:xfrm>
            <a:off x="11756536" y="6950754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67" name="Triangolo isoscele 35">
            <a:extLst>
              <a:ext uri="{FF2B5EF4-FFF2-40B4-BE49-F238E27FC236}">
                <a16:creationId xmlns:a16="http://schemas.microsoft.com/office/drawing/2014/main" id="{96DE6BBA-86BF-3C46-9A14-769E3A9BF351}"/>
              </a:ext>
            </a:extLst>
          </p:cNvPr>
          <p:cNvSpPr/>
          <p:nvPr/>
        </p:nvSpPr>
        <p:spPr>
          <a:xfrm rot="5400000">
            <a:off x="-276040" y="885372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68" name="Triangolo isoscele 36">
            <a:extLst>
              <a:ext uri="{FF2B5EF4-FFF2-40B4-BE49-F238E27FC236}">
                <a16:creationId xmlns:a16="http://schemas.microsoft.com/office/drawing/2014/main" id="{4ECF7C09-48CB-8741-B3CB-459AD6720363}"/>
              </a:ext>
            </a:extLst>
          </p:cNvPr>
          <p:cNvSpPr/>
          <p:nvPr/>
        </p:nvSpPr>
        <p:spPr>
          <a:xfrm rot="5400000">
            <a:off x="-276039" y="5982836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69" name="Triangolo isoscele 37">
            <a:extLst>
              <a:ext uri="{FF2B5EF4-FFF2-40B4-BE49-F238E27FC236}">
                <a16:creationId xmlns:a16="http://schemas.microsoft.com/office/drawing/2014/main" id="{9B281C8A-C1E5-7D4D-AB27-5B3901C28196}"/>
              </a:ext>
            </a:extLst>
          </p:cNvPr>
          <p:cNvSpPr/>
          <p:nvPr/>
        </p:nvSpPr>
        <p:spPr>
          <a:xfrm rot="16200000">
            <a:off x="12331119" y="885372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70" name="Triangolo isoscele 38">
            <a:extLst>
              <a:ext uri="{FF2B5EF4-FFF2-40B4-BE49-F238E27FC236}">
                <a16:creationId xmlns:a16="http://schemas.microsoft.com/office/drawing/2014/main" id="{9EDB5FCA-9E1A-A34D-8F08-68D793D142E1}"/>
              </a:ext>
            </a:extLst>
          </p:cNvPr>
          <p:cNvSpPr/>
          <p:nvPr/>
        </p:nvSpPr>
        <p:spPr>
          <a:xfrm rot="16200000">
            <a:off x="12331120" y="5982836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pic>
        <p:nvPicPr>
          <p:cNvPr id="71" name="Elemento grafico 70">
            <a:extLst>
              <a:ext uri="{FF2B5EF4-FFF2-40B4-BE49-F238E27FC236}">
                <a16:creationId xmlns:a16="http://schemas.microsoft.com/office/drawing/2014/main" id="{DCC144D8-9208-4E4F-8E3D-BE547EFA3058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081892" y="-5080"/>
            <a:ext cx="1560273" cy="309880"/>
          </a:xfrm>
          <a:prstGeom prst="rect">
            <a:avLst/>
          </a:prstGeom>
        </p:spPr>
      </p:pic>
      <p:sp>
        <p:nvSpPr>
          <p:cNvPr id="72" name="object 267">
            <a:extLst>
              <a:ext uri="{FF2B5EF4-FFF2-40B4-BE49-F238E27FC236}">
                <a16:creationId xmlns:a16="http://schemas.microsoft.com/office/drawing/2014/main" id="{92B4529D-1D0E-AA4C-A179-3E5D78AE32CA}"/>
              </a:ext>
            </a:extLst>
          </p:cNvPr>
          <p:cNvSpPr/>
          <p:nvPr/>
        </p:nvSpPr>
        <p:spPr>
          <a:xfrm>
            <a:off x="0" y="1251482"/>
            <a:ext cx="675518" cy="45719"/>
          </a:xfrm>
          <a:custGeom>
            <a:avLst/>
            <a:gdLst/>
            <a:ahLst/>
            <a:cxnLst/>
            <a:rect l="l" t="t" r="r" b="b"/>
            <a:pathLst>
              <a:path w="657225">
                <a:moveTo>
                  <a:pt x="0" y="0"/>
                </a:moveTo>
                <a:lnTo>
                  <a:pt x="656678" y="0"/>
                </a:lnTo>
              </a:path>
            </a:pathLst>
          </a:custGeom>
          <a:ln w="76200">
            <a:solidFill>
              <a:srgbClr val="EEDC00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JhengHei UI Light" panose="020B0304030504040204" pitchFamily="34" charset="-120"/>
              <a:ea typeface="Microsoft JhengHei UI Light" panose="020B0304030504040204" pitchFamily="34" charset="-120"/>
              <a:cs typeface="+mn-cs"/>
            </a:endParaRPr>
          </a:p>
        </p:txBody>
      </p:sp>
      <p:sp>
        <p:nvSpPr>
          <p:cNvPr id="73" name="Arco 72">
            <a:extLst>
              <a:ext uri="{FF2B5EF4-FFF2-40B4-BE49-F238E27FC236}">
                <a16:creationId xmlns:a16="http://schemas.microsoft.com/office/drawing/2014/main" id="{E288BBFD-56DB-5D48-8DFB-663C2DDAF59C}"/>
              </a:ext>
            </a:extLst>
          </p:cNvPr>
          <p:cNvSpPr/>
          <p:nvPr/>
        </p:nvSpPr>
        <p:spPr>
          <a:xfrm>
            <a:off x="1221228" y="1643720"/>
            <a:ext cx="699715" cy="699715"/>
          </a:xfrm>
          <a:prstGeom prst="arc">
            <a:avLst/>
          </a:prstGeom>
          <a:ln w="12700">
            <a:solidFill>
              <a:srgbClr val="0047B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1200" cap="none" spc="0" normalizeH="0" baseline="0" noProof="0">
              <a:ln>
                <a:noFill/>
              </a:ln>
              <a:solidFill>
                <a:srgbClr val="3B3B3A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pSp>
        <p:nvGrpSpPr>
          <p:cNvPr id="78" name="Gruppo 77">
            <a:extLst>
              <a:ext uri="{FF2B5EF4-FFF2-40B4-BE49-F238E27FC236}">
                <a16:creationId xmlns:a16="http://schemas.microsoft.com/office/drawing/2014/main" id="{B7BA2252-9805-A949-BD93-3F93B1B83A62}"/>
              </a:ext>
            </a:extLst>
          </p:cNvPr>
          <p:cNvGrpSpPr/>
          <p:nvPr/>
        </p:nvGrpSpPr>
        <p:grpSpPr>
          <a:xfrm>
            <a:off x="643244" y="1375851"/>
            <a:ext cx="562798" cy="562797"/>
            <a:chOff x="630463" y="1998492"/>
            <a:chExt cx="1027152" cy="1027151"/>
          </a:xfrm>
        </p:grpSpPr>
        <p:sp>
          <p:nvSpPr>
            <p:cNvPr id="79" name="object 46">
              <a:extLst>
                <a:ext uri="{FF2B5EF4-FFF2-40B4-BE49-F238E27FC236}">
                  <a16:creationId xmlns:a16="http://schemas.microsoft.com/office/drawing/2014/main" id="{22B8FB41-644C-C240-8B1D-7038B0BB94B8}"/>
                </a:ext>
              </a:extLst>
            </p:cNvPr>
            <p:cNvSpPr/>
            <p:nvPr/>
          </p:nvSpPr>
          <p:spPr>
            <a:xfrm>
              <a:off x="630463" y="1998492"/>
              <a:ext cx="1027152" cy="1027151"/>
            </a:xfrm>
            <a:custGeom>
              <a:avLst/>
              <a:gdLst/>
              <a:ahLst/>
              <a:cxnLst/>
              <a:rect l="l" t="t" r="r" b="b"/>
              <a:pathLst>
                <a:path w="1009650" h="1009650">
                  <a:moveTo>
                    <a:pt x="1009637" y="504825"/>
                  </a:moveTo>
                  <a:lnTo>
                    <a:pt x="1007326" y="553440"/>
                  </a:lnTo>
                  <a:lnTo>
                    <a:pt x="1000534" y="600748"/>
                  </a:lnTo>
                  <a:lnTo>
                    <a:pt x="989474" y="646537"/>
                  </a:lnTo>
                  <a:lnTo>
                    <a:pt x="974355" y="690596"/>
                  </a:lnTo>
                  <a:lnTo>
                    <a:pt x="955391" y="732714"/>
                  </a:lnTo>
                  <a:lnTo>
                    <a:pt x="932791" y="772678"/>
                  </a:lnTo>
                  <a:lnTo>
                    <a:pt x="906769" y="810276"/>
                  </a:lnTo>
                  <a:lnTo>
                    <a:pt x="877535" y="845298"/>
                  </a:lnTo>
                  <a:lnTo>
                    <a:pt x="845302" y="877532"/>
                  </a:lnTo>
                  <a:lnTo>
                    <a:pt x="810279" y="906766"/>
                  </a:lnTo>
                  <a:lnTo>
                    <a:pt x="772680" y="932789"/>
                  </a:lnTo>
                  <a:lnTo>
                    <a:pt x="732715" y="955389"/>
                  </a:lnTo>
                  <a:lnTo>
                    <a:pt x="690596" y="974354"/>
                  </a:lnTo>
                  <a:lnTo>
                    <a:pt x="646535" y="989473"/>
                  </a:lnTo>
                  <a:lnTo>
                    <a:pt x="600743" y="1000534"/>
                  </a:lnTo>
                  <a:lnTo>
                    <a:pt x="553431" y="1007326"/>
                  </a:lnTo>
                  <a:lnTo>
                    <a:pt x="504812" y="1009637"/>
                  </a:lnTo>
                  <a:lnTo>
                    <a:pt x="456197" y="1007326"/>
                  </a:lnTo>
                  <a:lnTo>
                    <a:pt x="408888" y="1000534"/>
                  </a:lnTo>
                  <a:lnTo>
                    <a:pt x="363099" y="989473"/>
                  </a:lnTo>
                  <a:lnTo>
                    <a:pt x="319040" y="974354"/>
                  </a:lnTo>
                  <a:lnTo>
                    <a:pt x="276923" y="955389"/>
                  </a:lnTo>
                  <a:lnTo>
                    <a:pt x="236959" y="932789"/>
                  </a:lnTo>
                  <a:lnTo>
                    <a:pt x="199360" y="906766"/>
                  </a:lnTo>
                  <a:lnTo>
                    <a:pt x="164338" y="877532"/>
                  </a:lnTo>
                  <a:lnTo>
                    <a:pt x="132104" y="845298"/>
                  </a:lnTo>
                  <a:lnTo>
                    <a:pt x="102870" y="810276"/>
                  </a:lnTo>
                  <a:lnTo>
                    <a:pt x="76847" y="772678"/>
                  </a:lnTo>
                  <a:lnTo>
                    <a:pt x="54248" y="732714"/>
                  </a:lnTo>
                  <a:lnTo>
                    <a:pt x="35283" y="690596"/>
                  </a:lnTo>
                  <a:lnTo>
                    <a:pt x="20164" y="646537"/>
                  </a:lnTo>
                  <a:lnTo>
                    <a:pt x="9102" y="600748"/>
                  </a:lnTo>
                  <a:lnTo>
                    <a:pt x="2310" y="553440"/>
                  </a:lnTo>
                  <a:lnTo>
                    <a:pt x="0" y="504825"/>
                  </a:lnTo>
                  <a:lnTo>
                    <a:pt x="2310" y="456207"/>
                  </a:lnTo>
                  <a:lnTo>
                    <a:pt x="9102" y="408897"/>
                  </a:lnTo>
                  <a:lnTo>
                    <a:pt x="20164" y="363106"/>
                  </a:lnTo>
                  <a:lnTo>
                    <a:pt x="35283" y="319045"/>
                  </a:lnTo>
                  <a:lnTo>
                    <a:pt x="54248" y="276927"/>
                  </a:lnTo>
                  <a:lnTo>
                    <a:pt x="76847" y="236962"/>
                  </a:lnTo>
                  <a:lnTo>
                    <a:pt x="102870" y="199363"/>
                  </a:lnTo>
                  <a:lnTo>
                    <a:pt x="132104" y="164340"/>
                  </a:lnTo>
                  <a:lnTo>
                    <a:pt x="164338" y="132105"/>
                  </a:lnTo>
                  <a:lnTo>
                    <a:pt x="199360" y="102871"/>
                  </a:lnTo>
                  <a:lnTo>
                    <a:pt x="236959" y="76848"/>
                  </a:lnTo>
                  <a:lnTo>
                    <a:pt x="276923" y="54248"/>
                  </a:lnTo>
                  <a:lnTo>
                    <a:pt x="319040" y="35283"/>
                  </a:lnTo>
                  <a:lnTo>
                    <a:pt x="363099" y="20164"/>
                  </a:lnTo>
                  <a:lnTo>
                    <a:pt x="408888" y="9102"/>
                  </a:lnTo>
                  <a:lnTo>
                    <a:pt x="456197" y="2310"/>
                  </a:lnTo>
                  <a:lnTo>
                    <a:pt x="504812" y="0"/>
                  </a:lnTo>
                  <a:lnTo>
                    <a:pt x="553431" y="2310"/>
                  </a:lnTo>
                  <a:lnTo>
                    <a:pt x="600743" y="9102"/>
                  </a:lnTo>
                  <a:lnTo>
                    <a:pt x="646535" y="20164"/>
                  </a:lnTo>
                  <a:lnTo>
                    <a:pt x="690596" y="35283"/>
                  </a:lnTo>
                  <a:lnTo>
                    <a:pt x="732715" y="54248"/>
                  </a:lnTo>
                  <a:lnTo>
                    <a:pt x="772680" y="76848"/>
                  </a:lnTo>
                  <a:lnTo>
                    <a:pt x="810279" y="102871"/>
                  </a:lnTo>
                  <a:lnTo>
                    <a:pt x="845302" y="132105"/>
                  </a:lnTo>
                  <a:lnTo>
                    <a:pt x="877535" y="164340"/>
                  </a:lnTo>
                  <a:lnTo>
                    <a:pt x="906769" y="199363"/>
                  </a:lnTo>
                  <a:lnTo>
                    <a:pt x="932791" y="236962"/>
                  </a:lnTo>
                  <a:lnTo>
                    <a:pt x="955391" y="276927"/>
                  </a:lnTo>
                  <a:lnTo>
                    <a:pt x="974355" y="319045"/>
                  </a:lnTo>
                  <a:lnTo>
                    <a:pt x="989474" y="363106"/>
                  </a:lnTo>
                  <a:lnTo>
                    <a:pt x="1000534" y="408897"/>
                  </a:lnTo>
                  <a:lnTo>
                    <a:pt x="1007326" y="456207"/>
                  </a:lnTo>
                  <a:lnTo>
                    <a:pt x="1009637" y="504825"/>
                  </a:lnTo>
                  <a:close/>
                </a:path>
              </a:pathLst>
            </a:custGeom>
            <a:solidFill>
              <a:schemeClr val="bg1"/>
            </a:solidFill>
            <a:ln w="12700">
              <a:solidFill>
                <a:srgbClr val="0046BA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3B3B3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80" name="object 47">
              <a:extLst>
                <a:ext uri="{FF2B5EF4-FFF2-40B4-BE49-F238E27FC236}">
                  <a16:creationId xmlns:a16="http://schemas.microsoft.com/office/drawing/2014/main" id="{D6EB08F2-7F58-AD4B-9D66-6A57B02D4044}"/>
                </a:ext>
              </a:extLst>
            </p:cNvPr>
            <p:cNvSpPr/>
            <p:nvPr/>
          </p:nvSpPr>
          <p:spPr>
            <a:xfrm>
              <a:off x="718643" y="2086672"/>
              <a:ext cx="850791" cy="850791"/>
            </a:xfrm>
            <a:custGeom>
              <a:avLst/>
              <a:gdLst/>
              <a:ahLst/>
              <a:cxnLst/>
              <a:rect l="l" t="t" r="r" b="b"/>
              <a:pathLst>
                <a:path w="836294" h="836294">
                  <a:moveTo>
                    <a:pt x="417944" y="0"/>
                  </a:moveTo>
                  <a:lnTo>
                    <a:pt x="369203" y="2811"/>
                  </a:lnTo>
                  <a:lnTo>
                    <a:pt x="322114" y="11038"/>
                  </a:lnTo>
                  <a:lnTo>
                    <a:pt x="276989" y="24365"/>
                  </a:lnTo>
                  <a:lnTo>
                    <a:pt x="234143" y="42480"/>
                  </a:lnTo>
                  <a:lnTo>
                    <a:pt x="193890" y="65069"/>
                  </a:lnTo>
                  <a:lnTo>
                    <a:pt x="156542" y="91818"/>
                  </a:lnTo>
                  <a:lnTo>
                    <a:pt x="122413" y="122413"/>
                  </a:lnTo>
                  <a:lnTo>
                    <a:pt x="91818" y="156542"/>
                  </a:lnTo>
                  <a:lnTo>
                    <a:pt x="65069" y="193890"/>
                  </a:lnTo>
                  <a:lnTo>
                    <a:pt x="42480" y="234143"/>
                  </a:lnTo>
                  <a:lnTo>
                    <a:pt x="24365" y="276989"/>
                  </a:lnTo>
                  <a:lnTo>
                    <a:pt x="11038" y="322114"/>
                  </a:lnTo>
                  <a:lnTo>
                    <a:pt x="2811" y="369203"/>
                  </a:lnTo>
                  <a:lnTo>
                    <a:pt x="0" y="417944"/>
                  </a:lnTo>
                  <a:lnTo>
                    <a:pt x="2811" y="466685"/>
                  </a:lnTo>
                  <a:lnTo>
                    <a:pt x="11038" y="513774"/>
                  </a:lnTo>
                  <a:lnTo>
                    <a:pt x="24365" y="558898"/>
                  </a:lnTo>
                  <a:lnTo>
                    <a:pt x="42480" y="601744"/>
                  </a:lnTo>
                  <a:lnTo>
                    <a:pt x="65069" y="641998"/>
                  </a:lnTo>
                  <a:lnTo>
                    <a:pt x="91818" y="679346"/>
                  </a:lnTo>
                  <a:lnTo>
                    <a:pt x="122413" y="713474"/>
                  </a:lnTo>
                  <a:lnTo>
                    <a:pt x="156542" y="744070"/>
                  </a:lnTo>
                  <a:lnTo>
                    <a:pt x="193890" y="770819"/>
                  </a:lnTo>
                  <a:lnTo>
                    <a:pt x="234143" y="793407"/>
                  </a:lnTo>
                  <a:lnTo>
                    <a:pt x="276989" y="811522"/>
                  </a:lnTo>
                  <a:lnTo>
                    <a:pt x="322114" y="824850"/>
                  </a:lnTo>
                  <a:lnTo>
                    <a:pt x="369203" y="833076"/>
                  </a:lnTo>
                  <a:lnTo>
                    <a:pt x="417944" y="835888"/>
                  </a:lnTo>
                  <a:lnTo>
                    <a:pt x="466685" y="833076"/>
                  </a:lnTo>
                  <a:lnTo>
                    <a:pt x="513774" y="824850"/>
                  </a:lnTo>
                  <a:lnTo>
                    <a:pt x="558898" y="811522"/>
                  </a:lnTo>
                  <a:lnTo>
                    <a:pt x="601744" y="793407"/>
                  </a:lnTo>
                  <a:lnTo>
                    <a:pt x="641998" y="770819"/>
                  </a:lnTo>
                  <a:lnTo>
                    <a:pt x="679346" y="744070"/>
                  </a:lnTo>
                  <a:lnTo>
                    <a:pt x="713474" y="713474"/>
                  </a:lnTo>
                  <a:lnTo>
                    <a:pt x="744070" y="679346"/>
                  </a:lnTo>
                  <a:lnTo>
                    <a:pt x="770819" y="641998"/>
                  </a:lnTo>
                  <a:lnTo>
                    <a:pt x="793407" y="601744"/>
                  </a:lnTo>
                  <a:lnTo>
                    <a:pt x="811522" y="558898"/>
                  </a:lnTo>
                  <a:lnTo>
                    <a:pt x="824850" y="513774"/>
                  </a:lnTo>
                  <a:lnTo>
                    <a:pt x="833076" y="466685"/>
                  </a:lnTo>
                  <a:lnTo>
                    <a:pt x="835888" y="417944"/>
                  </a:lnTo>
                  <a:lnTo>
                    <a:pt x="833076" y="369203"/>
                  </a:lnTo>
                  <a:lnTo>
                    <a:pt x="824850" y="322114"/>
                  </a:lnTo>
                  <a:lnTo>
                    <a:pt x="811522" y="276989"/>
                  </a:lnTo>
                  <a:lnTo>
                    <a:pt x="793407" y="234143"/>
                  </a:lnTo>
                  <a:lnTo>
                    <a:pt x="770819" y="193890"/>
                  </a:lnTo>
                  <a:lnTo>
                    <a:pt x="744070" y="156542"/>
                  </a:lnTo>
                  <a:lnTo>
                    <a:pt x="713474" y="122413"/>
                  </a:lnTo>
                  <a:lnTo>
                    <a:pt x="679346" y="91818"/>
                  </a:lnTo>
                  <a:lnTo>
                    <a:pt x="641998" y="65069"/>
                  </a:lnTo>
                  <a:lnTo>
                    <a:pt x="601744" y="42480"/>
                  </a:lnTo>
                  <a:lnTo>
                    <a:pt x="558898" y="24365"/>
                  </a:lnTo>
                  <a:lnTo>
                    <a:pt x="513774" y="11038"/>
                  </a:lnTo>
                  <a:lnTo>
                    <a:pt x="466685" y="2811"/>
                  </a:lnTo>
                  <a:lnTo>
                    <a:pt x="417944" y="0"/>
                  </a:lnTo>
                  <a:close/>
                </a:path>
              </a:pathLst>
            </a:custGeom>
            <a:solidFill>
              <a:srgbClr val="EEDC00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3B3B3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pic>
          <p:nvPicPr>
            <p:cNvPr id="81" name="Elemento grafico 80" descr="Obiettivo contorno">
              <a:extLst>
                <a:ext uri="{FF2B5EF4-FFF2-40B4-BE49-F238E27FC236}">
                  <a16:creationId xmlns:a16="http://schemas.microsoft.com/office/drawing/2014/main" id="{0C20B10F-1BDD-ED4F-AC23-2060E4AD2B8A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/>
            <a:stretch/>
          </p:blipFill>
          <p:spPr>
            <a:xfrm>
              <a:off x="813092" y="2174253"/>
              <a:ext cx="661893" cy="661893"/>
            </a:xfrm>
            <a:prstGeom prst="rect">
              <a:avLst/>
            </a:prstGeom>
          </p:spPr>
        </p:pic>
      </p:grpSp>
      <p:cxnSp>
        <p:nvCxnSpPr>
          <p:cNvPr id="82" name="Connettore 1 81">
            <a:extLst>
              <a:ext uri="{FF2B5EF4-FFF2-40B4-BE49-F238E27FC236}">
                <a16:creationId xmlns:a16="http://schemas.microsoft.com/office/drawing/2014/main" id="{C3768425-53DF-F045-B011-1F5D4D049D8F}"/>
              </a:ext>
            </a:extLst>
          </p:cNvPr>
          <p:cNvCxnSpPr>
            <a:cxnSpLocks/>
          </p:cNvCxnSpPr>
          <p:nvPr/>
        </p:nvCxnSpPr>
        <p:spPr>
          <a:xfrm>
            <a:off x="1206042" y="1643720"/>
            <a:ext cx="368345" cy="0"/>
          </a:xfrm>
          <a:prstGeom prst="line">
            <a:avLst/>
          </a:prstGeom>
          <a:ln w="12700">
            <a:solidFill>
              <a:srgbClr val="0047B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object 46">
            <a:extLst>
              <a:ext uri="{FF2B5EF4-FFF2-40B4-BE49-F238E27FC236}">
                <a16:creationId xmlns:a16="http://schemas.microsoft.com/office/drawing/2014/main" id="{1D55961B-69DE-8846-9689-CF3CEA6B0396}"/>
              </a:ext>
            </a:extLst>
          </p:cNvPr>
          <p:cNvSpPr/>
          <p:nvPr/>
        </p:nvSpPr>
        <p:spPr>
          <a:xfrm>
            <a:off x="1532628" y="1950635"/>
            <a:ext cx="771803" cy="771803"/>
          </a:xfrm>
          <a:custGeom>
            <a:avLst/>
            <a:gdLst/>
            <a:ahLst/>
            <a:cxnLst/>
            <a:rect l="l" t="t" r="r" b="b"/>
            <a:pathLst>
              <a:path w="1009650" h="1009650">
                <a:moveTo>
                  <a:pt x="1009637" y="504825"/>
                </a:moveTo>
                <a:lnTo>
                  <a:pt x="1007326" y="553440"/>
                </a:lnTo>
                <a:lnTo>
                  <a:pt x="1000534" y="600748"/>
                </a:lnTo>
                <a:lnTo>
                  <a:pt x="989474" y="646537"/>
                </a:lnTo>
                <a:lnTo>
                  <a:pt x="974355" y="690596"/>
                </a:lnTo>
                <a:lnTo>
                  <a:pt x="955391" y="732714"/>
                </a:lnTo>
                <a:lnTo>
                  <a:pt x="932791" y="772678"/>
                </a:lnTo>
                <a:lnTo>
                  <a:pt x="906769" y="810276"/>
                </a:lnTo>
                <a:lnTo>
                  <a:pt x="877535" y="845298"/>
                </a:lnTo>
                <a:lnTo>
                  <a:pt x="845302" y="877532"/>
                </a:lnTo>
                <a:lnTo>
                  <a:pt x="810279" y="906766"/>
                </a:lnTo>
                <a:lnTo>
                  <a:pt x="772680" y="932789"/>
                </a:lnTo>
                <a:lnTo>
                  <a:pt x="732715" y="955389"/>
                </a:lnTo>
                <a:lnTo>
                  <a:pt x="690596" y="974354"/>
                </a:lnTo>
                <a:lnTo>
                  <a:pt x="646535" y="989473"/>
                </a:lnTo>
                <a:lnTo>
                  <a:pt x="600743" y="1000534"/>
                </a:lnTo>
                <a:lnTo>
                  <a:pt x="553431" y="1007326"/>
                </a:lnTo>
                <a:lnTo>
                  <a:pt x="504812" y="1009637"/>
                </a:lnTo>
                <a:lnTo>
                  <a:pt x="456197" y="1007326"/>
                </a:lnTo>
                <a:lnTo>
                  <a:pt x="408888" y="1000534"/>
                </a:lnTo>
                <a:lnTo>
                  <a:pt x="363099" y="989473"/>
                </a:lnTo>
                <a:lnTo>
                  <a:pt x="319040" y="974354"/>
                </a:lnTo>
                <a:lnTo>
                  <a:pt x="276923" y="955389"/>
                </a:lnTo>
                <a:lnTo>
                  <a:pt x="236959" y="932789"/>
                </a:lnTo>
                <a:lnTo>
                  <a:pt x="199360" y="906766"/>
                </a:lnTo>
                <a:lnTo>
                  <a:pt x="164338" y="877532"/>
                </a:lnTo>
                <a:lnTo>
                  <a:pt x="132104" y="845298"/>
                </a:lnTo>
                <a:lnTo>
                  <a:pt x="102870" y="810276"/>
                </a:lnTo>
                <a:lnTo>
                  <a:pt x="76847" y="772678"/>
                </a:lnTo>
                <a:lnTo>
                  <a:pt x="54248" y="732714"/>
                </a:lnTo>
                <a:lnTo>
                  <a:pt x="35283" y="690596"/>
                </a:lnTo>
                <a:lnTo>
                  <a:pt x="20164" y="646537"/>
                </a:lnTo>
                <a:lnTo>
                  <a:pt x="9102" y="600748"/>
                </a:lnTo>
                <a:lnTo>
                  <a:pt x="2310" y="553440"/>
                </a:lnTo>
                <a:lnTo>
                  <a:pt x="0" y="504825"/>
                </a:lnTo>
                <a:lnTo>
                  <a:pt x="2310" y="456207"/>
                </a:lnTo>
                <a:lnTo>
                  <a:pt x="9102" y="408897"/>
                </a:lnTo>
                <a:lnTo>
                  <a:pt x="20164" y="363106"/>
                </a:lnTo>
                <a:lnTo>
                  <a:pt x="35283" y="319045"/>
                </a:lnTo>
                <a:lnTo>
                  <a:pt x="54248" y="276927"/>
                </a:lnTo>
                <a:lnTo>
                  <a:pt x="76847" y="236962"/>
                </a:lnTo>
                <a:lnTo>
                  <a:pt x="102870" y="199363"/>
                </a:lnTo>
                <a:lnTo>
                  <a:pt x="132104" y="164340"/>
                </a:lnTo>
                <a:lnTo>
                  <a:pt x="164338" y="132105"/>
                </a:lnTo>
                <a:lnTo>
                  <a:pt x="199360" y="102871"/>
                </a:lnTo>
                <a:lnTo>
                  <a:pt x="236959" y="76848"/>
                </a:lnTo>
                <a:lnTo>
                  <a:pt x="276923" y="54248"/>
                </a:lnTo>
                <a:lnTo>
                  <a:pt x="319040" y="35283"/>
                </a:lnTo>
                <a:lnTo>
                  <a:pt x="363099" y="20164"/>
                </a:lnTo>
                <a:lnTo>
                  <a:pt x="408888" y="9102"/>
                </a:lnTo>
                <a:lnTo>
                  <a:pt x="456197" y="2310"/>
                </a:lnTo>
                <a:lnTo>
                  <a:pt x="504812" y="0"/>
                </a:lnTo>
                <a:lnTo>
                  <a:pt x="553431" y="2310"/>
                </a:lnTo>
                <a:lnTo>
                  <a:pt x="600743" y="9102"/>
                </a:lnTo>
                <a:lnTo>
                  <a:pt x="646535" y="20164"/>
                </a:lnTo>
                <a:lnTo>
                  <a:pt x="690596" y="35283"/>
                </a:lnTo>
                <a:lnTo>
                  <a:pt x="732715" y="54248"/>
                </a:lnTo>
                <a:lnTo>
                  <a:pt x="772680" y="76848"/>
                </a:lnTo>
                <a:lnTo>
                  <a:pt x="810279" y="102871"/>
                </a:lnTo>
                <a:lnTo>
                  <a:pt x="845302" y="132105"/>
                </a:lnTo>
                <a:lnTo>
                  <a:pt x="877535" y="164340"/>
                </a:lnTo>
                <a:lnTo>
                  <a:pt x="906769" y="199363"/>
                </a:lnTo>
                <a:lnTo>
                  <a:pt x="932791" y="236962"/>
                </a:lnTo>
                <a:lnTo>
                  <a:pt x="955391" y="276927"/>
                </a:lnTo>
                <a:lnTo>
                  <a:pt x="974355" y="319045"/>
                </a:lnTo>
                <a:lnTo>
                  <a:pt x="989474" y="363106"/>
                </a:lnTo>
                <a:lnTo>
                  <a:pt x="1000534" y="408897"/>
                </a:lnTo>
                <a:lnTo>
                  <a:pt x="1007326" y="456207"/>
                </a:lnTo>
                <a:lnTo>
                  <a:pt x="1009637" y="504825"/>
                </a:lnTo>
                <a:close/>
              </a:path>
            </a:pathLst>
          </a:custGeom>
          <a:solidFill>
            <a:schemeClr val="bg1"/>
          </a:solidFill>
          <a:ln w="12700">
            <a:solidFill>
              <a:srgbClr val="0046BA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3B3B3A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84" name="Connettore 1 83">
            <a:extLst>
              <a:ext uri="{FF2B5EF4-FFF2-40B4-BE49-F238E27FC236}">
                <a16:creationId xmlns:a16="http://schemas.microsoft.com/office/drawing/2014/main" id="{7FDC7421-8658-C149-8673-5F90B20EABC4}"/>
              </a:ext>
            </a:extLst>
          </p:cNvPr>
          <p:cNvCxnSpPr>
            <a:cxnSpLocks/>
          </p:cNvCxnSpPr>
          <p:nvPr/>
        </p:nvCxnSpPr>
        <p:spPr>
          <a:xfrm>
            <a:off x="2304477" y="2320372"/>
            <a:ext cx="4516447" cy="0"/>
          </a:xfrm>
          <a:prstGeom prst="line">
            <a:avLst/>
          </a:prstGeom>
          <a:ln w="12700">
            <a:solidFill>
              <a:srgbClr val="0047B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5" name="object 46">
            <a:extLst>
              <a:ext uri="{FF2B5EF4-FFF2-40B4-BE49-F238E27FC236}">
                <a16:creationId xmlns:a16="http://schemas.microsoft.com/office/drawing/2014/main" id="{C893C4E5-7B31-1B49-97B2-ED2F96DA5FA1}"/>
              </a:ext>
            </a:extLst>
          </p:cNvPr>
          <p:cNvSpPr/>
          <p:nvPr/>
        </p:nvSpPr>
        <p:spPr>
          <a:xfrm>
            <a:off x="1532628" y="2841180"/>
            <a:ext cx="771803" cy="771803"/>
          </a:xfrm>
          <a:custGeom>
            <a:avLst/>
            <a:gdLst/>
            <a:ahLst/>
            <a:cxnLst/>
            <a:rect l="l" t="t" r="r" b="b"/>
            <a:pathLst>
              <a:path w="1009650" h="1009650">
                <a:moveTo>
                  <a:pt x="1009637" y="504825"/>
                </a:moveTo>
                <a:lnTo>
                  <a:pt x="1007326" y="553440"/>
                </a:lnTo>
                <a:lnTo>
                  <a:pt x="1000534" y="600748"/>
                </a:lnTo>
                <a:lnTo>
                  <a:pt x="989474" y="646537"/>
                </a:lnTo>
                <a:lnTo>
                  <a:pt x="974355" y="690596"/>
                </a:lnTo>
                <a:lnTo>
                  <a:pt x="955391" y="732714"/>
                </a:lnTo>
                <a:lnTo>
                  <a:pt x="932791" y="772678"/>
                </a:lnTo>
                <a:lnTo>
                  <a:pt x="906769" y="810276"/>
                </a:lnTo>
                <a:lnTo>
                  <a:pt x="877535" y="845298"/>
                </a:lnTo>
                <a:lnTo>
                  <a:pt x="845302" y="877532"/>
                </a:lnTo>
                <a:lnTo>
                  <a:pt x="810279" y="906766"/>
                </a:lnTo>
                <a:lnTo>
                  <a:pt x="772680" y="932789"/>
                </a:lnTo>
                <a:lnTo>
                  <a:pt x="732715" y="955389"/>
                </a:lnTo>
                <a:lnTo>
                  <a:pt x="690596" y="974354"/>
                </a:lnTo>
                <a:lnTo>
                  <a:pt x="646535" y="989473"/>
                </a:lnTo>
                <a:lnTo>
                  <a:pt x="600743" y="1000534"/>
                </a:lnTo>
                <a:lnTo>
                  <a:pt x="553431" y="1007326"/>
                </a:lnTo>
                <a:lnTo>
                  <a:pt x="504812" y="1009637"/>
                </a:lnTo>
                <a:lnTo>
                  <a:pt x="456197" y="1007326"/>
                </a:lnTo>
                <a:lnTo>
                  <a:pt x="408888" y="1000534"/>
                </a:lnTo>
                <a:lnTo>
                  <a:pt x="363099" y="989473"/>
                </a:lnTo>
                <a:lnTo>
                  <a:pt x="319040" y="974354"/>
                </a:lnTo>
                <a:lnTo>
                  <a:pt x="276923" y="955389"/>
                </a:lnTo>
                <a:lnTo>
                  <a:pt x="236959" y="932789"/>
                </a:lnTo>
                <a:lnTo>
                  <a:pt x="199360" y="906766"/>
                </a:lnTo>
                <a:lnTo>
                  <a:pt x="164338" y="877532"/>
                </a:lnTo>
                <a:lnTo>
                  <a:pt x="132104" y="845298"/>
                </a:lnTo>
                <a:lnTo>
                  <a:pt x="102870" y="810276"/>
                </a:lnTo>
                <a:lnTo>
                  <a:pt x="76847" y="772678"/>
                </a:lnTo>
                <a:lnTo>
                  <a:pt x="54248" y="732714"/>
                </a:lnTo>
                <a:lnTo>
                  <a:pt x="35283" y="690596"/>
                </a:lnTo>
                <a:lnTo>
                  <a:pt x="20164" y="646537"/>
                </a:lnTo>
                <a:lnTo>
                  <a:pt x="9102" y="600748"/>
                </a:lnTo>
                <a:lnTo>
                  <a:pt x="2310" y="553440"/>
                </a:lnTo>
                <a:lnTo>
                  <a:pt x="0" y="504825"/>
                </a:lnTo>
                <a:lnTo>
                  <a:pt x="2310" y="456207"/>
                </a:lnTo>
                <a:lnTo>
                  <a:pt x="9102" y="408897"/>
                </a:lnTo>
                <a:lnTo>
                  <a:pt x="20164" y="363106"/>
                </a:lnTo>
                <a:lnTo>
                  <a:pt x="35283" y="319045"/>
                </a:lnTo>
                <a:lnTo>
                  <a:pt x="54248" y="276927"/>
                </a:lnTo>
                <a:lnTo>
                  <a:pt x="76847" y="236962"/>
                </a:lnTo>
                <a:lnTo>
                  <a:pt x="102870" y="199363"/>
                </a:lnTo>
                <a:lnTo>
                  <a:pt x="132104" y="164340"/>
                </a:lnTo>
                <a:lnTo>
                  <a:pt x="164338" y="132105"/>
                </a:lnTo>
                <a:lnTo>
                  <a:pt x="199360" y="102871"/>
                </a:lnTo>
                <a:lnTo>
                  <a:pt x="236959" y="76848"/>
                </a:lnTo>
                <a:lnTo>
                  <a:pt x="276923" y="54248"/>
                </a:lnTo>
                <a:lnTo>
                  <a:pt x="319040" y="35283"/>
                </a:lnTo>
                <a:lnTo>
                  <a:pt x="363099" y="20164"/>
                </a:lnTo>
                <a:lnTo>
                  <a:pt x="408888" y="9102"/>
                </a:lnTo>
                <a:lnTo>
                  <a:pt x="456197" y="2310"/>
                </a:lnTo>
                <a:lnTo>
                  <a:pt x="504812" y="0"/>
                </a:lnTo>
                <a:lnTo>
                  <a:pt x="553431" y="2310"/>
                </a:lnTo>
                <a:lnTo>
                  <a:pt x="600743" y="9102"/>
                </a:lnTo>
                <a:lnTo>
                  <a:pt x="646535" y="20164"/>
                </a:lnTo>
                <a:lnTo>
                  <a:pt x="690596" y="35283"/>
                </a:lnTo>
                <a:lnTo>
                  <a:pt x="732715" y="54248"/>
                </a:lnTo>
                <a:lnTo>
                  <a:pt x="772680" y="76848"/>
                </a:lnTo>
                <a:lnTo>
                  <a:pt x="810279" y="102871"/>
                </a:lnTo>
                <a:lnTo>
                  <a:pt x="845302" y="132105"/>
                </a:lnTo>
                <a:lnTo>
                  <a:pt x="877535" y="164340"/>
                </a:lnTo>
                <a:lnTo>
                  <a:pt x="906769" y="199363"/>
                </a:lnTo>
                <a:lnTo>
                  <a:pt x="932791" y="236962"/>
                </a:lnTo>
                <a:lnTo>
                  <a:pt x="955391" y="276927"/>
                </a:lnTo>
                <a:lnTo>
                  <a:pt x="974355" y="319045"/>
                </a:lnTo>
                <a:lnTo>
                  <a:pt x="989474" y="363106"/>
                </a:lnTo>
                <a:lnTo>
                  <a:pt x="1000534" y="408897"/>
                </a:lnTo>
                <a:lnTo>
                  <a:pt x="1007326" y="456207"/>
                </a:lnTo>
                <a:lnTo>
                  <a:pt x="1009637" y="504825"/>
                </a:lnTo>
                <a:close/>
              </a:path>
            </a:pathLst>
          </a:custGeom>
          <a:solidFill>
            <a:schemeClr val="bg1"/>
          </a:solidFill>
          <a:ln w="12700">
            <a:solidFill>
              <a:srgbClr val="0046BA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3B3B3A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6" name="object 46">
            <a:extLst>
              <a:ext uri="{FF2B5EF4-FFF2-40B4-BE49-F238E27FC236}">
                <a16:creationId xmlns:a16="http://schemas.microsoft.com/office/drawing/2014/main" id="{3F49E9FA-A88B-D446-A9C7-C5F0CC30B64A}"/>
              </a:ext>
            </a:extLst>
          </p:cNvPr>
          <p:cNvSpPr/>
          <p:nvPr/>
        </p:nvSpPr>
        <p:spPr>
          <a:xfrm>
            <a:off x="1532628" y="3741572"/>
            <a:ext cx="771803" cy="771803"/>
          </a:xfrm>
          <a:custGeom>
            <a:avLst/>
            <a:gdLst/>
            <a:ahLst/>
            <a:cxnLst/>
            <a:rect l="l" t="t" r="r" b="b"/>
            <a:pathLst>
              <a:path w="1009650" h="1009650">
                <a:moveTo>
                  <a:pt x="1009637" y="504825"/>
                </a:moveTo>
                <a:lnTo>
                  <a:pt x="1007326" y="553440"/>
                </a:lnTo>
                <a:lnTo>
                  <a:pt x="1000534" y="600748"/>
                </a:lnTo>
                <a:lnTo>
                  <a:pt x="989474" y="646537"/>
                </a:lnTo>
                <a:lnTo>
                  <a:pt x="974355" y="690596"/>
                </a:lnTo>
                <a:lnTo>
                  <a:pt x="955391" y="732714"/>
                </a:lnTo>
                <a:lnTo>
                  <a:pt x="932791" y="772678"/>
                </a:lnTo>
                <a:lnTo>
                  <a:pt x="906769" y="810276"/>
                </a:lnTo>
                <a:lnTo>
                  <a:pt x="877535" y="845298"/>
                </a:lnTo>
                <a:lnTo>
                  <a:pt x="845302" y="877532"/>
                </a:lnTo>
                <a:lnTo>
                  <a:pt x="810279" y="906766"/>
                </a:lnTo>
                <a:lnTo>
                  <a:pt x="772680" y="932789"/>
                </a:lnTo>
                <a:lnTo>
                  <a:pt x="732715" y="955389"/>
                </a:lnTo>
                <a:lnTo>
                  <a:pt x="690596" y="974354"/>
                </a:lnTo>
                <a:lnTo>
                  <a:pt x="646535" y="989473"/>
                </a:lnTo>
                <a:lnTo>
                  <a:pt x="600743" y="1000534"/>
                </a:lnTo>
                <a:lnTo>
                  <a:pt x="553431" y="1007326"/>
                </a:lnTo>
                <a:lnTo>
                  <a:pt x="504812" y="1009637"/>
                </a:lnTo>
                <a:lnTo>
                  <a:pt x="456197" y="1007326"/>
                </a:lnTo>
                <a:lnTo>
                  <a:pt x="408888" y="1000534"/>
                </a:lnTo>
                <a:lnTo>
                  <a:pt x="363099" y="989473"/>
                </a:lnTo>
                <a:lnTo>
                  <a:pt x="319040" y="974354"/>
                </a:lnTo>
                <a:lnTo>
                  <a:pt x="276923" y="955389"/>
                </a:lnTo>
                <a:lnTo>
                  <a:pt x="236959" y="932789"/>
                </a:lnTo>
                <a:lnTo>
                  <a:pt x="199360" y="906766"/>
                </a:lnTo>
                <a:lnTo>
                  <a:pt x="164338" y="877532"/>
                </a:lnTo>
                <a:lnTo>
                  <a:pt x="132104" y="845298"/>
                </a:lnTo>
                <a:lnTo>
                  <a:pt x="102870" y="810276"/>
                </a:lnTo>
                <a:lnTo>
                  <a:pt x="76847" y="772678"/>
                </a:lnTo>
                <a:lnTo>
                  <a:pt x="54248" y="732714"/>
                </a:lnTo>
                <a:lnTo>
                  <a:pt x="35283" y="690596"/>
                </a:lnTo>
                <a:lnTo>
                  <a:pt x="20164" y="646537"/>
                </a:lnTo>
                <a:lnTo>
                  <a:pt x="9102" y="600748"/>
                </a:lnTo>
                <a:lnTo>
                  <a:pt x="2310" y="553440"/>
                </a:lnTo>
                <a:lnTo>
                  <a:pt x="0" y="504825"/>
                </a:lnTo>
                <a:lnTo>
                  <a:pt x="2310" y="456207"/>
                </a:lnTo>
                <a:lnTo>
                  <a:pt x="9102" y="408897"/>
                </a:lnTo>
                <a:lnTo>
                  <a:pt x="20164" y="363106"/>
                </a:lnTo>
                <a:lnTo>
                  <a:pt x="35283" y="319045"/>
                </a:lnTo>
                <a:lnTo>
                  <a:pt x="54248" y="276927"/>
                </a:lnTo>
                <a:lnTo>
                  <a:pt x="76847" y="236962"/>
                </a:lnTo>
                <a:lnTo>
                  <a:pt x="102870" y="199363"/>
                </a:lnTo>
                <a:lnTo>
                  <a:pt x="132104" y="164340"/>
                </a:lnTo>
                <a:lnTo>
                  <a:pt x="164338" y="132105"/>
                </a:lnTo>
                <a:lnTo>
                  <a:pt x="199360" y="102871"/>
                </a:lnTo>
                <a:lnTo>
                  <a:pt x="236959" y="76848"/>
                </a:lnTo>
                <a:lnTo>
                  <a:pt x="276923" y="54248"/>
                </a:lnTo>
                <a:lnTo>
                  <a:pt x="319040" y="35283"/>
                </a:lnTo>
                <a:lnTo>
                  <a:pt x="363099" y="20164"/>
                </a:lnTo>
                <a:lnTo>
                  <a:pt x="408888" y="9102"/>
                </a:lnTo>
                <a:lnTo>
                  <a:pt x="456197" y="2310"/>
                </a:lnTo>
                <a:lnTo>
                  <a:pt x="504812" y="0"/>
                </a:lnTo>
                <a:lnTo>
                  <a:pt x="553431" y="2310"/>
                </a:lnTo>
                <a:lnTo>
                  <a:pt x="600743" y="9102"/>
                </a:lnTo>
                <a:lnTo>
                  <a:pt x="646535" y="20164"/>
                </a:lnTo>
                <a:lnTo>
                  <a:pt x="690596" y="35283"/>
                </a:lnTo>
                <a:lnTo>
                  <a:pt x="732715" y="54248"/>
                </a:lnTo>
                <a:lnTo>
                  <a:pt x="772680" y="76848"/>
                </a:lnTo>
                <a:lnTo>
                  <a:pt x="810279" y="102871"/>
                </a:lnTo>
                <a:lnTo>
                  <a:pt x="845302" y="132105"/>
                </a:lnTo>
                <a:lnTo>
                  <a:pt x="877535" y="164340"/>
                </a:lnTo>
                <a:lnTo>
                  <a:pt x="906769" y="199363"/>
                </a:lnTo>
                <a:lnTo>
                  <a:pt x="932791" y="236962"/>
                </a:lnTo>
                <a:lnTo>
                  <a:pt x="955391" y="276927"/>
                </a:lnTo>
                <a:lnTo>
                  <a:pt x="974355" y="319045"/>
                </a:lnTo>
                <a:lnTo>
                  <a:pt x="989474" y="363106"/>
                </a:lnTo>
                <a:lnTo>
                  <a:pt x="1000534" y="408897"/>
                </a:lnTo>
                <a:lnTo>
                  <a:pt x="1007326" y="456207"/>
                </a:lnTo>
                <a:lnTo>
                  <a:pt x="1009637" y="504825"/>
                </a:lnTo>
                <a:close/>
              </a:path>
            </a:pathLst>
          </a:custGeom>
          <a:solidFill>
            <a:schemeClr val="bg1"/>
          </a:solidFill>
          <a:ln w="12700">
            <a:solidFill>
              <a:srgbClr val="0046BA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3B3B3A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7" name="object 46">
            <a:extLst>
              <a:ext uri="{FF2B5EF4-FFF2-40B4-BE49-F238E27FC236}">
                <a16:creationId xmlns:a16="http://schemas.microsoft.com/office/drawing/2014/main" id="{CE6BAD99-D194-F948-9748-68E2DBB385A0}"/>
              </a:ext>
            </a:extLst>
          </p:cNvPr>
          <p:cNvSpPr/>
          <p:nvPr/>
        </p:nvSpPr>
        <p:spPr>
          <a:xfrm>
            <a:off x="1532628" y="4646627"/>
            <a:ext cx="771803" cy="771803"/>
          </a:xfrm>
          <a:custGeom>
            <a:avLst/>
            <a:gdLst/>
            <a:ahLst/>
            <a:cxnLst/>
            <a:rect l="l" t="t" r="r" b="b"/>
            <a:pathLst>
              <a:path w="1009650" h="1009650">
                <a:moveTo>
                  <a:pt x="1009637" y="504825"/>
                </a:moveTo>
                <a:lnTo>
                  <a:pt x="1007326" y="553440"/>
                </a:lnTo>
                <a:lnTo>
                  <a:pt x="1000534" y="600748"/>
                </a:lnTo>
                <a:lnTo>
                  <a:pt x="989474" y="646537"/>
                </a:lnTo>
                <a:lnTo>
                  <a:pt x="974355" y="690596"/>
                </a:lnTo>
                <a:lnTo>
                  <a:pt x="955391" y="732714"/>
                </a:lnTo>
                <a:lnTo>
                  <a:pt x="932791" y="772678"/>
                </a:lnTo>
                <a:lnTo>
                  <a:pt x="906769" y="810276"/>
                </a:lnTo>
                <a:lnTo>
                  <a:pt x="877535" y="845298"/>
                </a:lnTo>
                <a:lnTo>
                  <a:pt x="845302" y="877532"/>
                </a:lnTo>
                <a:lnTo>
                  <a:pt x="810279" y="906766"/>
                </a:lnTo>
                <a:lnTo>
                  <a:pt x="772680" y="932789"/>
                </a:lnTo>
                <a:lnTo>
                  <a:pt x="732715" y="955389"/>
                </a:lnTo>
                <a:lnTo>
                  <a:pt x="690596" y="974354"/>
                </a:lnTo>
                <a:lnTo>
                  <a:pt x="646535" y="989473"/>
                </a:lnTo>
                <a:lnTo>
                  <a:pt x="600743" y="1000534"/>
                </a:lnTo>
                <a:lnTo>
                  <a:pt x="553431" y="1007326"/>
                </a:lnTo>
                <a:lnTo>
                  <a:pt x="504812" y="1009637"/>
                </a:lnTo>
                <a:lnTo>
                  <a:pt x="456197" y="1007326"/>
                </a:lnTo>
                <a:lnTo>
                  <a:pt x="408888" y="1000534"/>
                </a:lnTo>
                <a:lnTo>
                  <a:pt x="363099" y="989473"/>
                </a:lnTo>
                <a:lnTo>
                  <a:pt x="319040" y="974354"/>
                </a:lnTo>
                <a:lnTo>
                  <a:pt x="276923" y="955389"/>
                </a:lnTo>
                <a:lnTo>
                  <a:pt x="236959" y="932789"/>
                </a:lnTo>
                <a:lnTo>
                  <a:pt x="199360" y="906766"/>
                </a:lnTo>
                <a:lnTo>
                  <a:pt x="164338" y="877532"/>
                </a:lnTo>
                <a:lnTo>
                  <a:pt x="132104" y="845298"/>
                </a:lnTo>
                <a:lnTo>
                  <a:pt x="102870" y="810276"/>
                </a:lnTo>
                <a:lnTo>
                  <a:pt x="76847" y="772678"/>
                </a:lnTo>
                <a:lnTo>
                  <a:pt x="54248" y="732714"/>
                </a:lnTo>
                <a:lnTo>
                  <a:pt x="35283" y="690596"/>
                </a:lnTo>
                <a:lnTo>
                  <a:pt x="20164" y="646537"/>
                </a:lnTo>
                <a:lnTo>
                  <a:pt x="9102" y="600748"/>
                </a:lnTo>
                <a:lnTo>
                  <a:pt x="2310" y="553440"/>
                </a:lnTo>
                <a:lnTo>
                  <a:pt x="0" y="504825"/>
                </a:lnTo>
                <a:lnTo>
                  <a:pt x="2310" y="456207"/>
                </a:lnTo>
                <a:lnTo>
                  <a:pt x="9102" y="408897"/>
                </a:lnTo>
                <a:lnTo>
                  <a:pt x="20164" y="363106"/>
                </a:lnTo>
                <a:lnTo>
                  <a:pt x="35283" y="319045"/>
                </a:lnTo>
                <a:lnTo>
                  <a:pt x="54248" y="276927"/>
                </a:lnTo>
                <a:lnTo>
                  <a:pt x="76847" y="236962"/>
                </a:lnTo>
                <a:lnTo>
                  <a:pt x="102870" y="199363"/>
                </a:lnTo>
                <a:lnTo>
                  <a:pt x="132104" y="164340"/>
                </a:lnTo>
                <a:lnTo>
                  <a:pt x="164338" y="132105"/>
                </a:lnTo>
                <a:lnTo>
                  <a:pt x="199360" y="102871"/>
                </a:lnTo>
                <a:lnTo>
                  <a:pt x="236959" y="76848"/>
                </a:lnTo>
                <a:lnTo>
                  <a:pt x="276923" y="54248"/>
                </a:lnTo>
                <a:lnTo>
                  <a:pt x="319040" y="35283"/>
                </a:lnTo>
                <a:lnTo>
                  <a:pt x="363099" y="20164"/>
                </a:lnTo>
                <a:lnTo>
                  <a:pt x="408888" y="9102"/>
                </a:lnTo>
                <a:lnTo>
                  <a:pt x="456197" y="2310"/>
                </a:lnTo>
                <a:lnTo>
                  <a:pt x="504812" y="0"/>
                </a:lnTo>
                <a:lnTo>
                  <a:pt x="553431" y="2310"/>
                </a:lnTo>
                <a:lnTo>
                  <a:pt x="600743" y="9102"/>
                </a:lnTo>
                <a:lnTo>
                  <a:pt x="646535" y="20164"/>
                </a:lnTo>
                <a:lnTo>
                  <a:pt x="690596" y="35283"/>
                </a:lnTo>
                <a:lnTo>
                  <a:pt x="732715" y="54248"/>
                </a:lnTo>
                <a:lnTo>
                  <a:pt x="772680" y="76848"/>
                </a:lnTo>
                <a:lnTo>
                  <a:pt x="810279" y="102871"/>
                </a:lnTo>
                <a:lnTo>
                  <a:pt x="845302" y="132105"/>
                </a:lnTo>
                <a:lnTo>
                  <a:pt x="877535" y="164340"/>
                </a:lnTo>
                <a:lnTo>
                  <a:pt x="906769" y="199363"/>
                </a:lnTo>
                <a:lnTo>
                  <a:pt x="932791" y="236962"/>
                </a:lnTo>
                <a:lnTo>
                  <a:pt x="955391" y="276927"/>
                </a:lnTo>
                <a:lnTo>
                  <a:pt x="974355" y="319045"/>
                </a:lnTo>
                <a:lnTo>
                  <a:pt x="989474" y="363106"/>
                </a:lnTo>
                <a:lnTo>
                  <a:pt x="1000534" y="408897"/>
                </a:lnTo>
                <a:lnTo>
                  <a:pt x="1007326" y="456207"/>
                </a:lnTo>
                <a:lnTo>
                  <a:pt x="1009637" y="504825"/>
                </a:lnTo>
                <a:close/>
              </a:path>
            </a:pathLst>
          </a:custGeom>
          <a:solidFill>
            <a:schemeClr val="bg1"/>
          </a:solidFill>
          <a:ln w="12700">
            <a:solidFill>
              <a:srgbClr val="0046BA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3B3B3A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88" name="Connettore 1 87">
            <a:extLst>
              <a:ext uri="{FF2B5EF4-FFF2-40B4-BE49-F238E27FC236}">
                <a16:creationId xmlns:a16="http://schemas.microsoft.com/office/drawing/2014/main" id="{1AFBB2D4-92B3-5045-AFEE-6710A6758E0F}"/>
              </a:ext>
            </a:extLst>
          </p:cNvPr>
          <p:cNvCxnSpPr>
            <a:cxnSpLocks/>
          </p:cNvCxnSpPr>
          <p:nvPr/>
        </p:nvCxnSpPr>
        <p:spPr>
          <a:xfrm>
            <a:off x="2304476" y="3234772"/>
            <a:ext cx="4516448" cy="0"/>
          </a:xfrm>
          <a:prstGeom prst="line">
            <a:avLst/>
          </a:prstGeom>
          <a:ln w="12700">
            <a:solidFill>
              <a:srgbClr val="0047B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Connettore 1 88">
            <a:extLst>
              <a:ext uri="{FF2B5EF4-FFF2-40B4-BE49-F238E27FC236}">
                <a16:creationId xmlns:a16="http://schemas.microsoft.com/office/drawing/2014/main" id="{A4C5B1E3-9C2E-CF40-8D4B-EF68C7CDB83E}"/>
              </a:ext>
            </a:extLst>
          </p:cNvPr>
          <p:cNvCxnSpPr>
            <a:cxnSpLocks/>
          </p:cNvCxnSpPr>
          <p:nvPr/>
        </p:nvCxnSpPr>
        <p:spPr>
          <a:xfrm>
            <a:off x="2304476" y="4149172"/>
            <a:ext cx="4516448" cy="0"/>
          </a:xfrm>
          <a:prstGeom prst="line">
            <a:avLst/>
          </a:prstGeom>
          <a:ln w="12700">
            <a:solidFill>
              <a:srgbClr val="0047B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" name="Connettore 1 89">
            <a:extLst>
              <a:ext uri="{FF2B5EF4-FFF2-40B4-BE49-F238E27FC236}">
                <a16:creationId xmlns:a16="http://schemas.microsoft.com/office/drawing/2014/main" id="{112AAB5D-849E-1A4B-8E9D-6735E7968F76}"/>
              </a:ext>
            </a:extLst>
          </p:cNvPr>
          <p:cNvCxnSpPr>
            <a:cxnSpLocks/>
          </p:cNvCxnSpPr>
          <p:nvPr/>
        </p:nvCxnSpPr>
        <p:spPr>
          <a:xfrm>
            <a:off x="2304477" y="5031299"/>
            <a:ext cx="4516447" cy="0"/>
          </a:xfrm>
          <a:prstGeom prst="line">
            <a:avLst/>
          </a:prstGeom>
          <a:ln w="12700">
            <a:solidFill>
              <a:srgbClr val="0047B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1" name="Segnaposto titolo 1">
            <a:extLst>
              <a:ext uri="{FF2B5EF4-FFF2-40B4-BE49-F238E27FC236}">
                <a16:creationId xmlns:a16="http://schemas.microsoft.com/office/drawing/2014/main" id="{E4151C40-6CC7-1F48-A5D2-0456B2FD9F0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7394" y="504194"/>
            <a:ext cx="10515600" cy="725421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it-IT"/>
              <a:t>Fare clic per modificare lo stile del titolo dello schema</a:t>
            </a:r>
            <a:endParaRPr lang="it-IT" dirty="0"/>
          </a:p>
        </p:txBody>
      </p:sp>
      <p:sp>
        <p:nvSpPr>
          <p:cNvPr id="48" name="Segnaposto immagine 2">
            <a:extLst>
              <a:ext uri="{FF2B5EF4-FFF2-40B4-BE49-F238E27FC236}">
                <a16:creationId xmlns:a16="http://schemas.microsoft.com/office/drawing/2014/main" id="{AA40C6E5-F36F-BA44-ACC0-AA495996A0B2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7439025" y="1506538"/>
            <a:ext cx="4318000" cy="42799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it-IT" dirty="0"/>
              <a:t>Illustrazione, immagine</a:t>
            </a:r>
          </a:p>
        </p:txBody>
      </p:sp>
      <p:sp>
        <p:nvSpPr>
          <p:cNvPr id="2" name="CasellaDiTesto 1">
            <a:extLst>
              <a:ext uri="{FF2B5EF4-FFF2-40B4-BE49-F238E27FC236}">
                <a16:creationId xmlns:a16="http://schemas.microsoft.com/office/drawing/2014/main" id="{83ABB6BF-BF90-06B0-3CCF-749E7814D3E0}"/>
              </a:ext>
            </a:extLst>
          </p:cNvPr>
          <p:cNvSpPr txBox="1"/>
          <p:nvPr userDrawn="1"/>
        </p:nvSpPr>
        <p:spPr>
          <a:xfrm>
            <a:off x="3916392" y="6623540"/>
            <a:ext cx="739499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it-IT" sz="800" i="1" dirty="0"/>
              <a:t>Documento ad uso esclusivamente interno, da intendersi come strettamente riservato; non è autorizzata la trasmissione ad altri e la divulgazione all’esterno.</a:t>
            </a:r>
            <a:endParaRPr lang="en-US" sz="800" i="1" dirty="0"/>
          </a:p>
        </p:txBody>
      </p:sp>
    </p:spTree>
    <p:extLst>
      <p:ext uri="{BB962C8B-B14F-4D97-AF65-F5344CB8AC3E}">
        <p14:creationId xmlns:p14="http://schemas.microsoft.com/office/powerpoint/2010/main" val="1179313131"/>
      </p:ext>
    </p:extLst>
  </p:cSld>
  <p:clrMapOvr>
    <a:masterClrMapping/>
  </p:clrMapOvr>
  <p:hf hdr="0" ftr="0" dt="0"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Pagina 2 box DX + 1 box SX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Segnaposto testo 4">
            <a:extLst>
              <a:ext uri="{FF2B5EF4-FFF2-40B4-BE49-F238E27FC236}">
                <a16:creationId xmlns:a16="http://schemas.microsoft.com/office/drawing/2014/main" id="{597E06C8-CAFB-E24B-A154-8EA093E0C54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49834" y="5917932"/>
            <a:ext cx="9402763" cy="573088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900" b="0" i="0">
                <a:latin typeface="Avenir Next LT Pro" panose="020B0504020202020204" pitchFamily="34" charset="77"/>
              </a:defRPr>
            </a:lvl1pPr>
            <a:lvl2pPr marL="457200" indent="0">
              <a:buNone/>
              <a:defRPr sz="900" b="0" i="0">
                <a:latin typeface="Avenir Next LT Pro" panose="020B0504020202020204" pitchFamily="34" charset="77"/>
              </a:defRPr>
            </a:lvl2pPr>
            <a:lvl3pPr marL="914400" indent="0">
              <a:buNone/>
              <a:defRPr sz="900" b="0" i="0">
                <a:latin typeface="Avenir Next LT Pro" panose="020B0504020202020204" pitchFamily="34" charset="77"/>
              </a:defRPr>
            </a:lvl3pPr>
            <a:lvl4pPr marL="1371600" indent="0">
              <a:buNone/>
              <a:defRPr sz="900" b="0" i="0">
                <a:latin typeface="Avenir Next LT Pro" panose="020B0504020202020204" pitchFamily="34" charset="77"/>
              </a:defRPr>
            </a:lvl4pPr>
            <a:lvl5pPr marL="1828800" indent="0">
              <a:buNone/>
              <a:defRPr sz="900" b="0" i="0">
                <a:latin typeface="Avenir Next LT Pro" panose="020B0504020202020204" pitchFamily="34" charset="77"/>
              </a:defRPr>
            </a:lvl5pPr>
          </a:lstStyle>
          <a:p>
            <a:pPr lvl="0"/>
            <a:r>
              <a:rPr lang="it-IT" dirty="0"/>
              <a:t>1. Fare clic per modificare le note 2. Fare clic per modificare le note 3. Fare clic per modificare le note </a:t>
            </a:r>
          </a:p>
        </p:txBody>
      </p:sp>
      <p:sp>
        <p:nvSpPr>
          <p:cNvPr id="4" name="Segnaposto contenuto 3">
            <a:extLst>
              <a:ext uri="{FF2B5EF4-FFF2-40B4-BE49-F238E27FC236}">
                <a16:creationId xmlns:a16="http://schemas.microsoft.com/office/drawing/2014/main" id="{B72FE258-5D20-BA45-BACF-20ED1C313B4C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515938" y="2355296"/>
            <a:ext cx="5580062" cy="1579646"/>
          </a:xfrm>
          <a:prstGeom prst="rect">
            <a:avLst/>
          </a:prstGeom>
        </p:spPr>
        <p:txBody>
          <a:bodyPr lIns="144000" tIns="144000" rIns="144000" bIns="144000"/>
          <a:lstStyle>
            <a:lvl1pPr marL="228600" indent="-228600">
              <a:buClr>
                <a:schemeClr val="accent2"/>
              </a:buClr>
              <a:buFont typeface="Font di sistema regolare"/>
              <a:buChar char="●"/>
              <a:defRPr sz="1400">
                <a:solidFill>
                  <a:schemeClr val="tx1"/>
                </a:solidFill>
              </a:defRPr>
            </a:lvl1pPr>
            <a:lvl2pPr marL="685800" indent="-228600">
              <a:buClr>
                <a:schemeClr val="accent2"/>
              </a:buClr>
              <a:buFont typeface="Font di sistema regolare"/>
              <a:buChar char="●"/>
              <a:defRPr sz="1400">
                <a:solidFill>
                  <a:schemeClr val="tx1"/>
                </a:solidFill>
              </a:defRPr>
            </a:lvl2pPr>
            <a:lvl3pPr marL="1143000" indent="-228600">
              <a:buClr>
                <a:schemeClr val="accent2"/>
              </a:buClr>
              <a:buFont typeface="Font di sistema regolare"/>
              <a:buChar char="●"/>
              <a:defRPr sz="1400">
                <a:solidFill>
                  <a:schemeClr val="tx1"/>
                </a:solidFill>
              </a:defRPr>
            </a:lvl3pPr>
            <a:lvl4pPr marL="1600200" indent="-228600">
              <a:buClr>
                <a:schemeClr val="accent2"/>
              </a:buClr>
              <a:buFont typeface="Font di sistema regolare"/>
              <a:buChar char="●"/>
              <a:defRPr sz="1400">
                <a:solidFill>
                  <a:schemeClr val="tx1"/>
                </a:solidFill>
              </a:defRPr>
            </a:lvl4pPr>
            <a:lvl5pPr marL="2057400" indent="-228600">
              <a:buClr>
                <a:schemeClr val="accent2"/>
              </a:buClr>
              <a:buFont typeface="Font di sistema regolare"/>
              <a:buChar char="●"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it-IT" dirty="0"/>
          </a:p>
        </p:txBody>
      </p:sp>
      <p:sp>
        <p:nvSpPr>
          <p:cNvPr id="44" name="Segnaposto contenuto 3">
            <a:extLst>
              <a:ext uri="{FF2B5EF4-FFF2-40B4-BE49-F238E27FC236}">
                <a16:creationId xmlns:a16="http://schemas.microsoft.com/office/drawing/2014/main" id="{9A0953E8-917B-BA41-B29F-B2B74E2C1947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33448" y="5074391"/>
            <a:ext cx="5580062" cy="1105242"/>
          </a:xfrm>
          <a:prstGeom prst="rect">
            <a:avLst/>
          </a:prstGeom>
        </p:spPr>
        <p:txBody>
          <a:bodyPr lIns="144000" tIns="144000" rIns="144000" bIns="144000"/>
          <a:lstStyle>
            <a:lvl1pPr marL="228600" indent="-228600">
              <a:buClr>
                <a:schemeClr val="accent2"/>
              </a:buClr>
              <a:buFont typeface="Font di sistema regolare"/>
              <a:buChar char="●"/>
              <a:defRPr sz="1400">
                <a:solidFill>
                  <a:schemeClr val="tx1"/>
                </a:solidFill>
              </a:defRPr>
            </a:lvl1pPr>
            <a:lvl2pPr marL="685800" indent="-228600">
              <a:buClr>
                <a:schemeClr val="accent2"/>
              </a:buClr>
              <a:buFont typeface="Font di sistema regolare"/>
              <a:buChar char="●"/>
              <a:defRPr sz="1400">
                <a:solidFill>
                  <a:schemeClr val="tx1"/>
                </a:solidFill>
              </a:defRPr>
            </a:lvl2pPr>
            <a:lvl3pPr marL="1143000" indent="-228600">
              <a:buClr>
                <a:schemeClr val="accent2"/>
              </a:buClr>
              <a:buFont typeface="Font di sistema regolare"/>
              <a:buChar char="●"/>
              <a:defRPr sz="1400">
                <a:solidFill>
                  <a:schemeClr val="tx1"/>
                </a:solidFill>
              </a:defRPr>
            </a:lvl3pPr>
            <a:lvl4pPr marL="1600200" indent="-228600">
              <a:buClr>
                <a:schemeClr val="accent2"/>
              </a:buClr>
              <a:buFont typeface="Font di sistema regolare"/>
              <a:buChar char="●"/>
              <a:defRPr sz="1400">
                <a:solidFill>
                  <a:schemeClr val="tx1"/>
                </a:solidFill>
              </a:defRPr>
            </a:lvl4pPr>
            <a:lvl5pPr marL="2057400" indent="-228600">
              <a:buClr>
                <a:schemeClr val="accent2"/>
              </a:buClr>
              <a:buFont typeface="Font di sistema regolare"/>
              <a:buChar char="●"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</p:txBody>
      </p:sp>
      <p:sp>
        <p:nvSpPr>
          <p:cNvPr id="45" name="Segnaposto contenuto 3">
            <a:extLst>
              <a:ext uri="{FF2B5EF4-FFF2-40B4-BE49-F238E27FC236}">
                <a16:creationId xmlns:a16="http://schemas.microsoft.com/office/drawing/2014/main" id="{CF20747C-3A1B-0D4C-AA1C-8CF6BC2174F0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6445045" y="1251483"/>
            <a:ext cx="5177042" cy="4928150"/>
          </a:xfrm>
          <a:prstGeom prst="rect">
            <a:avLst/>
          </a:prstGeom>
        </p:spPr>
        <p:txBody>
          <a:bodyPr lIns="144000" tIns="144000" rIns="144000" bIns="144000"/>
          <a:lstStyle>
            <a:lvl1pPr marL="228600" indent="-228600">
              <a:buClr>
                <a:schemeClr val="accent2"/>
              </a:buClr>
              <a:buFont typeface="Font di sistema regolare"/>
              <a:buChar char="●"/>
              <a:defRPr sz="1400">
                <a:solidFill>
                  <a:schemeClr val="tx1"/>
                </a:solidFill>
              </a:defRPr>
            </a:lvl1pPr>
            <a:lvl2pPr marL="685800" indent="-228600">
              <a:buClr>
                <a:schemeClr val="accent2"/>
              </a:buClr>
              <a:buFont typeface="Font di sistema regolare"/>
              <a:buChar char="●"/>
              <a:defRPr sz="1400">
                <a:solidFill>
                  <a:schemeClr val="tx1"/>
                </a:solidFill>
              </a:defRPr>
            </a:lvl2pPr>
            <a:lvl3pPr marL="1143000" indent="-228600">
              <a:buClr>
                <a:schemeClr val="accent2"/>
              </a:buClr>
              <a:buFont typeface="Font di sistema regolare"/>
              <a:buChar char="●"/>
              <a:defRPr sz="1400">
                <a:solidFill>
                  <a:schemeClr val="tx1"/>
                </a:solidFill>
              </a:defRPr>
            </a:lvl3pPr>
            <a:lvl4pPr marL="1600200" indent="-228600">
              <a:buClr>
                <a:schemeClr val="accent2"/>
              </a:buClr>
              <a:buFont typeface="Font di sistema regolare"/>
              <a:buChar char="●"/>
              <a:defRPr sz="1400">
                <a:solidFill>
                  <a:schemeClr val="tx1"/>
                </a:solidFill>
              </a:defRPr>
            </a:lvl4pPr>
            <a:lvl5pPr marL="2057400" indent="-228600">
              <a:buClr>
                <a:schemeClr val="accent2"/>
              </a:buClr>
              <a:buFont typeface="Font di sistema regolare"/>
              <a:buChar char="●"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it-IT" dirty="0"/>
          </a:p>
        </p:txBody>
      </p:sp>
      <p:sp>
        <p:nvSpPr>
          <p:cNvPr id="51" name="Segnaposto testo 46">
            <a:extLst>
              <a:ext uri="{FF2B5EF4-FFF2-40B4-BE49-F238E27FC236}">
                <a16:creationId xmlns:a16="http://schemas.microsoft.com/office/drawing/2014/main" id="{89CCFDCF-E1D4-4624-850B-95B324DCBB1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457282" y="1158675"/>
            <a:ext cx="4140000" cy="746498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 b="0" i="0">
                <a:solidFill>
                  <a:srgbClr val="0047BB"/>
                </a:solidFill>
                <a:latin typeface="Avenir Next LT Pro" panose="020B0504020202020204" pitchFamily="34" charset="77"/>
              </a:defRPr>
            </a:lvl1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56" name="Segnaposto testo 46">
            <a:extLst>
              <a:ext uri="{FF2B5EF4-FFF2-40B4-BE49-F238E27FC236}">
                <a16:creationId xmlns:a16="http://schemas.microsoft.com/office/drawing/2014/main" id="{9F48E5E8-A0EF-4A33-8758-F3AE698D405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452395" y="3805054"/>
            <a:ext cx="4140000" cy="746498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 b="0" i="0">
                <a:solidFill>
                  <a:srgbClr val="0047BB"/>
                </a:solidFill>
                <a:latin typeface="Avenir Next LT Pro" panose="020B0504020202020204" pitchFamily="34" charset="77"/>
              </a:defRPr>
            </a:lvl1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39" name="bg object 16">
            <a:extLst>
              <a:ext uri="{FF2B5EF4-FFF2-40B4-BE49-F238E27FC236}">
                <a16:creationId xmlns:a16="http://schemas.microsoft.com/office/drawing/2014/main" id="{4AABB290-E287-AF4D-969B-AB0215E97E2F}"/>
              </a:ext>
            </a:extLst>
          </p:cNvPr>
          <p:cNvSpPr/>
          <p:nvPr/>
        </p:nvSpPr>
        <p:spPr>
          <a:xfrm>
            <a:off x="11330381" y="6448615"/>
            <a:ext cx="311785" cy="410845"/>
          </a:xfrm>
          <a:custGeom>
            <a:avLst/>
            <a:gdLst/>
            <a:ahLst/>
            <a:cxnLst/>
            <a:rect l="l" t="t" r="r" b="b"/>
            <a:pathLst>
              <a:path w="311784" h="410845">
                <a:moveTo>
                  <a:pt x="311645" y="0"/>
                </a:moveTo>
                <a:lnTo>
                  <a:pt x="0" y="0"/>
                </a:lnTo>
                <a:lnTo>
                  <a:pt x="0" y="410438"/>
                </a:lnTo>
                <a:lnTo>
                  <a:pt x="311645" y="410438"/>
                </a:lnTo>
                <a:lnTo>
                  <a:pt x="311645" y="0"/>
                </a:lnTo>
                <a:close/>
              </a:path>
            </a:pathLst>
          </a:custGeom>
          <a:solidFill>
            <a:srgbClr val="0047B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1" name="Holder 7">
            <a:extLst>
              <a:ext uri="{FF2B5EF4-FFF2-40B4-BE49-F238E27FC236}">
                <a16:creationId xmlns:a16="http://schemas.microsoft.com/office/drawing/2014/main" id="{E867D971-18BA-304C-8F6B-119956F49CB4}"/>
              </a:ext>
            </a:extLst>
          </p:cNvPr>
          <p:cNvSpPr txBox="1">
            <a:spLocks/>
          </p:cNvSpPr>
          <p:nvPr/>
        </p:nvSpPr>
        <p:spPr>
          <a:xfrm>
            <a:off x="11342726" y="6520516"/>
            <a:ext cx="256044" cy="16158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it-IT"/>
            </a:defPPr>
            <a:lvl1pPr marL="0" algn="l" defTabSz="914400" rtl="0" eaLnBrk="1" latinLnBrk="0" hangingPunct="1">
              <a:defRPr sz="850" b="1" i="0" kern="1200">
                <a:solidFill>
                  <a:schemeClr val="bg1"/>
                </a:solidFill>
                <a:latin typeface="Verdana"/>
                <a:ea typeface="+mn-ea"/>
                <a:cs typeface="Verdana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8100" algn="ctr">
              <a:spcBef>
                <a:spcPts val="105"/>
              </a:spcBef>
            </a:pPr>
            <a:fld id="{81D60167-4931-47E6-BA6A-407CBD079E47}" type="slidenum">
              <a:rPr lang="it-IT" sz="1050" b="0" i="0" spc="5" smtClean="0">
                <a:latin typeface="Avenir Next LT Pro" pitchFamily="2" charset="0"/>
              </a:rPr>
              <a:pPr marL="38100" algn="ctr">
                <a:spcBef>
                  <a:spcPts val="105"/>
                </a:spcBef>
              </a:pPr>
              <a:t>‹N›</a:t>
            </a:fld>
            <a:endParaRPr lang="it-IT" sz="1050" b="0" i="0" spc="5" dirty="0">
              <a:latin typeface="Avenir Next LT Pro" pitchFamily="2" charset="0"/>
            </a:endParaRPr>
          </a:p>
        </p:txBody>
      </p:sp>
      <p:sp>
        <p:nvSpPr>
          <p:cNvPr id="43" name="Triangolo isoscele 16">
            <a:extLst>
              <a:ext uri="{FF2B5EF4-FFF2-40B4-BE49-F238E27FC236}">
                <a16:creationId xmlns:a16="http://schemas.microsoft.com/office/drawing/2014/main" id="{423B432F-E34F-3F4A-88C6-7DA16DDB2FC4}"/>
              </a:ext>
            </a:extLst>
          </p:cNvPr>
          <p:cNvSpPr/>
          <p:nvPr/>
        </p:nvSpPr>
        <p:spPr>
          <a:xfrm rot="10800000">
            <a:off x="303127" y="-324737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47" name="Triangolo isoscele 17">
            <a:extLst>
              <a:ext uri="{FF2B5EF4-FFF2-40B4-BE49-F238E27FC236}">
                <a16:creationId xmlns:a16="http://schemas.microsoft.com/office/drawing/2014/main" id="{637F9E76-8384-9344-8544-0D55BCFD2EFF}"/>
              </a:ext>
            </a:extLst>
          </p:cNvPr>
          <p:cNvSpPr/>
          <p:nvPr/>
        </p:nvSpPr>
        <p:spPr>
          <a:xfrm rot="10800000">
            <a:off x="11756536" y="-324737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57" name="Triangolo isoscele 18">
            <a:extLst>
              <a:ext uri="{FF2B5EF4-FFF2-40B4-BE49-F238E27FC236}">
                <a16:creationId xmlns:a16="http://schemas.microsoft.com/office/drawing/2014/main" id="{B26CDDA2-7BFF-0A4F-B99B-3C86DD35CAF1}"/>
              </a:ext>
            </a:extLst>
          </p:cNvPr>
          <p:cNvSpPr/>
          <p:nvPr/>
        </p:nvSpPr>
        <p:spPr>
          <a:xfrm>
            <a:off x="303127" y="6950754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58" name="Triangolo isoscele 19">
            <a:extLst>
              <a:ext uri="{FF2B5EF4-FFF2-40B4-BE49-F238E27FC236}">
                <a16:creationId xmlns:a16="http://schemas.microsoft.com/office/drawing/2014/main" id="{5AF47AD9-EB55-204E-B0FC-82987479D5CE}"/>
              </a:ext>
            </a:extLst>
          </p:cNvPr>
          <p:cNvSpPr/>
          <p:nvPr/>
        </p:nvSpPr>
        <p:spPr>
          <a:xfrm>
            <a:off x="11756536" y="6950754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59" name="Triangolo isoscele 20">
            <a:extLst>
              <a:ext uri="{FF2B5EF4-FFF2-40B4-BE49-F238E27FC236}">
                <a16:creationId xmlns:a16="http://schemas.microsoft.com/office/drawing/2014/main" id="{A44CD567-D9F1-9347-8C52-B9E67B237BF0}"/>
              </a:ext>
            </a:extLst>
          </p:cNvPr>
          <p:cNvSpPr/>
          <p:nvPr/>
        </p:nvSpPr>
        <p:spPr>
          <a:xfrm rot="5400000">
            <a:off x="-276040" y="885372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60" name="Triangolo isoscele 21">
            <a:extLst>
              <a:ext uri="{FF2B5EF4-FFF2-40B4-BE49-F238E27FC236}">
                <a16:creationId xmlns:a16="http://schemas.microsoft.com/office/drawing/2014/main" id="{B6761352-BCEA-E44B-A4C7-803F8F76B3F7}"/>
              </a:ext>
            </a:extLst>
          </p:cNvPr>
          <p:cNvSpPr/>
          <p:nvPr/>
        </p:nvSpPr>
        <p:spPr>
          <a:xfrm rot="5400000">
            <a:off x="-276039" y="5982836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61" name="Triangolo isoscele 22">
            <a:extLst>
              <a:ext uri="{FF2B5EF4-FFF2-40B4-BE49-F238E27FC236}">
                <a16:creationId xmlns:a16="http://schemas.microsoft.com/office/drawing/2014/main" id="{C6399DC8-2F4D-D441-83D0-7F2A89A09EC2}"/>
              </a:ext>
            </a:extLst>
          </p:cNvPr>
          <p:cNvSpPr/>
          <p:nvPr/>
        </p:nvSpPr>
        <p:spPr>
          <a:xfrm rot="16200000">
            <a:off x="12331119" y="885372"/>
            <a:ext cx="132336" cy="261257"/>
          </a:xfrm>
          <a:prstGeom prst="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62" name="Triangolo isoscele 23">
            <a:extLst>
              <a:ext uri="{FF2B5EF4-FFF2-40B4-BE49-F238E27FC236}">
                <a16:creationId xmlns:a16="http://schemas.microsoft.com/office/drawing/2014/main" id="{0329F371-EC8E-3C4B-966D-2906497DC095}"/>
              </a:ext>
            </a:extLst>
          </p:cNvPr>
          <p:cNvSpPr/>
          <p:nvPr/>
        </p:nvSpPr>
        <p:spPr>
          <a:xfrm rot="16200000">
            <a:off x="12331120" y="5982836"/>
            <a:ext cx="132336" cy="261257"/>
          </a:xfrm>
          <a:prstGeom prst="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63" name="Triangolo isoscele 31">
            <a:extLst>
              <a:ext uri="{FF2B5EF4-FFF2-40B4-BE49-F238E27FC236}">
                <a16:creationId xmlns:a16="http://schemas.microsoft.com/office/drawing/2014/main" id="{63384D65-22B8-E24D-ADB9-E486C32519E6}"/>
              </a:ext>
            </a:extLst>
          </p:cNvPr>
          <p:cNvSpPr/>
          <p:nvPr/>
        </p:nvSpPr>
        <p:spPr>
          <a:xfrm rot="10800000">
            <a:off x="303127" y="-324737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64" name="Triangolo isoscele 32">
            <a:extLst>
              <a:ext uri="{FF2B5EF4-FFF2-40B4-BE49-F238E27FC236}">
                <a16:creationId xmlns:a16="http://schemas.microsoft.com/office/drawing/2014/main" id="{B1D20870-9EA8-BE47-ACAF-6C3DDC19F0E9}"/>
              </a:ext>
            </a:extLst>
          </p:cNvPr>
          <p:cNvSpPr/>
          <p:nvPr/>
        </p:nvSpPr>
        <p:spPr>
          <a:xfrm rot="10800000">
            <a:off x="11756536" y="-324737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65" name="Triangolo isoscele 33">
            <a:extLst>
              <a:ext uri="{FF2B5EF4-FFF2-40B4-BE49-F238E27FC236}">
                <a16:creationId xmlns:a16="http://schemas.microsoft.com/office/drawing/2014/main" id="{8FA28E8D-4E22-2A43-A0CA-0CBEA0E68DA0}"/>
              </a:ext>
            </a:extLst>
          </p:cNvPr>
          <p:cNvSpPr/>
          <p:nvPr/>
        </p:nvSpPr>
        <p:spPr>
          <a:xfrm>
            <a:off x="303127" y="6950754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66" name="Triangolo isoscele 34">
            <a:extLst>
              <a:ext uri="{FF2B5EF4-FFF2-40B4-BE49-F238E27FC236}">
                <a16:creationId xmlns:a16="http://schemas.microsoft.com/office/drawing/2014/main" id="{2FB63059-7910-1C4C-B84D-BB0A56F73CB3}"/>
              </a:ext>
            </a:extLst>
          </p:cNvPr>
          <p:cNvSpPr/>
          <p:nvPr/>
        </p:nvSpPr>
        <p:spPr>
          <a:xfrm>
            <a:off x="11756536" y="6950754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67" name="Triangolo isoscele 35">
            <a:extLst>
              <a:ext uri="{FF2B5EF4-FFF2-40B4-BE49-F238E27FC236}">
                <a16:creationId xmlns:a16="http://schemas.microsoft.com/office/drawing/2014/main" id="{4E3302DD-2E72-FF4F-B090-66F4E4172F59}"/>
              </a:ext>
            </a:extLst>
          </p:cNvPr>
          <p:cNvSpPr/>
          <p:nvPr/>
        </p:nvSpPr>
        <p:spPr>
          <a:xfrm rot="5400000">
            <a:off x="-276040" y="885372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68" name="Triangolo isoscele 36">
            <a:extLst>
              <a:ext uri="{FF2B5EF4-FFF2-40B4-BE49-F238E27FC236}">
                <a16:creationId xmlns:a16="http://schemas.microsoft.com/office/drawing/2014/main" id="{FFF548D1-E814-ED45-B13F-011F98993545}"/>
              </a:ext>
            </a:extLst>
          </p:cNvPr>
          <p:cNvSpPr/>
          <p:nvPr/>
        </p:nvSpPr>
        <p:spPr>
          <a:xfrm rot="5400000">
            <a:off x="-276039" y="5982836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69" name="Triangolo isoscele 37">
            <a:extLst>
              <a:ext uri="{FF2B5EF4-FFF2-40B4-BE49-F238E27FC236}">
                <a16:creationId xmlns:a16="http://schemas.microsoft.com/office/drawing/2014/main" id="{BBD06D14-4475-2D4B-858E-8CCBC69E29DE}"/>
              </a:ext>
            </a:extLst>
          </p:cNvPr>
          <p:cNvSpPr/>
          <p:nvPr/>
        </p:nvSpPr>
        <p:spPr>
          <a:xfrm rot="16200000">
            <a:off x="12331119" y="885372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70" name="Triangolo isoscele 38">
            <a:extLst>
              <a:ext uri="{FF2B5EF4-FFF2-40B4-BE49-F238E27FC236}">
                <a16:creationId xmlns:a16="http://schemas.microsoft.com/office/drawing/2014/main" id="{11F94D96-987E-8E4A-926C-AAECB6B55708}"/>
              </a:ext>
            </a:extLst>
          </p:cNvPr>
          <p:cNvSpPr/>
          <p:nvPr/>
        </p:nvSpPr>
        <p:spPr>
          <a:xfrm rot="16200000">
            <a:off x="12331120" y="5982836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pic>
        <p:nvPicPr>
          <p:cNvPr id="71" name="Elemento grafico 70">
            <a:extLst>
              <a:ext uri="{FF2B5EF4-FFF2-40B4-BE49-F238E27FC236}">
                <a16:creationId xmlns:a16="http://schemas.microsoft.com/office/drawing/2014/main" id="{D24B76CA-E254-4F46-A3E2-4AC75BF829EE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081892" y="-5080"/>
            <a:ext cx="1560273" cy="309880"/>
          </a:xfrm>
          <a:prstGeom prst="rect">
            <a:avLst/>
          </a:prstGeom>
        </p:spPr>
      </p:pic>
      <p:sp>
        <p:nvSpPr>
          <p:cNvPr id="72" name="object 267">
            <a:extLst>
              <a:ext uri="{FF2B5EF4-FFF2-40B4-BE49-F238E27FC236}">
                <a16:creationId xmlns:a16="http://schemas.microsoft.com/office/drawing/2014/main" id="{1B1F0D68-9E91-FA49-BA43-DBE4F30B0332}"/>
              </a:ext>
            </a:extLst>
          </p:cNvPr>
          <p:cNvSpPr/>
          <p:nvPr/>
        </p:nvSpPr>
        <p:spPr>
          <a:xfrm>
            <a:off x="0" y="1251482"/>
            <a:ext cx="675518" cy="45719"/>
          </a:xfrm>
          <a:custGeom>
            <a:avLst/>
            <a:gdLst/>
            <a:ahLst/>
            <a:cxnLst/>
            <a:rect l="l" t="t" r="r" b="b"/>
            <a:pathLst>
              <a:path w="657225">
                <a:moveTo>
                  <a:pt x="0" y="0"/>
                </a:moveTo>
                <a:lnTo>
                  <a:pt x="656678" y="0"/>
                </a:lnTo>
              </a:path>
            </a:pathLst>
          </a:custGeom>
          <a:ln w="76200">
            <a:solidFill>
              <a:srgbClr val="EEDC00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JhengHei UI Light" panose="020B0304030504040204" pitchFamily="34" charset="-120"/>
              <a:ea typeface="Microsoft JhengHei UI Light" panose="020B0304030504040204" pitchFamily="34" charset="-120"/>
              <a:cs typeface="+mn-cs"/>
            </a:endParaRPr>
          </a:p>
        </p:txBody>
      </p:sp>
      <p:sp>
        <p:nvSpPr>
          <p:cNvPr id="73" name="Estrai 72">
            <a:extLst>
              <a:ext uri="{FF2B5EF4-FFF2-40B4-BE49-F238E27FC236}">
                <a16:creationId xmlns:a16="http://schemas.microsoft.com/office/drawing/2014/main" id="{F5F1EC3C-A95B-E243-B9D1-1689DCB785E2}"/>
              </a:ext>
            </a:extLst>
          </p:cNvPr>
          <p:cNvSpPr/>
          <p:nvPr/>
        </p:nvSpPr>
        <p:spPr>
          <a:xfrm rot="5400000">
            <a:off x="5471797" y="3489972"/>
            <a:ext cx="1567955" cy="451172"/>
          </a:xfrm>
          <a:prstGeom prst="flowChartExtract">
            <a:avLst/>
          </a:prstGeom>
          <a:gradFill flip="none" rotWithShape="1">
            <a:gsLst>
              <a:gs pos="0">
                <a:srgbClr val="0047BB">
                  <a:alpha val="0"/>
                </a:srgbClr>
              </a:gs>
              <a:gs pos="90000">
                <a:srgbClr val="0047BB">
                  <a:alpha val="30000"/>
                </a:srgb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venir Next LT Pro" panose="020B0504020202020204" pitchFamily="34" charset="77"/>
              <a:ea typeface="+mn-ea"/>
              <a:cs typeface="+mn-cs"/>
            </a:endParaRPr>
          </a:p>
        </p:txBody>
      </p:sp>
      <p:grpSp>
        <p:nvGrpSpPr>
          <p:cNvPr id="74" name="Gruppo 73">
            <a:extLst>
              <a:ext uri="{FF2B5EF4-FFF2-40B4-BE49-F238E27FC236}">
                <a16:creationId xmlns:a16="http://schemas.microsoft.com/office/drawing/2014/main" id="{0892F0E9-E272-DA4D-B9AC-8A766720A3AA}"/>
              </a:ext>
            </a:extLst>
          </p:cNvPr>
          <p:cNvGrpSpPr/>
          <p:nvPr/>
        </p:nvGrpSpPr>
        <p:grpSpPr>
          <a:xfrm>
            <a:off x="633940" y="1509967"/>
            <a:ext cx="756000" cy="756000"/>
            <a:chOff x="633940" y="1509967"/>
            <a:chExt cx="756000" cy="756000"/>
          </a:xfrm>
        </p:grpSpPr>
        <p:sp>
          <p:nvSpPr>
            <p:cNvPr id="75" name="object 46">
              <a:extLst>
                <a:ext uri="{FF2B5EF4-FFF2-40B4-BE49-F238E27FC236}">
                  <a16:creationId xmlns:a16="http://schemas.microsoft.com/office/drawing/2014/main" id="{132D278B-6098-484C-BC7B-F1B369A6C22B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33940" y="1509967"/>
              <a:ext cx="756000" cy="756000"/>
            </a:xfrm>
            <a:custGeom>
              <a:avLst/>
              <a:gdLst/>
              <a:ahLst/>
              <a:cxnLst/>
              <a:rect l="l" t="t" r="r" b="b"/>
              <a:pathLst>
                <a:path w="1009650" h="1009650">
                  <a:moveTo>
                    <a:pt x="1009637" y="504825"/>
                  </a:moveTo>
                  <a:lnTo>
                    <a:pt x="1007326" y="553440"/>
                  </a:lnTo>
                  <a:lnTo>
                    <a:pt x="1000534" y="600748"/>
                  </a:lnTo>
                  <a:lnTo>
                    <a:pt x="989474" y="646537"/>
                  </a:lnTo>
                  <a:lnTo>
                    <a:pt x="974355" y="690596"/>
                  </a:lnTo>
                  <a:lnTo>
                    <a:pt x="955391" y="732714"/>
                  </a:lnTo>
                  <a:lnTo>
                    <a:pt x="932791" y="772678"/>
                  </a:lnTo>
                  <a:lnTo>
                    <a:pt x="906769" y="810276"/>
                  </a:lnTo>
                  <a:lnTo>
                    <a:pt x="877535" y="845298"/>
                  </a:lnTo>
                  <a:lnTo>
                    <a:pt x="845302" y="877532"/>
                  </a:lnTo>
                  <a:lnTo>
                    <a:pt x="810279" y="906766"/>
                  </a:lnTo>
                  <a:lnTo>
                    <a:pt x="772680" y="932789"/>
                  </a:lnTo>
                  <a:lnTo>
                    <a:pt x="732715" y="955389"/>
                  </a:lnTo>
                  <a:lnTo>
                    <a:pt x="690596" y="974354"/>
                  </a:lnTo>
                  <a:lnTo>
                    <a:pt x="646535" y="989473"/>
                  </a:lnTo>
                  <a:lnTo>
                    <a:pt x="600743" y="1000534"/>
                  </a:lnTo>
                  <a:lnTo>
                    <a:pt x="553431" y="1007326"/>
                  </a:lnTo>
                  <a:lnTo>
                    <a:pt x="504812" y="1009637"/>
                  </a:lnTo>
                  <a:lnTo>
                    <a:pt x="456197" y="1007326"/>
                  </a:lnTo>
                  <a:lnTo>
                    <a:pt x="408888" y="1000534"/>
                  </a:lnTo>
                  <a:lnTo>
                    <a:pt x="363099" y="989473"/>
                  </a:lnTo>
                  <a:lnTo>
                    <a:pt x="319040" y="974354"/>
                  </a:lnTo>
                  <a:lnTo>
                    <a:pt x="276923" y="955389"/>
                  </a:lnTo>
                  <a:lnTo>
                    <a:pt x="236959" y="932789"/>
                  </a:lnTo>
                  <a:lnTo>
                    <a:pt x="199360" y="906766"/>
                  </a:lnTo>
                  <a:lnTo>
                    <a:pt x="164338" y="877532"/>
                  </a:lnTo>
                  <a:lnTo>
                    <a:pt x="132104" y="845298"/>
                  </a:lnTo>
                  <a:lnTo>
                    <a:pt x="102870" y="810276"/>
                  </a:lnTo>
                  <a:lnTo>
                    <a:pt x="76847" y="772678"/>
                  </a:lnTo>
                  <a:lnTo>
                    <a:pt x="54248" y="732714"/>
                  </a:lnTo>
                  <a:lnTo>
                    <a:pt x="35283" y="690596"/>
                  </a:lnTo>
                  <a:lnTo>
                    <a:pt x="20164" y="646537"/>
                  </a:lnTo>
                  <a:lnTo>
                    <a:pt x="9102" y="600748"/>
                  </a:lnTo>
                  <a:lnTo>
                    <a:pt x="2310" y="553440"/>
                  </a:lnTo>
                  <a:lnTo>
                    <a:pt x="0" y="504825"/>
                  </a:lnTo>
                  <a:lnTo>
                    <a:pt x="2310" y="456207"/>
                  </a:lnTo>
                  <a:lnTo>
                    <a:pt x="9102" y="408897"/>
                  </a:lnTo>
                  <a:lnTo>
                    <a:pt x="20164" y="363106"/>
                  </a:lnTo>
                  <a:lnTo>
                    <a:pt x="35283" y="319045"/>
                  </a:lnTo>
                  <a:lnTo>
                    <a:pt x="54248" y="276927"/>
                  </a:lnTo>
                  <a:lnTo>
                    <a:pt x="76847" y="236962"/>
                  </a:lnTo>
                  <a:lnTo>
                    <a:pt x="102870" y="199363"/>
                  </a:lnTo>
                  <a:lnTo>
                    <a:pt x="132104" y="164340"/>
                  </a:lnTo>
                  <a:lnTo>
                    <a:pt x="164338" y="132105"/>
                  </a:lnTo>
                  <a:lnTo>
                    <a:pt x="199360" y="102871"/>
                  </a:lnTo>
                  <a:lnTo>
                    <a:pt x="236959" y="76848"/>
                  </a:lnTo>
                  <a:lnTo>
                    <a:pt x="276923" y="54248"/>
                  </a:lnTo>
                  <a:lnTo>
                    <a:pt x="319040" y="35283"/>
                  </a:lnTo>
                  <a:lnTo>
                    <a:pt x="363099" y="20164"/>
                  </a:lnTo>
                  <a:lnTo>
                    <a:pt x="408888" y="9102"/>
                  </a:lnTo>
                  <a:lnTo>
                    <a:pt x="456197" y="2310"/>
                  </a:lnTo>
                  <a:lnTo>
                    <a:pt x="504812" y="0"/>
                  </a:lnTo>
                  <a:lnTo>
                    <a:pt x="553431" y="2310"/>
                  </a:lnTo>
                  <a:lnTo>
                    <a:pt x="600743" y="9102"/>
                  </a:lnTo>
                  <a:lnTo>
                    <a:pt x="646535" y="20164"/>
                  </a:lnTo>
                  <a:lnTo>
                    <a:pt x="690596" y="35283"/>
                  </a:lnTo>
                  <a:lnTo>
                    <a:pt x="732715" y="54248"/>
                  </a:lnTo>
                  <a:lnTo>
                    <a:pt x="772680" y="76848"/>
                  </a:lnTo>
                  <a:lnTo>
                    <a:pt x="810279" y="102871"/>
                  </a:lnTo>
                  <a:lnTo>
                    <a:pt x="845302" y="132105"/>
                  </a:lnTo>
                  <a:lnTo>
                    <a:pt x="877535" y="164340"/>
                  </a:lnTo>
                  <a:lnTo>
                    <a:pt x="906769" y="199363"/>
                  </a:lnTo>
                  <a:lnTo>
                    <a:pt x="932791" y="236962"/>
                  </a:lnTo>
                  <a:lnTo>
                    <a:pt x="955391" y="276927"/>
                  </a:lnTo>
                  <a:lnTo>
                    <a:pt x="974355" y="319045"/>
                  </a:lnTo>
                  <a:lnTo>
                    <a:pt x="989474" y="363106"/>
                  </a:lnTo>
                  <a:lnTo>
                    <a:pt x="1000534" y="408897"/>
                  </a:lnTo>
                  <a:lnTo>
                    <a:pt x="1007326" y="456207"/>
                  </a:lnTo>
                  <a:lnTo>
                    <a:pt x="1009637" y="504825"/>
                  </a:lnTo>
                  <a:close/>
                </a:path>
              </a:pathLst>
            </a:custGeom>
            <a:solidFill>
              <a:schemeClr val="bg1"/>
            </a:solidFill>
            <a:ln w="12700">
              <a:solidFill>
                <a:srgbClr val="0046BA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3B3B3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76" name="object 47">
              <a:extLst>
                <a:ext uri="{FF2B5EF4-FFF2-40B4-BE49-F238E27FC236}">
                  <a16:creationId xmlns:a16="http://schemas.microsoft.com/office/drawing/2014/main" id="{66E9A941-73FB-C940-A108-9A51D7B4D583}"/>
                </a:ext>
              </a:extLst>
            </p:cNvPr>
            <p:cNvSpPr/>
            <p:nvPr userDrawn="1"/>
          </p:nvSpPr>
          <p:spPr>
            <a:xfrm>
              <a:off x="687940" y="1563967"/>
              <a:ext cx="648000" cy="648000"/>
            </a:xfrm>
            <a:custGeom>
              <a:avLst/>
              <a:gdLst/>
              <a:ahLst/>
              <a:cxnLst/>
              <a:rect l="l" t="t" r="r" b="b"/>
              <a:pathLst>
                <a:path w="836294" h="836294">
                  <a:moveTo>
                    <a:pt x="417944" y="0"/>
                  </a:moveTo>
                  <a:lnTo>
                    <a:pt x="369203" y="2811"/>
                  </a:lnTo>
                  <a:lnTo>
                    <a:pt x="322114" y="11038"/>
                  </a:lnTo>
                  <a:lnTo>
                    <a:pt x="276989" y="24365"/>
                  </a:lnTo>
                  <a:lnTo>
                    <a:pt x="234143" y="42480"/>
                  </a:lnTo>
                  <a:lnTo>
                    <a:pt x="193890" y="65069"/>
                  </a:lnTo>
                  <a:lnTo>
                    <a:pt x="156542" y="91818"/>
                  </a:lnTo>
                  <a:lnTo>
                    <a:pt x="122413" y="122413"/>
                  </a:lnTo>
                  <a:lnTo>
                    <a:pt x="91818" y="156542"/>
                  </a:lnTo>
                  <a:lnTo>
                    <a:pt x="65069" y="193890"/>
                  </a:lnTo>
                  <a:lnTo>
                    <a:pt x="42480" y="234143"/>
                  </a:lnTo>
                  <a:lnTo>
                    <a:pt x="24365" y="276989"/>
                  </a:lnTo>
                  <a:lnTo>
                    <a:pt x="11038" y="322114"/>
                  </a:lnTo>
                  <a:lnTo>
                    <a:pt x="2811" y="369203"/>
                  </a:lnTo>
                  <a:lnTo>
                    <a:pt x="0" y="417944"/>
                  </a:lnTo>
                  <a:lnTo>
                    <a:pt x="2811" y="466685"/>
                  </a:lnTo>
                  <a:lnTo>
                    <a:pt x="11038" y="513774"/>
                  </a:lnTo>
                  <a:lnTo>
                    <a:pt x="24365" y="558898"/>
                  </a:lnTo>
                  <a:lnTo>
                    <a:pt x="42480" y="601744"/>
                  </a:lnTo>
                  <a:lnTo>
                    <a:pt x="65069" y="641998"/>
                  </a:lnTo>
                  <a:lnTo>
                    <a:pt x="91818" y="679346"/>
                  </a:lnTo>
                  <a:lnTo>
                    <a:pt x="122413" y="713474"/>
                  </a:lnTo>
                  <a:lnTo>
                    <a:pt x="156542" y="744070"/>
                  </a:lnTo>
                  <a:lnTo>
                    <a:pt x="193890" y="770819"/>
                  </a:lnTo>
                  <a:lnTo>
                    <a:pt x="234143" y="793407"/>
                  </a:lnTo>
                  <a:lnTo>
                    <a:pt x="276989" y="811522"/>
                  </a:lnTo>
                  <a:lnTo>
                    <a:pt x="322114" y="824850"/>
                  </a:lnTo>
                  <a:lnTo>
                    <a:pt x="369203" y="833076"/>
                  </a:lnTo>
                  <a:lnTo>
                    <a:pt x="417944" y="835888"/>
                  </a:lnTo>
                  <a:lnTo>
                    <a:pt x="466685" y="833076"/>
                  </a:lnTo>
                  <a:lnTo>
                    <a:pt x="513774" y="824850"/>
                  </a:lnTo>
                  <a:lnTo>
                    <a:pt x="558898" y="811522"/>
                  </a:lnTo>
                  <a:lnTo>
                    <a:pt x="601744" y="793407"/>
                  </a:lnTo>
                  <a:lnTo>
                    <a:pt x="641998" y="770819"/>
                  </a:lnTo>
                  <a:lnTo>
                    <a:pt x="679346" y="744070"/>
                  </a:lnTo>
                  <a:lnTo>
                    <a:pt x="713474" y="713474"/>
                  </a:lnTo>
                  <a:lnTo>
                    <a:pt x="744070" y="679346"/>
                  </a:lnTo>
                  <a:lnTo>
                    <a:pt x="770819" y="641998"/>
                  </a:lnTo>
                  <a:lnTo>
                    <a:pt x="793407" y="601744"/>
                  </a:lnTo>
                  <a:lnTo>
                    <a:pt x="811522" y="558898"/>
                  </a:lnTo>
                  <a:lnTo>
                    <a:pt x="824850" y="513774"/>
                  </a:lnTo>
                  <a:lnTo>
                    <a:pt x="833076" y="466685"/>
                  </a:lnTo>
                  <a:lnTo>
                    <a:pt x="835888" y="417944"/>
                  </a:lnTo>
                  <a:lnTo>
                    <a:pt x="833076" y="369203"/>
                  </a:lnTo>
                  <a:lnTo>
                    <a:pt x="824850" y="322114"/>
                  </a:lnTo>
                  <a:lnTo>
                    <a:pt x="811522" y="276989"/>
                  </a:lnTo>
                  <a:lnTo>
                    <a:pt x="793407" y="234143"/>
                  </a:lnTo>
                  <a:lnTo>
                    <a:pt x="770819" y="193890"/>
                  </a:lnTo>
                  <a:lnTo>
                    <a:pt x="744070" y="156542"/>
                  </a:lnTo>
                  <a:lnTo>
                    <a:pt x="713474" y="122413"/>
                  </a:lnTo>
                  <a:lnTo>
                    <a:pt x="679346" y="91818"/>
                  </a:lnTo>
                  <a:lnTo>
                    <a:pt x="641998" y="65069"/>
                  </a:lnTo>
                  <a:lnTo>
                    <a:pt x="601744" y="42480"/>
                  </a:lnTo>
                  <a:lnTo>
                    <a:pt x="558898" y="24365"/>
                  </a:lnTo>
                  <a:lnTo>
                    <a:pt x="513774" y="11038"/>
                  </a:lnTo>
                  <a:lnTo>
                    <a:pt x="466685" y="2811"/>
                  </a:lnTo>
                  <a:lnTo>
                    <a:pt x="417944" y="0"/>
                  </a:lnTo>
                  <a:close/>
                </a:path>
              </a:pathLst>
            </a:custGeom>
            <a:solidFill>
              <a:srgbClr val="EEDC00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srgbClr val="3B3B3A"/>
                </a:solidFill>
                <a:effectLst/>
                <a:uLnTx/>
                <a:uFillTx/>
                <a:latin typeface="Avenir Next LT Pro" panose="020B0504020202020204" pitchFamily="34" charset="77"/>
                <a:ea typeface="+mn-ea"/>
                <a:cs typeface="+mn-cs"/>
              </a:endParaRPr>
            </a:p>
          </p:txBody>
        </p:sp>
      </p:grpSp>
      <p:cxnSp>
        <p:nvCxnSpPr>
          <p:cNvPr id="77" name="Connettore 1 46">
            <a:extLst>
              <a:ext uri="{FF2B5EF4-FFF2-40B4-BE49-F238E27FC236}">
                <a16:creationId xmlns:a16="http://schemas.microsoft.com/office/drawing/2014/main" id="{F4EA321C-5927-C044-998E-D94077234B74}"/>
              </a:ext>
            </a:extLst>
          </p:cNvPr>
          <p:cNvCxnSpPr>
            <a:cxnSpLocks/>
          </p:cNvCxnSpPr>
          <p:nvPr/>
        </p:nvCxnSpPr>
        <p:spPr>
          <a:xfrm>
            <a:off x="1395006" y="1889852"/>
            <a:ext cx="4140000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8" name="Gruppo 77">
            <a:extLst>
              <a:ext uri="{FF2B5EF4-FFF2-40B4-BE49-F238E27FC236}">
                <a16:creationId xmlns:a16="http://schemas.microsoft.com/office/drawing/2014/main" id="{364C0991-A5CD-024E-B8E0-551125589E03}"/>
              </a:ext>
            </a:extLst>
          </p:cNvPr>
          <p:cNvGrpSpPr/>
          <p:nvPr/>
        </p:nvGrpSpPr>
        <p:grpSpPr>
          <a:xfrm>
            <a:off x="629053" y="4156346"/>
            <a:ext cx="756000" cy="756000"/>
            <a:chOff x="633940" y="1509967"/>
            <a:chExt cx="756000" cy="756000"/>
          </a:xfrm>
        </p:grpSpPr>
        <p:sp>
          <p:nvSpPr>
            <p:cNvPr id="79" name="object 46">
              <a:extLst>
                <a:ext uri="{FF2B5EF4-FFF2-40B4-BE49-F238E27FC236}">
                  <a16:creationId xmlns:a16="http://schemas.microsoft.com/office/drawing/2014/main" id="{BE4A79C2-8592-5F48-809B-5FFFAEB0505E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33940" y="1509967"/>
              <a:ext cx="756000" cy="756000"/>
            </a:xfrm>
            <a:custGeom>
              <a:avLst/>
              <a:gdLst/>
              <a:ahLst/>
              <a:cxnLst/>
              <a:rect l="l" t="t" r="r" b="b"/>
              <a:pathLst>
                <a:path w="1009650" h="1009650">
                  <a:moveTo>
                    <a:pt x="1009637" y="504825"/>
                  </a:moveTo>
                  <a:lnTo>
                    <a:pt x="1007326" y="553440"/>
                  </a:lnTo>
                  <a:lnTo>
                    <a:pt x="1000534" y="600748"/>
                  </a:lnTo>
                  <a:lnTo>
                    <a:pt x="989474" y="646537"/>
                  </a:lnTo>
                  <a:lnTo>
                    <a:pt x="974355" y="690596"/>
                  </a:lnTo>
                  <a:lnTo>
                    <a:pt x="955391" y="732714"/>
                  </a:lnTo>
                  <a:lnTo>
                    <a:pt x="932791" y="772678"/>
                  </a:lnTo>
                  <a:lnTo>
                    <a:pt x="906769" y="810276"/>
                  </a:lnTo>
                  <a:lnTo>
                    <a:pt x="877535" y="845298"/>
                  </a:lnTo>
                  <a:lnTo>
                    <a:pt x="845302" y="877532"/>
                  </a:lnTo>
                  <a:lnTo>
                    <a:pt x="810279" y="906766"/>
                  </a:lnTo>
                  <a:lnTo>
                    <a:pt x="772680" y="932789"/>
                  </a:lnTo>
                  <a:lnTo>
                    <a:pt x="732715" y="955389"/>
                  </a:lnTo>
                  <a:lnTo>
                    <a:pt x="690596" y="974354"/>
                  </a:lnTo>
                  <a:lnTo>
                    <a:pt x="646535" y="989473"/>
                  </a:lnTo>
                  <a:lnTo>
                    <a:pt x="600743" y="1000534"/>
                  </a:lnTo>
                  <a:lnTo>
                    <a:pt x="553431" y="1007326"/>
                  </a:lnTo>
                  <a:lnTo>
                    <a:pt x="504812" y="1009637"/>
                  </a:lnTo>
                  <a:lnTo>
                    <a:pt x="456197" y="1007326"/>
                  </a:lnTo>
                  <a:lnTo>
                    <a:pt x="408888" y="1000534"/>
                  </a:lnTo>
                  <a:lnTo>
                    <a:pt x="363099" y="989473"/>
                  </a:lnTo>
                  <a:lnTo>
                    <a:pt x="319040" y="974354"/>
                  </a:lnTo>
                  <a:lnTo>
                    <a:pt x="276923" y="955389"/>
                  </a:lnTo>
                  <a:lnTo>
                    <a:pt x="236959" y="932789"/>
                  </a:lnTo>
                  <a:lnTo>
                    <a:pt x="199360" y="906766"/>
                  </a:lnTo>
                  <a:lnTo>
                    <a:pt x="164338" y="877532"/>
                  </a:lnTo>
                  <a:lnTo>
                    <a:pt x="132104" y="845298"/>
                  </a:lnTo>
                  <a:lnTo>
                    <a:pt x="102870" y="810276"/>
                  </a:lnTo>
                  <a:lnTo>
                    <a:pt x="76847" y="772678"/>
                  </a:lnTo>
                  <a:lnTo>
                    <a:pt x="54248" y="732714"/>
                  </a:lnTo>
                  <a:lnTo>
                    <a:pt x="35283" y="690596"/>
                  </a:lnTo>
                  <a:lnTo>
                    <a:pt x="20164" y="646537"/>
                  </a:lnTo>
                  <a:lnTo>
                    <a:pt x="9102" y="600748"/>
                  </a:lnTo>
                  <a:lnTo>
                    <a:pt x="2310" y="553440"/>
                  </a:lnTo>
                  <a:lnTo>
                    <a:pt x="0" y="504825"/>
                  </a:lnTo>
                  <a:lnTo>
                    <a:pt x="2310" y="456207"/>
                  </a:lnTo>
                  <a:lnTo>
                    <a:pt x="9102" y="408897"/>
                  </a:lnTo>
                  <a:lnTo>
                    <a:pt x="20164" y="363106"/>
                  </a:lnTo>
                  <a:lnTo>
                    <a:pt x="35283" y="319045"/>
                  </a:lnTo>
                  <a:lnTo>
                    <a:pt x="54248" y="276927"/>
                  </a:lnTo>
                  <a:lnTo>
                    <a:pt x="76847" y="236962"/>
                  </a:lnTo>
                  <a:lnTo>
                    <a:pt x="102870" y="199363"/>
                  </a:lnTo>
                  <a:lnTo>
                    <a:pt x="132104" y="164340"/>
                  </a:lnTo>
                  <a:lnTo>
                    <a:pt x="164338" y="132105"/>
                  </a:lnTo>
                  <a:lnTo>
                    <a:pt x="199360" y="102871"/>
                  </a:lnTo>
                  <a:lnTo>
                    <a:pt x="236959" y="76848"/>
                  </a:lnTo>
                  <a:lnTo>
                    <a:pt x="276923" y="54248"/>
                  </a:lnTo>
                  <a:lnTo>
                    <a:pt x="319040" y="35283"/>
                  </a:lnTo>
                  <a:lnTo>
                    <a:pt x="363099" y="20164"/>
                  </a:lnTo>
                  <a:lnTo>
                    <a:pt x="408888" y="9102"/>
                  </a:lnTo>
                  <a:lnTo>
                    <a:pt x="456197" y="2310"/>
                  </a:lnTo>
                  <a:lnTo>
                    <a:pt x="504812" y="0"/>
                  </a:lnTo>
                  <a:lnTo>
                    <a:pt x="553431" y="2310"/>
                  </a:lnTo>
                  <a:lnTo>
                    <a:pt x="600743" y="9102"/>
                  </a:lnTo>
                  <a:lnTo>
                    <a:pt x="646535" y="20164"/>
                  </a:lnTo>
                  <a:lnTo>
                    <a:pt x="690596" y="35283"/>
                  </a:lnTo>
                  <a:lnTo>
                    <a:pt x="732715" y="54248"/>
                  </a:lnTo>
                  <a:lnTo>
                    <a:pt x="772680" y="76848"/>
                  </a:lnTo>
                  <a:lnTo>
                    <a:pt x="810279" y="102871"/>
                  </a:lnTo>
                  <a:lnTo>
                    <a:pt x="845302" y="132105"/>
                  </a:lnTo>
                  <a:lnTo>
                    <a:pt x="877535" y="164340"/>
                  </a:lnTo>
                  <a:lnTo>
                    <a:pt x="906769" y="199363"/>
                  </a:lnTo>
                  <a:lnTo>
                    <a:pt x="932791" y="236962"/>
                  </a:lnTo>
                  <a:lnTo>
                    <a:pt x="955391" y="276927"/>
                  </a:lnTo>
                  <a:lnTo>
                    <a:pt x="974355" y="319045"/>
                  </a:lnTo>
                  <a:lnTo>
                    <a:pt x="989474" y="363106"/>
                  </a:lnTo>
                  <a:lnTo>
                    <a:pt x="1000534" y="408897"/>
                  </a:lnTo>
                  <a:lnTo>
                    <a:pt x="1007326" y="456207"/>
                  </a:lnTo>
                  <a:lnTo>
                    <a:pt x="1009637" y="504825"/>
                  </a:lnTo>
                  <a:close/>
                </a:path>
              </a:pathLst>
            </a:custGeom>
            <a:solidFill>
              <a:schemeClr val="bg1"/>
            </a:solidFill>
            <a:ln w="12700">
              <a:solidFill>
                <a:srgbClr val="0046BA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3B3B3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80" name="object 47">
              <a:extLst>
                <a:ext uri="{FF2B5EF4-FFF2-40B4-BE49-F238E27FC236}">
                  <a16:creationId xmlns:a16="http://schemas.microsoft.com/office/drawing/2014/main" id="{96375D70-9925-4F42-AEAE-8DCCCB01BD51}"/>
                </a:ext>
              </a:extLst>
            </p:cNvPr>
            <p:cNvSpPr/>
            <p:nvPr userDrawn="1"/>
          </p:nvSpPr>
          <p:spPr>
            <a:xfrm>
              <a:off x="687940" y="1563967"/>
              <a:ext cx="648000" cy="648000"/>
            </a:xfrm>
            <a:custGeom>
              <a:avLst/>
              <a:gdLst/>
              <a:ahLst/>
              <a:cxnLst/>
              <a:rect l="l" t="t" r="r" b="b"/>
              <a:pathLst>
                <a:path w="836294" h="836294">
                  <a:moveTo>
                    <a:pt x="417944" y="0"/>
                  </a:moveTo>
                  <a:lnTo>
                    <a:pt x="369203" y="2811"/>
                  </a:lnTo>
                  <a:lnTo>
                    <a:pt x="322114" y="11038"/>
                  </a:lnTo>
                  <a:lnTo>
                    <a:pt x="276989" y="24365"/>
                  </a:lnTo>
                  <a:lnTo>
                    <a:pt x="234143" y="42480"/>
                  </a:lnTo>
                  <a:lnTo>
                    <a:pt x="193890" y="65069"/>
                  </a:lnTo>
                  <a:lnTo>
                    <a:pt x="156542" y="91818"/>
                  </a:lnTo>
                  <a:lnTo>
                    <a:pt x="122413" y="122413"/>
                  </a:lnTo>
                  <a:lnTo>
                    <a:pt x="91818" y="156542"/>
                  </a:lnTo>
                  <a:lnTo>
                    <a:pt x="65069" y="193890"/>
                  </a:lnTo>
                  <a:lnTo>
                    <a:pt x="42480" y="234143"/>
                  </a:lnTo>
                  <a:lnTo>
                    <a:pt x="24365" y="276989"/>
                  </a:lnTo>
                  <a:lnTo>
                    <a:pt x="11038" y="322114"/>
                  </a:lnTo>
                  <a:lnTo>
                    <a:pt x="2811" y="369203"/>
                  </a:lnTo>
                  <a:lnTo>
                    <a:pt x="0" y="417944"/>
                  </a:lnTo>
                  <a:lnTo>
                    <a:pt x="2811" y="466685"/>
                  </a:lnTo>
                  <a:lnTo>
                    <a:pt x="11038" y="513774"/>
                  </a:lnTo>
                  <a:lnTo>
                    <a:pt x="24365" y="558898"/>
                  </a:lnTo>
                  <a:lnTo>
                    <a:pt x="42480" y="601744"/>
                  </a:lnTo>
                  <a:lnTo>
                    <a:pt x="65069" y="641998"/>
                  </a:lnTo>
                  <a:lnTo>
                    <a:pt x="91818" y="679346"/>
                  </a:lnTo>
                  <a:lnTo>
                    <a:pt x="122413" y="713474"/>
                  </a:lnTo>
                  <a:lnTo>
                    <a:pt x="156542" y="744070"/>
                  </a:lnTo>
                  <a:lnTo>
                    <a:pt x="193890" y="770819"/>
                  </a:lnTo>
                  <a:lnTo>
                    <a:pt x="234143" y="793407"/>
                  </a:lnTo>
                  <a:lnTo>
                    <a:pt x="276989" y="811522"/>
                  </a:lnTo>
                  <a:lnTo>
                    <a:pt x="322114" y="824850"/>
                  </a:lnTo>
                  <a:lnTo>
                    <a:pt x="369203" y="833076"/>
                  </a:lnTo>
                  <a:lnTo>
                    <a:pt x="417944" y="835888"/>
                  </a:lnTo>
                  <a:lnTo>
                    <a:pt x="466685" y="833076"/>
                  </a:lnTo>
                  <a:lnTo>
                    <a:pt x="513774" y="824850"/>
                  </a:lnTo>
                  <a:lnTo>
                    <a:pt x="558898" y="811522"/>
                  </a:lnTo>
                  <a:lnTo>
                    <a:pt x="601744" y="793407"/>
                  </a:lnTo>
                  <a:lnTo>
                    <a:pt x="641998" y="770819"/>
                  </a:lnTo>
                  <a:lnTo>
                    <a:pt x="679346" y="744070"/>
                  </a:lnTo>
                  <a:lnTo>
                    <a:pt x="713474" y="713474"/>
                  </a:lnTo>
                  <a:lnTo>
                    <a:pt x="744070" y="679346"/>
                  </a:lnTo>
                  <a:lnTo>
                    <a:pt x="770819" y="641998"/>
                  </a:lnTo>
                  <a:lnTo>
                    <a:pt x="793407" y="601744"/>
                  </a:lnTo>
                  <a:lnTo>
                    <a:pt x="811522" y="558898"/>
                  </a:lnTo>
                  <a:lnTo>
                    <a:pt x="824850" y="513774"/>
                  </a:lnTo>
                  <a:lnTo>
                    <a:pt x="833076" y="466685"/>
                  </a:lnTo>
                  <a:lnTo>
                    <a:pt x="835888" y="417944"/>
                  </a:lnTo>
                  <a:lnTo>
                    <a:pt x="833076" y="369203"/>
                  </a:lnTo>
                  <a:lnTo>
                    <a:pt x="824850" y="322114"/>
                  </a:lnTo>
                  <a:lnTo>
                    <a:pt x="811522" y="276989"/>
                  </a:lnTo>
                  <a:lnTo>
                    <a:pt x="793407" y="234143"/>
                  </a:lnTo>
                  <a:lnTo>
                    <a:pt x="770819" y="193890"/>
                  </a:lnTo>
                  <a:lnTo>
                    <a:pt x="744070" y="156542"/>
                  </a:lnTo>
                  <a:lnTo>
                    <a:pt x="713474" y="122413"/>
                  </a:lnTo>
                  <a:lnTo>
                    <a:pt x="679346" y="91818"/>
                  </a:lnTo>
                  <a:lnTo>
                    <a:pt x="641998" y="65069"/>
                  </a:lnTo>
                  <a:lnTo>
                    <a:pt x="601744" y="42480"/>
                  </a:lnTo>
                  <a:lnTo>
                    <a:pt x="558898" y="24365"/>
                  </a:lnTo>
                  <a:lnTo>
                    <a:pt x="513774" y="11038"/>
                  </a:lnTo>
                  <a:lnTo>
                    <a:pt x="466685" y="2811"/>
                  </a:lnTo>
                  <a:lnTo>
                    <a:pt x="417944" y="0"/>
                  </a:lnTo>
                  <a:close/>
                </a:path>
              </a:pathLst>
            </a:custGeom>
            <a:solidFill>
              <a:srgbClr val="EEDC00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srgbClr val="3B3B3A"/>
                </a:solidFill>
                <a:effectLst/>
                <a:uLnTx/>
                <a:uFillTx/>
                <a:latin typeface="Avenir Next LT Pro" panose="020B0504020202020204" pitchFamily="34" charset="77"/>
                <a:ea typeface="+mn-ea"/>
                <a:cs typeface="+mn-cs"/>
              </a:endParaRPr>
            </a:p>
          </p:txBody>
        </p:sp>
      </p:grpSp>
      <p:cxnSp>
        <p:nvCxnSpPr>
          <p:cNvPr id="81" name="Connettore 1 46">
            <a:extLst>
              <a:ext uri="{FF2B5EF4-FFF2-40B4-BE49-F238E27FC236}">
                <a16:creationId xmlns:a16="http://schemas.microsoft.com/office/drawing/2014/main" id="{6C47996B-507E-1D4F-9901-B49634A11943}"/>
              </a:ext>
            </a:extLst>
          </p:cNvPr>
          <p:cNvCxnSpPr>
            <a:cxnSpLocks/>
          </p:cNvCxnSpPr>
          <p:nvPr/>
        </p:nvCxnSpPr>
        <p:spPr>
          <a:xfrm>
            <a:off x="1390119" y="4536231"/>
            <a:ext cx="4140000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Segnaposto titolo 1">
            <a:extLst>
              <a:ext uri="{FF2B5EF4-FFF2-40B4-BE49-F238E27FC236}">
                <a16:creationId xmlns:a16="http://schemas.microsoft.com/office/drawing/2014/main" id="{88A8C36C-2150-F544-BA82-1CBB3B23ACC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7394" y="504194"/>
            <a:ext cx="10515600" cy="725421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it-IT"/>
              <a:t>Fare clic per modificare lo stile del titolo dello schema</a:t>
            </a:r>
            <a:endParaRPr lang="it-IT" dirty="0"/>
          </a:p>
        </p:txBody>
      </p:sp>
      <p:sp>
        <p:nvSpPr>
          <p:cNvPr id="2" name="CasellaDiTesto 1">
            <a:extLst>
              <a:ext uri="{FF2B5EF4-FFF2-40B4-BE49-F238E27FC236}">
                <a16:creationId xmlns:a16="http://schemas.microsoft.com/office/drawing/2014/main" id="{8EE14256-C9B6-7318-DA3D-FF32A0129029}"/>
              </a:ext>
            </a:extLst>
          </p:cNvPr>
          <p:cNvSpPr txBox="1"/>
          <p:nvPr userDrawn="1"/>
        </p:nvSpPr>
        <p:spPr>
          <a:xfrm>
            <a:off x="3916392" y="6623540"/>
            <a:ext cx="739499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it-IT" sz="800" i="1" dirty="0"/>
              <a:t>Documento ad uso esclusivamente interno, da intendersi come strettamente riservato; non è autorizzata la trasmissione ad altri e la divulgazione all’esterno.</a:t>
            </a:r>
            <a:endParaRPr lang="en-US" sz="800" i="1" dirty="0"/>
          </a:p>
        </p:txBody>
      </p:sp>
    </p:spTree>
    <p:extLst>
      <p:ext uri="{BB962C8B-B14F-4D97-AF65-F5344CB8AC3E}">
        <p14:creationId xmlns:p14="http://schemas.microsoft.com/office/powerpoint/2010/main" val="2821193128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/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Pagina Due colonn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Segnaposto testo 4">
            <a:extLst>
              <a:ext uri="{FF2B5EF4-FFF2-40B4-BE49-F238E27FC236}">
                <a16:creationId xmlns:a16="http://schemas.microsoft.com/office/drawing/2014/main" id="{597E06C8-CAFB-E24B-A154-8EA093E0C54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49834" y="5917932"/>
            <a:ext cx="9402763" cy="573088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900" b="0" i="0">
                <a:latin typeface="Avenir Next LT Pro" panose="020B0504020202020204" pitchFamily="34" charset="77"/>
              </a:defRPr>
            </a:lvl1pPr>
            <a:lvl2pPr marL="457200" indent="0">
              <a:buNone/>
              <a:defRPr sz="900" b="0" i="0">
                <a:latin typeface="Avenir Next LT Pro" panose="020B0504020202020204" pitchFamily="34" charset="77"/>
              </a:defRPr>
            </a:lvl2pPr>
            <a:lvl3pPr marL="914400" indent="0">
              <a:buNone/>
              <a:defRPr sz="900" b="0" i="0">
                <a:latin typeface="Avenir Next LT Pro" panose="020B0504020202020204" pitchFamily="34" charset="77"/>
              </a:defRPr>
            </a:lvl3pPr>
            <a:lvl4pPr marL="1371600" indent="0">
              <a:buNone/>
              <a:defRPr sz="900" b="0" i="0">
                <a:latin typeface="Avenir Next LT Pro" panose="020B0504020202020204" pitchFamily="34" charset="77"/>
              </a:defRPr>
            </a:lvl4pPr>
            <a:lvl5pPr marL="1828800" indent="0">
              <a:buNone/>
              <a:defRPr sz="900" b="0" i="0">
                <a:latin typeface="Avenir Next LT Pro" panose="020B0504020202020204" pitchFamily="34" charset="77"/>
              </a:defRPr>
            </a:lvl5pPr>
          </a:lstStyle>
          <a:p>
            <a:pPr lvl="0"/>
            <a:r>
              <a:rPr lang="it-IT" dirty="0"/>
              <a:t>1. Fare clic per modificare le note 2. Fare clic per modificare le note 3. Fare clic per modificare le note </a:t>
            </a:r>
          </a:p>
        </p:txBody>
      </p:sp>
      <p:sp>
        <p:nvSpPr>
          <p:cNvPr id="42" name="Segnaposto testo 46">
            <a:extLst>
              <a:ext uri="{FF2B5EF4-FFF2-40B4-BE49-F238E27FC236}">
                <a16:creationId xmlns:a16="http://schemas.microsoft.com/office/drawing/2014/main" id="{00BC452B-C9F6-486C-8B6F-1CA1B2145E8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457282" y="1158675"/>
            <a:ext cx="4140000" cy="746498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 b="0" i="0">
                <a:solidFill>
                  <a:srgbClr val="0047BB"/>
                </a:solidFill>
                <a:latin typeface="Avenir Next LT Pro" panose="020B0504020202020204" pitchFamily="34" charset="77"/>
              </a:defRPr>
            </a:lvl1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46" name="Segnaposto testo 46">
            <a:extLst>
              <a:ext uri="{FF2B5EF4-FFF2-40B4-BE49-F238E27FC236}">
                <a16:creationId xmlns:a16="http://schemas.microsoft.com/office/drawing/2014/main" id="{3C0AD768-2B71-45C7-935D-C6BEA3E0C3C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749601" y="1159611"/>
            <a:ext cx="4117982" cy="746498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 b="0" i="0">
                <a:solidFill>
                  <a:srgbClr val="0047BB"/>
                </a:solidFill>
                <a:latin typeface="Avenir Next LT Pro" panose="020B0504020202020204" pitchFamily="34" charset="77"/>
              </a:defRPr>
            </a:lvl1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53" name="Segnaposto contenuto 3">
            <a:extLst>
              <a:ext uri="{FF2B5EF4-FFF2-40B4-BE49-F238E27FC236}">
                <a16:creationId xmlns:a16="http://schemas.microsoft.com/office/drawing/2014/main" id="{17CDF894-BE8F-4807-9180-E036A0572D47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15939" y="2783022"/>
            <a:ext cx="5580062" cy="3146291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i="1">
                <a:solidFill>
                  <a:schemeClr val="tx1"/>
                </a:solidFill>
              </a:defRPr>
            </a:lvl1pPr>
            <a:lvl2pPr>
              <a:buClr>
                <a:schemeClr val="tx1"/>
              </a:buClr>
              <a:defRPr/>
            </a:lvl2pPr>
            <a:lvl3pPr marL="1143000" indent="-228600">
              <a:buClr>
                <a:schemeClr val="accent2"/>
              </a:buClr>
              <a:buFont typeface="Wingdings" panose="05000000000000000000" pitchFamily="2" charset="2"/>
              <a:buChar char="§"/>
              <a:defRPr/>
            </a:lvl3pPr>
            <a:lvl4pPr marL="1600200" indent="-228600">
              <a:buClr>
                <a:schemeClr val="accent2"/>
              </a:buClr>
              <a:buFont typeface="Courier New" panose="02070309020205020404" pitchFamily="49" charset="0"/>
              <a:buChar char="o"/>
              <a:defRPr/>
            </a:lvl4pPr>
          </a:lstStyle>
          <a:p>
            <a:pPr lvl="0"/>
            <a:r>
              <a:rPr lang="it-IT" sz="1400"/>
              <a:t>Fare clic per modificare gli stili del testo dello schema</a:t>
            </a:r>
          </a:p>
          <a:p>
            <a:pPr lvl="1"/>
            <a:r>
              <a:rPr lang="it-IT" sz="1400"/>
              <a:t>Secondo livello</a:t>
            </a:r>
          </a:p>
          <a:p>
            <a:pPr lvl="2"/>
            <a:r>
              <a:rPr lang="it-IT" sz="1400"/>
              <a:t>Terzo livello</a:t>
            </a:r>
          </a:p>
          <a:p>
            <a:pPr lvl="3"/>
            <a:r>
              <a:rPr lang="it-IT" sz="1400"/>
              <a:t>Quarto livello</a:t>
            </a:r>
          </a:p>
        </p:txBody>
      </p:sp>
      <p:sp>
        <p:nvSpPr>
          <p:cNvPr id="54" name="Segnaposto testo 28">
            <a:extLst>
              <a:ext uri="{FF2B5EF4-FFF2-40B4-BE49-F238E27FC236}">
                <a16:creationId xmlns:a16="http://schemas.microsoft.com/office/drawing/2014/main" id="{6B7C7CD3-E585-4050-A460-CB557B782DD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15938" y="2349500"/>
            <a:ext cx="5580062" cy="4222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 marL="914400" indent="0">
              <a:buNone/>
              <a:defRPr sz="14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</a:lstStyle>
          <a:p>
            <a:pPr lvl="0"/>
            <a:r>
              <a:rPr lang="it-IT" dirty="0"/>
              <a:t>Inserimento testo</a:t>
            </a:r>
          </a:p>
        </p:txBody>
      </p:sp>
      <p:sp>
        <p:nvSpPr>
          <p:cNvPr id="55" name="Segnaposto contenuto 3">
            <a:extLst>
              <a:ext uri="{FF2B5EF4-FFF2-40B4-BE49-F238E27FC236}">
                <a16:creationId xmlns:a16="http://schemas.microsoft.com/office/drawing/2014/main" id="{1EB93BAA-B8E3-48DA-B204-CB040A79A94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6096001" y="2789850"/>
            <a:ext cx="5580062" cy="3146291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i="1">
                <a:solidFill>
                  <a:schemeClr val="tx1"/>
                </a:solidFill>
              </a:defRPr>
            </a:lvl1pPr>
            <a:lvl2pPr>
              <a:buClr>
                <a:schemeClr val="tx1"/>
              </a:buClr>
              <a:defRPr/>
            </a:lvl2pPr>
            <a:lvl3pPr marL="1143000" indent="-228600">
              <a:buClr>
                <a:schemeClr val="accent2"/>
              </a:buClr>
              <a:buFont typeface="Wingdings" panose="05000000000000000000" pitchFamily="2" charset="2"/>
              <a:buChar char="§"/>
              <a:defRPr/>
            </a:lvl3pPr>
            <a:lvl4pPr marL="1600200" indent="-228600">
              <a:buClr>
                <a:schemeClr val="accent2"/>
              </a:buClr>
              <a:buFont typeface="Courier New" panose="02070309020205020404" pitchFamily="49" charset="0"/>
              <a:buChar char="o"/>
              <a:defRPr/>
            </a:lvl4pPr>
          </a:lstStyle>
          <a:p>
            <a:pPr lvl="0"/>
            <a:r>
              <a:rPr lang="it-IT" sz="1400"/>
              <a:t>Fare clic per modificare gli stili del testo dello schema</a:t>
            </a:r>
          </a:p>
          <a:p>
            <a:pPr lvl="1"/>
            <a:r>
              <a:rPr lang="it-IT" sz="1400"/>
              <a:t>Secondo livello</a:t>
            </a:r>
          </a:p>
          <a:p>
            <a:pPr lvl="2"/>
            <a:r>
              <a:rPr lang="it-IT" sz="1400"/>
              <a:t>Terzo livello</a:t>
            </a:r>
          </a:p>
          <a:p>
            <a:pPr lvl="3"/>
            <a:r>
              <a:rPr lang="it-IT" sz="1400"/>
              <a:t>Quarto livello</a:t>
            </a:r>
          </a:p>
        </p:txBody>
      </p:sp>
      <p:sp>
        <p:nvSpPr>
          <p:cNvPr id="56" name="Segnaposto testo 28">
            <a:extLst>
              <a:ext uri="{FF2B5EF4-FFF2-40B4-BE49-F238E27FC236}">
                <a16:creationId xmlns:a16="http://schemas.microsoft.com/office/drawing/2014/main" id="{FE5C7DB5-3E36-488B-A836-D04F353B51D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096000" y="2356328"/>
            <a:ext cx="5580062" cy="4222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 marL="914400" indent="0">
              <a:buNone/>
              <a:defRPr sz="14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</a:lstStyle>
          <a:p>
            <a:pPr lvl="0"/>
            <a:r>
              <a:rPr lang="it-IT" dirty="0"/>
              <a:t>Inserimento testo</a:t>
            </a:r>
          </a:p>
        </p:txBody>
      </p:sp>
      <p:sp>
        <p:nvSpPr>
          <p:cNvPr id="47" name="bg object 16">
            <a:extLst>
              <a:ext uri="{FF2B5EF4-FFF2-40B4-BE49-F238E27FC236}">
                <a16:creationId xmlns:a16="http://schemas.microsoft.com/office/drawing/2014/main" id="{C63BEB93-E927-7940-99E0-736031E938A2}"/>
              </a:ext>
            </a:extLst>
          </p:cNvPr>
          <p:cNvSpPr/>
          <p:nvPr/>
        </p:nvSpPr>
        <p:spPr>
          <a:xfrm>
            <a:off x="11330381" y="6448615"/>
            <a:ext cx="311785" cy="410845"/>
          </a:xfrm>
          <a:custGeom>
            <a:avLst/>
            <a:gdLst/>
            <a:ahLst/>
            <a:cxnLst/>
            <a:rect l="l" t="t" r="r" b="b"/>
            <a:pathLst>
              <a:path w="311784" h="410845">
                <a:moveTo>
                  <a:pt x="311645" y="0"/>
                </a:moveTo>
                <a:lnTo>
                  <a:pt x="0" y="0"/>
                </a:lnTo>
                <a:lnTo>
                  <a:pt x="0" y="410438"/>
                </a:lnTo>
                <a:lnTo>
                  <a:pt x="311645" y="410438"/>
                </a:lnTo>
                <a:lnTo>
                  <a:pt x="311645" y="0"/>
                </a:lnTo>
                <a:close/>
              </a:path>
            </a:pathLst>
          </a:custGeom>
          <a:solidFill>
            <a:srgbClr val="0047B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8" name="Holder 7">
            <a:extLst>
              <a:ext uri="{FF2B5EF4-FFF2-40B4-BE49-F238E27FC236}">
                <a16:creationId xmlns:a16="http://schemas.microsoft.com/office/drawing/2014/main" id="{A989B6EE-2513-8149-8081-00ED9F9DCDA5}"/>
              </a:ext>
            </a:extLst>
          </p:cNvPr>
          <p:cNvSpPr txBox="1">
            <a:spLocks/>
          </p:cNvSpPr>
          <p:nvPr/>
        </p:nvSpPr>
        <p:spPr>
          <a:xfrm>
            <a:off x="11342726" y="6520516"/>
            <a:ext cx="256044" cy="16158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it-IT"/>
            </a:defPPr>
            <a:lvl1pPr marL="0" algn="l" defTabSz="914400" rtl="0" eaLnBrk="1" latinLnBrk="0" hangingPunct="1">
              <a:defRPr sz="850" b="1" i="0" kern="1200">
                <a:solidFill>
                  <a:schemeClr val="bg1"/>
                </a:solidFill>
                <a:latin typeface="Verdana"/>
                <a:ea typeface="+mn-ea"/>
                <a:cs typeface="Verdana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8100" algn="ctr">
              <a:spcBef>
                <a:spcPts val="105"/>
              </a:spcBef>
            </a:pPr>
            <a:fld id="{81D60167-4931-47E6-BA6A-407CBD079E47}" type="slidenum">
              <a:rPr lang="it-IT" sz="1050" b="0" i="0" spc="5" smtClean="0">
                <a:latin typeface="Avenir Next LT Pro" pitchFamily="2" charset="0"/>
              </a:rPr>
              <a:pPr marL="38100" algn="ctr">
                <a:spcBef>
                  <a:spcPts val="105"/>
                </a:spcBef>
              </a:pPr>
              <a:t>‹N›</a:t>
            </a:fld>
            <a:endParaRPr lang="it-IT" sz="1050" b="0" i="0" spc="5" dirty="0">
              <a:latin typeface="Avenir Next LT Pro" pitchFamily="2" charset="0"/>
            </a:endParaRPr>
          </a:p>
        </p:txBody>
      </p:sp>
      <p:sp>
        <p:nvSpPr>
          <p:cNvPr id="51" name="Triangolo isoscele 16">
            <a:extLst>
              <a:ext uri="{FF2B5EF4-FFF2-40B4-BE49-F238E27FC236}">
                <a16:creationId xmlns:a16="http://schemas.microsoft.com/office/drawing/2014/main" id="{1A1B494C-547A-EE4E-AE26-0D42E863F9E0}"/>
              </a:ext>
            </a:extLst>
          </p:cNvPr>
          <p:cNvSpPr/>
          <p:nvPr/>
        </p:nvSpPr>
        <p:spPr>
          <a:xfrm rot="10800000">
            <a:off x="303127" y="-324737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52" name="Triangolo isoscele 17">
            <a:extLst>
              <a:ext uri="{FF2B5EF4-FFF2-40B4-BE49-F238E27FC236}">
                <a16:creationId xmlns:a16="http://schemas.microsoft.com/office/drawing/2014/main" id="{F36352A9-7864-044B-A1E8-0568AC18926A}"/>
              </a:ext>
            </a:extLst>
          </p:cNvPr>
          <p:cNvSpPr/>
          <p:nvPr/>
        </p:nvSpPr>
        <p:spPr>
          <a:xfrm rot="10800000">
            <a:off x="11756536" y="-324737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57" name="Triangolo isoscele 18">
            <a:extLst>
              <a:ext uri="{FF2B5EF4-FFF2-40B4-BE49-F238E27FC236}">
                <a16:creationId xmlns:a16="http://schemas.microsoft.com/office/drawing/2014/main" id="{000B4E47-FCA7-6A4D-BE7A-EB3306DF8B22}"/>
              </a:ext>
            </a:extLst>
          </p:cNvPr>
          <p:cNvSpPr/>
          <p:nvPr/>
        </p:nvSpPr>
        <p:spPr>
          <a:xfrm>
            <a:off x="303127" y="6950754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58" name="Triangolo isoscele 19">
            <a:extLst>
              <a:ext uri="{FF2B5EF4-FFF2-40B4-BE49-F238E27FC236}">
                <a16:creationId xmlns:a16="http://schemas.microsoft.com/office/drawing/2014/main" id="{0F09A6BD-5E18-4B48-BD46-DBCB3DED3EE8}"/>
              </a:ext>
            </a:extLst>
          </p:cNvPr>
          <p:cNvSpPr/>
          <p:nvPr/>
        </p:nvSpPr>
        <p:spPr>
          <a:xfrm>
            <a:off x="11756536" y="6950754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59" name="Triangolo isoscele 20">
            <a:extLst>
              <a:ext uri="{FF2B5EF4-FFF2-40B4-BE49-F238E27FC236}">
                <a16:creationId xmlns:a16="http://schemas.microsoft.com/office/drawing/2014/main" id="{4127A3D1-7455-0941-AE7B-0A9B992F3D33}"/>
              </a:ext>
            </a:extLst>
          </p:cNvPr>
          <p:cNvSpPr/>
          <p:nvPr/>
        </p:nvSpPr>
        <p:spPr>
          <a:xfrm rot="5400000">
            <a:off x="-276040" y="885372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60" name="Triangolo isoscele 21">
            <a:extLst>
              <a:ext uri="{FF2B5EF4-FFF2-40B4-BE49-F238E27FC236}">
                <a16:creationId xmlns:a16="http://schemas.microsoft.com/office/drawing/2014/main" id="{6D4C13A2-CD22-A641-9234-74AF03792564}"/>
              </a:ext>
            </a:extLst>
          </p:cNvPr>
          <p:cNvSpPr/>
          <p:nvPr/>
        </p:nvSpPr>
        <p:spPr>
          <a:xfrm rot="5400000">
            <a:off x="-276039" y="5982836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61" name="Triangolo isoscele 22">
            <a:extLst>
              <a:ext uri="{FF2B5EF4-FFF2-40B4-BE49-F238E27FC236}">
                <a16:creationId xmlns:a16="http://schemas.microsoft.com/office/drawing/2014/main" id="{17FF3D8A-9BAA-8544-A789-D7FAB1EE093D}"/>
              </a:ext>
            </a:extLst>
          </p:cNvPr>
          <p:cNvSpPr/>
          <p:nvPr/>
        </p:nvSpPr>
        <p:spPr>
          <a:xfrm rot="16200000">
            <a:off x="12331119" y="885372"/>
            <a:ext cx="132336" cy="261257"/>
          </a:xfrm>
          <a:prstGeom prst="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62" name="Triangolo isoscele 23">
            <a:extLst>
              <a:ext uri="{FF2B5EF4-FFF2-40B4-BE49-F238E27FC236}">
                <a16:creationId xmlns:a16="http://schemas.microsoft.com/office/drawing/2014/main" id="{FD03E863-76A8-4B42-A3EC-E8E9DFEEC21D}"/>
              </a:ext>
            </a:extLst>
          </p:cNvPr>
          <p:cNvSpPr/>
          <p:nvPr/>
        </p:nvSpPr>
        <p:spPr>
          <a:xfrm rot="16200000">
            <a:off x="12331120" y="5982836"/>
            <a:ext cx="132336" cy="261257"/>
          </a:xfrm>
          <a:prstGeom prst="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63" name="Triangolo isoscele 31">
            <a:extLst>
              <a:ext uri="{FF2B5EF4-FFF2-40B4-BE49-F238E27FC236}">
                <a16:creationId xmlns:a16="http://schemas.microsoft.com/office/drawing/2014/main" id="{DF66F9C8-4564-F14A-8E9F-902B365EE2ED}"/>
              </a:ext>
            </a:extLst>
          </p:cNvPr>
          <p:cNvSpPr/>
          <p:nvPr/>
        </p:nvSpPr>
        <p:spPr>
          <a:xfrm rot="10800000">
            <a:off x="303127" y="-324737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64" name="Triangolo isoscele 32">
            <a:extLst>
              <a:ext uri="{FF2B5EF4-FFF2-40B4-BE49-F238E27FC236}">
                <a16:creationId xmlns:a16="http://schemas.microsoft.com/office/drawing/2014/main" id="{933E922A-B98C-894D-A6A8-29EC63FA0852}"/>
              </a:ext>
            </a:extLst>
          </p:cNvPr>
          <p:cNvSpPr/>
          <p:nvPr/>
        </p:nvSpPr>
        <p:spPr>
          <a:xfrm rot="10800000">
            <a:off x="11756536" y="-324737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65" name="Triangolo isoscele 33">
            <a:extLst>
              <a:ext uri="{FF2B5EF4-FFF2-40B4-BE49-F238E27FC236}">
                <a16:creationId xmlns:a16="http://schemas.microsoft.com/office/drawing/2014/main" id="{CDABA905-1E1A-784D-89A9-709CC27F4BA4}"/>
              </a:ext>
            </a:extLst>
          </p:cNvPr>
          <p:cNvSpPr/>
          <p:nvPr/>
        </p:nvSpPr>
        <p:spPr>
          <a:xfrm>
            <a:off x="303127" y="6950754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66" name="Triangolo isoscele 34">
            <a:extLst>
              <a:ext uri="{FF2B5EF4-FFF2-40B4-BE49-F238E27FC236}">
                <a16:creationId xmlns:a16="http://schemas.microsoft.com/office/drawing/2014/main" id="{56242FF4-FD8E-EB40-8158-C32ACFBC084B}"/>
              </a:ext>
            </a:extLst>
          </p:cNvPr>
          <p:cNvSpPr/>
          <p:nvPr/>
        </p:nvSpPr>
        <p:spPr>
          <a:xfrm>
            <a:off x="11756536" y="6950754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67" name="Triangolo isoscele 35">
            <a:extLst>
              <a:ext uri="{FF2B5EF4-FFF2-40B4-BE49-F238E27FC236}">
                <a16:creationId xmlns:a16="http://schemas.microsoft.com/office/drawing/2014/main" id="{C1852283-DC48-FF41-95AD-B95BCFDDF8E0}"/>
              </a:ext>
            </a:extLst>
          </p:cNvPr>
          <p:cNvSpPr/>
          <p:nvPr/>
        </p:nvSpPr>
        <p:spPr>
          <a:xfrm rot="5400000">
            <a:off x="-276040" y="885372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68" name="Triangolo isoscele 36">
            <a:extLst>
              <a:ext uri="{FF2B5EF4-FFF2-40B4-BE49-F238E27FC236}">
                <a16:creationId xmlns:a16="http://schemas.microsoft.com/office/drawing/2014/main" id="{C9F64E30-206E-1041-B631-926FB3996A13}"/>
              </a:ext>
            </a:extLst>
          </p:cNvPr>
          <p:cNvSpPr/>
          <p:nvPr/>
        </p:nvSpPr>
        <p:spPr>
          <a:xfrm rot="5400000">
            <a:off x="-276039" y="5982836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69" name="Triangolo isoscele 37">
            <a:extLst>
              <a:ext uri="{FF2B5EF4-FFF2-40B4-BE49-F238E27FC236}">
                <a16:creationId xmlns:a16="http://schemas.microsoft.com/office/drawing/2014/main" id="{198AB516-2023-0B49-B9AA-73A132CA4FEC}"/>
              </a:ext>
            </a:extLst>
          </p:cNvPr>
          <p:cNvSpPr/>
          <p:nvPr/>
        </p:nvSpPr>
        <p:spPr>
          <a:xfrm rot="16200000">
            <a:off x="12331119" y="885372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70" name="Triangolo isoscele 38">
            <a:extLst>
              <a:ext uri="{FF2B5EF4-FFF2-40B4-BE49-F238E27FC236}">
                <a16:creationId xmlns:a16="http://schemas.microsoft.com/office/drawing/2014/main" id="{5F65A803-BC9E-0541-A75C-FADDF5233DBF}"/>
              </a:ext>
            </a:extLst>
          </p:cNvPr>
          <p:cNvSpPr/>
          <p:nvPr/>
        </p:nvSpPr>
        <p:spPr>
          <a:xfrm rot="16200000">
            <a:off x="12331120" y="5982836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pic>
        <p:nvPicPr>
          <p:cNvPr id="71" name="Elemento grafico 70">
            <a:extLst>
              <a:ext uri="{FF2B5EF4-FFF2-40B4-BE49-F238E27FC236}">
                <a16:creationId xmlns:a16="http://schemas.microsoft.com/office/drawing/2014/main" id="{AC284E83-FB57-CF4B-8195-72480A0D0EE8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081892" y="-5080"/>
            <a:ext cx="1560273" cy="309880"/>
          </a:xfrm>
          <a:prstGeom prst="rect">
            <a:avLst/>
          </a:prstGeom>
        </p:spPr>
      </p:pic>
      <p:sp>
        <p:nvSpPr>
          <p:cNvPr id="72" name="object 267">
            <a:extLst>
              <a:ext uri="{FF2B5EF4-FFF2-40B4-BE49-F238E27FC236}">
                <a16:creationId xmlns:a16="http://schemas.microsoft.com/office/drawing/2014/main" id="{FFE14C75-D03C-5548-B376-E962D457D000}"/>
              </a:ext>
            </a:extLst>
          </p:cNvPr>
          <p:cNvSpPr/>
          <p:nvPr/>
        </p:nvSpPr>
        <p:spPr>
          <a:xfrm>
            <a:off x="0" y="1251482"/>
            <a:ext cx="675518" cy="45719"/>
          </a:xfrm>
          <a:custGeom>
            <a:avLst/>
            <a:gdLst/>
            <a:ahLst/>
            <a:cxnLst/>
            <a:rect l="l" t="t" r="r" b="b"/>
            <a:pathLst>
              <a:path w="657225">
                <a:moveTo>
                  <a:pt x="0" y="0"/>
                </a:moveTo>
                <a:lnTo>
                  <a:pt x="656678" y="0"/>
                </a:lnTo>
              </a:path>
            </a:pathLst>
          </a:custGeom>
          <a:ln w="76200">
            <a:solidFill>
              <a:srgbClr val="EEDC00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JhengHei UI Light" panose="020B0304030504040204" pitchFamily="34" charset="-120"/>
              <a:ea typeface="Microsoft JhengHei UI Light" panose="020B0304030504040204" pitchFamily="34" charset="-120"/>
              <a:cs typeface="+mn-cs"/>
            </a:endParaRPr>
          </a:p>
        </p:txBody>
      </p:sp>
      <p:sp>
        <p:nvSpPr>
          <p:cNvPr id="73" name="Estrai 72">
            <a:extLst>
              <a:ext uri="{FF2B5EF4-FFF2-40B4-BE49-F238E27FC236}">
                <a16:creationId xmlns:a16="http://schemas.microsoft.com/office/drawing/2014/main" id="{D8500D37-F878-A34F-9926-C99397BE6D26}"/>
              </a:ext>
            </a:extLst>
          </p:cNvPr>
          <p:cNvSpPr/>
          <p:nvPr/>
        </p:nvSpPr>
        <p:spPr>
          <a:xfrm rot="5400000">
            <a:off x="4866310" y="3733335"/>
            <a:ext cx="2809993" cy="350613"/>
          </a:xfrm>
          <a:prstGeom prst="flowChartExtract">
            <a:avLst/>
          </a:prstGeom>
          <a:gradFill flip="none" rotWithShape="1">
            <a:gsLst>
              <a:gs pos="0">
                <a:srgbClr val="0047BB">
                  <a:alpha val="0"/>
                </a:srgbClr>
              </a:gs>
              <a:gs pos="100000">
                <a:srgbClr val="0047BB">
                  <a:alpha val="31000"/>
                </a:srgb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venir Next LT Pro" panose="020B0504020202020204" pitchFamily="34" charset="77"/>
              <a:ea typeface="+mn-ea"/>
              <a:cs typeface="+mn-cs"/>
            </a:endParaRPr>
          </a:p>
        </p:txBody>
      </p:sp>
      <p:grpSp>
        <p:nvGrpSpPr>
          <p:cNvPr id="74" name="Gruppo 73">
            <a:extLst>
              <a:ext uri="{FF2B5EF4-FFF2-40B4-BE49-F238E27FC236}">
                <a16:creationId xmlns:a16="http://schemas.microsoft.com/office/drawing/2014/main" id="{D17C0745-661B-3048-9BF5-098E4CAB432B}"/>
              </a:ext>
            </a:extLst>
          </p:cNvPr>
          <p:cNvGrpSpPr/>
          <p:nvPr/>
        </p:nvGrpSpPr>
        <p:grpSpPr>
          <a:xfrm>
            <a:off x="633940" y="1509967"/>
            <a:ext cx="756000" cy="756000"/>
            <a:chOff x="633940" y="1509967"/>
            <a:chExt cx="756000" cy="756000"/>
          </a:xfrm>
        </p:grpSpPr>
        <p:sp>
          <p:nvSpPr>
            <p:cNvPr id="75" name="object 46">
              <a:extLst>
                <a:ext uri="{FF2B5EF4-FFF2-40B4-BE49-F238E27FC236}">
                  <a16:creationId xmlns:a16="http://schemas.microsoft.com/office/drawing/2014/main" id="{BAE3DDF4-C066-DC47-95C9-C59666A49CFD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33940" y="1509967"/>
              <a:ext cx="756000" cy="756000"/>
            </a:xfrm>
            <a:custGeom>
              <a:avLst/>
              <a:gdLst/>
              <a:ahLst/>
              <a:cxnLst/>
              <a:rect l="l" t="t" r="r" b="b"/>
              <a:pathLst>
                <a:path w="1009650" h="1009650">
                  <a:moveTo>
                    <a:pt x="1009637" y="504825"/>
                  </a:moveTo>
                  <a:lnTo>
                    <a:pt x="1007326" y="553440"/>
                  </a:lnTo>
                  <a:lnTo>
                    <a:pt x="1000534" y="600748"/>
                  </a:lnTo>
                  <a:lnTo>
                    <a:pt x="989474" y="646537"/>
                  </a:lnTo>
                  <a:lnTo>
                    <a:pt x="974355" y="690596"/>
                  </a:lnTo>
                  <a:lnTo>
                    <a:pt x="955391" y="732714"/>
                  </a:lnTo>
                  <a:lnTo>
                    <a:pt x="932791" y="772678"/>
                  </a:lnTo>
                  <a:lnTo>
                    <a:pt x="906769" y="810276"/>
                  </a:lnTo>
                  <a:lnTo>
                    <a:pt x="877535" y="845298"/>
                  </a:lnTo>
                  <a:lnTo>
                    <a:pt x="845302" y="877532"/>
                  </a:lnTo>
                  <a:lnTo>
                    <a:pt x="810279" y="906766"/>
                  </a:lnTo>
                  <a:lnTo>
                    <a:pt x="772680" y="932789"/>
                  </a:lnTo>
                  <a:lnTo>
                    <a:pt x="732715" y="955389"/>
                  </a:lnTo>
                  <a:lnTo>
                    <a:pt x="690596" y="974354"/>
                  </a:lnTo>
                  <a:lnTo>
                    <a:pt x="646535" y="989473"/>
                  </a:lnTo>
                  <a:lnTo>
                    <a:pt x="600743" y="1000534"/>
                  </a:lnTo>
                  <a:lnTo>
                    <a:pt x="553431" y="1007326"/>
                  </a:lnTo>
                  <a:lnTo>
                    <a:pt x="504812" y="1009637"/>
                  </a:lnTo>
                  <a:lnTo>
                    <a:pt x="456197" y="1007326"/>
                  </a:lnTo>
                  <a:lnTo>
                    <a:pt x="408888" y="1000534"/>
                  </a:lnTo>
                  <a:lnTo>
                    <a:pt x="363099" y="989473"/>
                  </a:lnTo>
                  <a:lnTo>
                    <a:pt x="319040" y="974354"/>
                  </a:lnTo>
                  <a:lnTo>
                    <a:pt x="276923" y="955389"/>
                  </a:lnTo>
                  <a:lnTo>
                    <a:pt x="236959" y="932789"/>
                  </a:lnTo>
                  <a:lnTo>
                    <a:pt x="199360" y="906766"/>
                  </a:lnTo>
                  <a:lnTo>
                    <a:pt x="164338" y="877532"/>
                  </a:lnTo>
                  <a:lnTo>
                    <a:pt x="132104" y="845298"/>
                  </a:lnTo>
                  <a:lnTo>
                    <a:pt x="102870" y="810276"/>
                  </a:lnTo>
                  <a:lnTo>
                    <a:pt x="76847" y="772678"/>
                  </a:lnTo>
                  <a:lnTo>
                    <a:pt x="54248" y="732714"/>
                  </a:lnTo>
                  <a:lnTo>
                    <a:pt x="35283" y="690596"/>
                  </a:lnTo>
                  <a:lnTo>
                    <a:pt x="20164" y="646537"/>
                  </a:lnTo>
                  <a:lnTo>
                    <a:pt x="9102" y="600748"/>
                  </a:lnTo>
                  <a:lnTo>
                    <a:pt x="2310" y="553440"/>
                  </a:lnTo>
                  <a:lnTo>
                    <a:pt x="0" y="504825"/>
                  </a:lnTo>
                  <a:lnTo>
                    <a:pt x="2310" y="456207"/>
                  </a:lnTo>
                  <a:lnTo>
                    <a:pt x="9102" y="408897"/>
                  </a:lnTo>
                  <a:lnTo>
                    <a:pt x="20164" y="363106"/>
                  </a:lnTo>
                  <a:lnTo>
                    <a:pt x="35283" y="319045"/>
                  </a:lnTo>
                  <a:lnTo>
                    <a:pt x="54248" y="276927"/>
                  </a:lnTo>
                  <a:lnTo>
                    <a:pt x="76847" y="236962"/>
                  </a:lnTo>
                  <a:lnTo>
                    <a:pt x="102870" y="199363"/>
                  </a:lnTo>
                  <a:lnTo>
                    <a:pt x="132104" y="164340"/>
                  </a:lnTo>
                  <a:lnTo>
                    <a:pt x="164338" y="132105"/>
                  </a:lnTo>
                  <a:lnTo>
                    <a:pt x="199360" y="102871"/>
                  </a:lnTo>
                  <a:lnTo>
                    <a:pt x="236959" y="76848"/>
                  </a:lnTo>
                  <a:lnTo>
                    <a:pt x="276923" y="54248"/>
                  </a:lnTo>
                  <a:lnTo>
                    <a:pt x="319040" y="35283"/>
                  </a:lnTo>
                  <a:lnTo>
                    <a:pt x="363099" y="20164"/>
                  </a:lnTo>
                  <a:lnTo>
                    <a:pt x="408888" y="9102"/>
                  </a:lnTo>
                  <a:lnTo>
                    <a:pt x="456197" y="2310"/>
                  </a:lnTo>
                  <a:lnTo>
                    <a:pt x="504812" y="0"/>
                  </a:lnTo>
                  <a:lnTo>
                    <a:pt x="553431" y="2310"/>
                  </a:lnTo>
                  <a:lnTo>
                    <a:pt x="600743" y="9102"/>
                  </a:lnTo>
                  <a:lnTo>
                    <a:pt x="646535" y="20164"/>
                  </a:lnTo>
                  <a:lnTo>
                    <a:pt x="690596" y="35283"/>
                  </a:lnTo>
                  <a:lnTo>
                    <a:pt x="732715" y="54248"/>
                  </a:lnTo>
                  <a:lnTo>
                    <a:pt x="772680" y="76848"/>
                  </a:lnTo>
                  <a:lnTo>
                    <a:pt x="810279" y="102871"/>
                  </a:lnTo>
                  <a:lnTo>
                    <a:pt x="845302" y="132105"/>
                  </a:lnTo>
                  <a:lnTo>
                    <a:pt x="877535" y="164340"/>
                  </a:lnTo>
                  <a:lnTo>
                    <a:pt x="906769" y="199363"/>
                  </a:lnTo>
                  <a:lnTo>
                    <a:pt x="932791" y="236962"/>
                  </a:lnTo>
                  <a:lnTo>
                    <a:pt x="955391" y="276927"/>
                  </a:lnTo>
                  <a:lnTo>
                    <a:pt x="974355" y="319045"/>
                  </a:lnTo>
                  <a:lnTo>
                    <a:pt x="989474" y="363106"/>
                  </a:lnTo>
                  <a:lnTo>
                    <a:pt x="1000534" y="408897"/>
                  </a:lnTo>
                  <a:lnTo>
                    <a:pt x="1007326" y="456207"/>
                  </a:lnTo>
                  <a:lnTo>
                    <a:pt x="1009637" y="504825"/>
                  </a:lnTo>
                  <a:close/>
                </a:path>
              </a:pathLst>
            </a:custGeom>
            <a:solidFill>
              <a:schemeClr val="bg1"/>
            </a:solidFill>
            <a:ln w="12700">
              <a:solidFill>
                <a:srgbClr val="0046BA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3B3B3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76" name="object 47">
              <a:extLst>
                <a:ext uri="{FF2B5EF4-FFF2-40B4-BE49-F238E27FC236}">
                  <a16:creationId xmlns:a16="http://schemas.microsoft.com/office/drawing/2014/main" id="{9F54BC70-3C0C-1E40-A6D5-81B8834B81A1}"/>
                </a:ext>
              </a:extLst>
            </p:cNvPr>
            <p:cNvSpPr/>
            <p:nvPr userDrawn="1"/>
          </p:nvSpPr>
          <p:spPr>
            <a:xfrm>
              <a:off x="687940" y="1563967"/>
              <a:ext cx="648000" cy="648000"/>
            </a:xfrm>
            <a:custGeom>
              <a:avLst/>
              <a:gdLst/>
              <a:ahLst/>
              <a:cxnLst/>
              <a:rect l="l" t="t" r="r" b="b"/>
              <a:pathLst>
                <a:path w="836294" h="836294">
                  <a:moveTo>
                    <a:pt x="417944" y="0"/>
                  </a:moveTo>
                  <a:lnTo>
                    <a:pt x="369203" y="2811"/>
                  </a:lnTo>
                  <a:lnTo>
                    <a:pt x="322114" y="11038"/>
                  </a:lnTo>
                  <a:lnTo>
                    <a:pt x="276989" y="24365"/>
                  </a:lnTo>
                  <a:lnTo>
                    <a:pt x="234143" y="42480"/>
                  </a:lnTo>
                  <a:lnTo>
                    <a:pt x="193890" y="65069"/>
                  </a:lnTo>
                  <a:lnTo>
                    <a:pt x="156542" y="91818"/>
                  </a:lnTo>
                  <a:lnTo>
                    <a:pt x="122413" y="122413"/>
                  </a:lnTo>
                  <a:lnTo>
                    <a:pt x="91818" y="156542"/>
                  </a:lnTo>
                  <a:lnTo>
                    <a:pt x="65069" y="193890"/>
                  </a:lnTo>
                  <a:lnTo>
                    <a:pt x="42480" y="234143"/>
                  </a:lnTo>
                  <a:lnTo>
                    <a:pt x="24365" y="276989"/>
                  </a:lnTo>
                  <a:lnTo>
                    <a:pt x="11038" y="322114"/>
                  </a:lnTo>
                  <a:lnTo>
                    <a:pt x="2811" y="369203"/>
                  </a:lnTo>
                  <a:lnTo>
                    <a:pt x="0" y="417944"/>
                  </a:lnTo>
                  <a:lnTo>
                    <a:pt x="2811" y="466685"/>
                  </a:lnTo>
                  <a:lnTo>
                    <a:pt x="11038" y="513774"/>
                  </a:lnTo>
                  <a:lnTo>
                    <a:pt x="24365" y="558898"/>
                  </a:lnTo>
                  <a:lnTo>
                    <a:pt x="42480" y="601744"/>
                  </a:lnTo>
                  <a:lnTo>
                    <a:pt x="65069" y="641998"/>
                  </a:lnTo>
                  <a:lnTo>
                    <a:pt x="91818" y="679346"/>
                  </a:lnTo>
                  <a:lnTo>
                    <a:pt x="122413" y="713474"/>
                  </a:lnTo>
                  <a:lnTo>
                    <a:pt x="156542" y="744070"/>
                  </a:lnTo>
                  <a:lnTo>
                    <a:pt x="193890" y="770819"/>
                  </a:lnTo>
                  <a:lnTo>
                    <a:pt x="234143" y="793407"/>
                  </a:lnTo>
                  <a:lnTo>
                    <a:pt x="276989" y="811522"/>
                  </a:lnTo>
                  <a:lnTo>
                    <a:pt x="322114" y="824850"/>
                  </a:lnTo>
                  <a:lnTo>
                    <a:pt x="369203" y="833076"/>
                  </a:lnTo>
                  <a:lnTo>
                    <a:pt x="417944" y="835888"/>
                  </a:lnTo>
                  <a:lnTo>
                    <a:pt x="466685" y="833076"/>
                  </a:lnTo>
                  <a:lnTo>
                    <a:pt x="513774" y="824850"/>
                  </a:lnTo>
                  <a:lnTo>
                    <a:pt x="558898" y="811522"/>
                  </a:lnTo>
                  <a:lnTo>
                    <a:pt x="601744" y="793407"/>
                  </a:lnTo>
                  <a:lnTo>
                    <a:pt x="641998" y="770819"/>
                  </a:lnTo>
                  <a:lnTo>
                    <a:pt x="679346" y="744070"/>
                  </a:lnTo>
                  <a:lnTo>
                    <a:pt x="713474" y="713474"/>
                  </a:lnTo>
                  <a:lnTo>
                    <a:pt x="744070" y="679346"/>
                  </a:lnTo>
                  <a:lnTo>
                    <a:pt x="770819" y="641998"/>
                  </a:lnTo>
                  <a:lnTo>
                    <a:pt x="793407" y="601744"/>
                  </a:lnTo>
                  <a:lnTo>
                    <a:pt x="811522" y="558898"/>
                  </a:lnTo>
                  <a:lnTo>
                    <a:pt x="824850" y="513774"/>
                  </a:lnTo>
                  <a:lnTo>
                    <a:pt x="833076" y="466685"/>
                  </a:lnTo>
                  <a:lnTo>
                    <a:pt x="835888" y="417944"/>
                  </a:lnTo>
                  <a:lnTo>
                    <a:pt x="833076" y="369203"/>
                  </a:lnTo>
                  <a:lnTo>
                    <a:pt x="824850" y="322114"/>
                  </a:lnTo>
                  <a:lnTo>
                    <a:pt x="811522" y="276989"/>
                  </a:lnTo>
                  <a:lnTo>
                    <a:pt x="793407" y="234143"/>
                  </a:lnTo>
                  <a:lnTo>
                    <a:pt x="770819" y="193890"/>
                  </a:lnTo>
                  <a:lnTo>
                    <a:pt x="744070" y="156542"/>
                  </a:lnTo>
                  <a:lnTo>
                    <a:pt x="713474" y="122413"/>
                  </a:lnTo>
                  <a:lnTo>
                    <a:pt x="679346" y="91818"/>
                  </a:lnTo>
                  <a:lnTo>
                    <a:pt x="641998" y="65069"/>
                  </a:lnTo>
                  <a:lnTo>
                    <a:pt x="601744" y="42480"/>
                  </a:lnTo>
                  <a:lnTo>
                    <a:pt x="558898" y="24365"/>
                  </a:lnTo>
                  <a:lnTo>
                    <a:pt x="513774" y="11038"/>
                  </a:lnTo>
                  <a:lnTo>
                    <a:pt x="466685" y="2811"/>
                  </a:lnTo>
                  <a:lnTo>
                    <a:pt x="417944" y="0"/>
                  </a:lnTo>
                  <a:close/>
                </a:path>
              </a:pathLst>
            </a:custGeom>
            <a:solidFill>
              <a:srgbClr val="EEDC00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srgbClr val="3B3B3A"/>
                </a:solidFill>
                <a:effectLst/>
                <a:uLnTx/>
                <a:uFillTx/>
                <a:latin typeface="Avenir Next LT Pro" panose="020B0504020202020204" pitchFamily="34" charset="77"/>
                <a:ea typeface="+mn-ea"/>
                <a:cs typeface="+mn-cs"/>
              </a:endParaRPr>
            </a:p>
          </p:txBody>
        </p:sp>
      </p:grpSp>
      <p:cxnSp>
        <p:nvCxnSpPr>
          <p:cNvPr id="77" name="Connettore 1 46">
            <a:extLst>
              <a:ext uri="{FF2B5EF4-FFF2-40B4-BE49-F238E27FC236}">
                <a16:creationId xmlns:a16="http://schemas.microsoft.com/office/drawing/2014/main" id="{02165530-D638-8941-B9CF-FBD6D651120C}"/>
              </a:ext>
            </a:extLst>
          </p:cNvPr>
          <p:cNvCxnSpPr>
            <a:cxnSpLocks/>
          </p:cNvCxnSpPr>
          <p:nvPr/>
        </p:nvCxnSpPr>
        <p:spPr>
          <a:xfrm>
            <a:off x="1395006" y="1889852"/>
            <a:ext cx="4140000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8" name="Gruppo 77">
            <a:extLst>
              <a:ext uri="{FF2B5EF4-FFF2-40B4-BE49-F238E27FC236}">
                <a16:creationId xmlns:a16="http://schemas.microsoft.com/office/drawing/2014/main" id="{9AE2DC79-77C8-CE46-8BDF-6F875D3DCC40}"/>
              </a:ext>
            </a:extLst>
          </p:cNvPr>
          <p:cNvGrpSpPr/>
          <p:nvPr/>
        </p:nvGrpSpPr>
        <p:grpSpPr>
          <a:xfrm>
            <a:off x="10882811" y="1509967"/>
            <a:ext cx="756000" cy="756000"/>
            <a:chOff x="10885138" y="1455967"/>
            <a:chExt cx="756000" cy="756000"/>
          </a:xfrm>
        </p:grpSpPr>
        <p:sp>
          <p:nvSpPr>
            <p:cNvPr id="79" name="object 46">
              <a:extLst>
                <a:ext uri="{FF2B5EF4-FFF2-40B4-BE49-F238E27FC236}">
                  <a16:creationId xmlns:a16="http://schemas.microsoft.com/office/drawing/2014/main" id="{FDE662A0-70D9-7740-9093-6C036DDCC8CC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885138" y="1455967"/>
              <a:ext cx="756000" cy="756000"/>
            </a:xfrm>
            <a:custGeom>
              <a:avLst/>
              <a:gdLst/>
              <a:ahLst/>
              <a:cxnLst/>
              <a:rect l="l" t="t" r="r" b="b"/>
              <a:pathLst>
                <a:path w="1009650" h="1009650">
                  <a:moveTo>
                    <a:pt x="1009637" y="504825"/>
                  </a:moveTo>
                  <a:lnTo>
                    <a:pt x="1007326" y="553440"/>
                  </a:lnTo>
                  <a:lnTo>
                    <a:pt x="1000534" y="600748"/>
                  </a:lnTo>
                  <a:lnTo>
                    <a:pt x="989474" y="646537"/>
                  </a:lnTo>
                  <a:lnTo>
                    <a:pt x="974355" y="690596"/>
                  </a:lnTo>
                  <a:lnTo>
                    <a:pt x="955391" y="732714"/>
                  </a:lnTo>
                  <a:lnTo>
                    <a:pt x="932791" y="772678"/>
                  </a:lnTo>
                  <a:lnTo>
                    <a:pt x="906769" y="810276"/>
                  </a:lnTo>
                  <a:lnTo>
                    <a:pt x="877535" y="845298"/>
                  </a:lnTo>
                  <a:lnTo>
                    <a:pt x="845302" y="877532"/>
                  </a:lnTo>
                  <a:lnTo>
                    <a:pt x="810279" y="906766"/>
                  </a:lnTo>
                  <a:lnTo>
                    <a:pt x="772680" y="932789"/>
                  </a:lnTo>
                  <a:lnTo>
                    <a:pt x="732715" y="955389"/>
                  </a:lnTo>
                  <a:lnTo>
                    <a:pt x="690596" y="974354"/>
                  </a:lnTo>
                  <a:lnTo>
                    <a:pt x="646535" y="989473"/>
                  </a:lnTo>
                  <a:lnTo>
                    <a:pt x="600743" y="1000534"/>
                  </a:lnTo>
                  <a:lnTo>
                    <a:pt x="553431" y="1007326"/>
                  </a:lnTo>
                  <a:lnTo>
                    <a:pt x="504812" y="1009637"/>
                  </a:lnTo>
                  <a:lnTo>
                    <a:pt x="456197" y="1007326"/>
                  </a:lnTo>
                  <a:lnTo>
                    <a:pt x="408888" y="1000534"/>
                  </a:lnTo>
                  <a:lnTo>
                    <a:pt x="363099" y="989473"/>
                  </a:lnTo>
                  <a:lnTo>
                    <a:pt x="319040" y="974354"/>
                  </a:lnTo>
                  <a:lnTo>
                    <a:pt x="276923" y="955389"/>
                  </a:lnTo>
                  <a:lnTo>
                    <a:pt x="236959" y="932789"/>
                  </a:lnTo>
                  <a:lnTo>
                    <a:pt x="199360" y="906766"/>
                  </a:lnTo>
                  <a:lnTo>
                    <a:pt x="164338" y="877532"/>
                  </a:lnTo>
                  <a:lnTo>
                    <a:pt x="132104" y="845298"/>
                  </a:lnTo>
                  <a:lnTo>
                    <a:pt x="102870" y="810276"/>
                  </a:lnTo>
                  <a:lnTo>
                    <a:pt x="76847" y="772678"/>
                  </a:lnTo>
                  <a:lnTo>
                    <a:pt x="54248" y="732714"/>
                  </a:lnTo>
                  <a:lnTo>
                    <a:pt x="35283" y="690596"/>
                  </a:lnTo>
                  <a:lnTo>
                    <a:pt x="20164" y="646537"/>
                  </a:lnTo>
                  <a:lnTo>
                    <a:pt x="9102" y="600748"/>
                  </a:lnTo>
                  <a:lnTo>
                    <a:pt x="2310" y="553440"/>
                  </a:lnTo>
                  <a:lnTo>
                    <a:pt x="0" y="504825"/>
                  </a:lnTo>
                  <a:lnTo>
                    <a:pt x="2310" y="456207"/>
                  </a:lnTo>
                  <a:lnTo>
                    <a:pt x="9102" y="408897"/>
                  </a:lnTo>
                  <a:lnTo>
                    <a:pt x="20164" y="363106"/>
                  </a:lnTo>
                  <a:lnTo>
                    <a:pt x="35283" y="319045"/>
                  </a:lnTo>
                  <a:lnTo>
                    <a:pt x="54248" y="276927"/>
                  </a:lnTo>
                  <a:lnTo>
                    <a:pt x="76847" y="236962"/>
                  </a:lnTo>
                  <a:lnTo>
                    <a:pt x="102870" y="199363"/>
                  </a:lnTo>
                  <a:lnTo>
                    <a:pt x="132104" y="164340"/>
                  </a:lnTo>
                  <a:lnTo>
                    <a:pt x="164338" y="132105"/>
                  </a:lnTo>
                  <a:lnTo>
                    <a:pt x="199360" y="102871"/>
                  </a:lnTo>
                  <a:lnTo>
                    <a:pt x="236959" y="76848"/>
                  </a:lnTo>
                  <a:lnTo>
                    <a:pt x="276923" y="54248"/>
                  </a:lnTo>
                  <a:lnTo>
                    <a:pt x="319040" y="35283"/>
                  </a:lnTo>
                  <a:lnTo>
                    <a:pt x="363099" y="20164"/>
                  </a:lnTo>
                  <a:lnTo>
                    <a:pt x="408888" y="9102"/>
                  </a:lnTo>
                  <a:lnTo>
                    <a:pt x="456197" y="2310"/>
                  </a:lnTo>
                  <a:lnTo>
                    <a:pt x="504812" y="0"/>
                  </a:lnTo>
                  <a:lnTo>
                    <a:pt x="553431" y="2310"/>
                  </a:lnTo>
                  <a:lnTo>
                    <a:pt x="600743" y="9102"/>
                  </a:lnTo>
                  <a:lnTo>
                    <a:pt x="646535" y="20164"/>
                  </a:lnTo>
                  <a:lnTo>
                    <a:pt x="690596" y="35283"/>
                  </a:lnTo>
                  <a:lnTo>
                    <a:pt x="732715" y="54248"/>
                  </a:lnTo>
                  <a:lnTo>
                    <a:pt x="772680" y="76848"/>
                  </a:lnTo>
                  <a:lnTo>
                    <a:pt x="810279" y="102871"/>
                  </a:lnTo>
                  <a:lnTo>
                    <a:pt x="845302" y="132105"/>
                  </a:lnTo>
                  <a:lnTo>
                    <a:pt x="877535" y="164340"/>
                  </a:lnTo>
                  <a:lnTo>
                    <a:pt x="906769" y="199363"/>
                  </a:lnTo>
                  <a:lnTo>
                    <a:pt x="932791" y="236962"/>
                  </a:lnTo>
                  <a:lnTo>
                    <a:pt x="955391" y="276927"/>
                  </a:lnTo>
                  <a:lnTo>
                    <a:pt x="974355" y="319045"/>
                  </a:lnTo>
                  <a:lnTo>
                    <a:pt x="989474" y="363106"/>
                  </a:lnTo>
                  <a:lnTo>
                    <a:pt x="1000534" y="408897"/>
                  </a:lnTo>
                  <a:lnTo>
                    <a:pt x="1007326" y="456207"/>
                  </a:lnTo>
                  <a:lnTo>
                    <a:pt x="1009637" y="504825"/>
                  </a:lnTo>
                  <a:close/>
                </a:path>
              </a:pathLst>
            </a:custGeom>
            <a:solidFill>
              <a:schemeClr val="bg1"/>
            </a:solidFill>
            <a:ln w="12700">
              <a:solidFill>
                <a:srgbClr val="0046BA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3B3B3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80" name="object 47">
              <a:extLst>
                <a:ext uri="{FF2B5EF4-FFF2-40B4-BE49-F238E27FC236}">
                  <a16:creationId xmlns:a16="http://schemas.microsoft.com/office/drawing/2014/main" id="{E2331473-83A3-0640-821D-C2FF11C51AEE}"/>
                </a:ext>
              </a:extLst>
            </p:cNvPr>
            <p:cNvSpPr/>
            <p:nvPr userDrawn="1"/>
          </p:nvSpPr>
          <p:spPr>
            <a:xfrm>
              <a:off x="10939138" y="1509967"/>
              <a:ext cx="648000" cy="648000"/>
            </a:xfrm>
            <a:custGeom>
              <a:avLst/>
              <a:gdLst/>
              <a:ahLst/>
              <a:cxnLst/>
              <a:rect l="l" t="t" r="r" b="b"/>
              <a:pathLst>
                <a:path w="836294" h="836294">
                  <a:moveTo>
                    <a:pt x="417944" y="0"/>
                  </a:moveTo>
                  <a:lnTo>
                    <a:pt x="369203" y="2811"/>
                  </a:lnTo>
                  <a:lnTo>
                    <a:pt x="322114" y="11038"/>
                  </a:lnTo>
                  <a:lnTo>
                    <a:pt x="276989" y="24365"/>
                  </a:lnTo>
                  <a:lnTo>
                    <a:pt x="234143" y="42480"/>
                  </a:lnTo>
                  <a:lnTo>
                    <a:pt x="193890" y="65069"/>
                  </a:lnTo>
                  <a:lnTo>
                    <a:pt x="156542" y="91818"/>
                  </a:lnTo>
                  <a:lnTo>
                    <a:pt x="122413" y="122413"/>
                  </a:lnTo>
                  <a:lnTo>
                    <a:pt x="91818" y="156542"/>
                  </a:lnTo>
                  <a:lnTo>
                    <a:pt x="65069" y="193890"/>
                  </a:lnTo>
                  <a:lnTo>
                    <a:pt x="42480" y="234143"/>
                  </a:lnTo>
                  <a:lnTo>
                    <a:pt x="24365" y="276989"/>
                  </a:lnTo>
                  <a:lnTo>
                    <a:pt x="11038" y="322114"/>
                  </a:lnTo>
                  <a:lnTo>
                    <a:pt x="2811" y="369203"/>
                  </a:lnTo>
                  <a:lnTo>
                    <a:pt x="0" y="417944"/>
                  </a:lnTo>
                  <a:lnTo>
                    <a:pt x="2811" y="466685"/>
                  </a:lnTo>
                  <a:lnTo>
                    <a:pt x="11038" y="513774"/>
                  </a:lnTo>
                  <a:lnTo>
                    <a:pt x="24365" y="558898"/>
                  </a:lnTo>
                  <a:lnTo>
                    <a:pt x="42480" y="601744"/>
                  </a:lnTo>
                  <a:lnTo>
                    <a:pt x="65069" y="641998"/>
                  </a:lnTo>
                  <a:lnTo>
                    <a:pt x="91818" y="679346"/>
                  </a:lnTo>
                  <a:lnTo>
                    <a:pt x="122413" y="713474"/>
                  </a:lnTo>
                  <a:lnTo>
                    <a:pt x="156542" y="744070"/>
                  </a:lnTo>
                  <a:lnTo>
                    <a:pt x="193890" y="770819"/>
                  </a:lnTo>
                  <a:lnTo>
                    <a:pt x="234143" y="793407"/>
                  </a:lnTo>
                  <a:lnTo>
                    <a:pt x="276989" y="811522"/>
                  </a:lnTo>
                  <a:lnTo>
                    <a:pt x="322114" y="824850"/>
                  </a:lnTo>
                  <a:lnTo>
                    <a:pt x="369203" y="833076"/>
                  </a:lnTo>
                  <a:lnTo>
                    <a:pt x="417944" y="835888"/>
                  </a:lnTo>
                  <a:lnTo>
                    <a:pt x="466685" y="833076"/>
                  </a:lnTo>
                  <a:lnTo>
                    <a:pt x="513774" y="824850"/>
                  </a:lnTo>
                  <a:lnTo>
                    <a:pt x="558898" y="811522"/>
                  </a:lnTo>
                  <a:lnTo>
                    <a:pt x="601744" y="793407"/>
                  </a:lnTo>
                  <a:lnTo>
                    <a:pt x="641998" y="770819"/>
                  </a:lnTo>
                  <a:lnTo>
                    <a:pt x="679346" y="744070"/>
                  </a:lnTo>
                  <a:lnTo>
                    <a:pt x="713474" y="713474"/>
                  </a:lnTo>
                  <a:lnTo>
                    <a:pt x="744070" y="679346"/>
                  </a:lnTo>
                  <a:lnTo>
                    <a:pt x="770819" y="641998"/>
                  </a:lnTo>
                  <a:lnTo>
                    <a:pt x="793407" y="601744"/>
                  </a:lnTo>
                  <a:lnTo>
                    <a:pt x="811522" y="558898"/>
                  </a:lnTo>
                  <a:lnTo>
                    <a:pt x="824850" y="513774"/>
                  </a:lnTo>
                  <a:lnTo>
                    <a:pt x="833076" y="466685"/>
                  </a:lnTo>
                  <a:lnTo>
                    <a:pt x="835888" y="417944"/>
                  </a:lnTo>
                  <a:lnTo>
                    <a:pt x="833076" y="369203"/>
                  </a:lnTo>
                  <a:lnTo>
                    <a:pt x="824850" y="322114"/>
                  </a:lnTo>
                  <a:lnTo>
                    <a:pt x="811522" y="276989"/>
                  </a:lnTo>
                  <a:lnTo>
                    <a:pt x="793407" y="234143"/>
                  </a:lnTo>
                  <a:lnTo>
                    <a:pt x="770819" y="193890"/>
                  </a:lnTo>
                  <a:lnTo>
                    <a:pt x="744070" y="156542"/>
                  </a:lnTo>
                  <a:lnTo>
                    <a:pt x="713474" y="122413"/>
                  </a:lnTo>
                  <a:lnTo>
                    <a:pt x="679346" y="91818"/>
                  </a:lnTo>
                  <a:lnTo>
                    <a:pt x="641998" y="65069"/>
                  </a:lnTo>
                  <a:lnTo>
                    <a:pt x="601744" y="42480"/>
                  </a:lnTo>
                  <a:lnTo>
                    <a:pt x="558898" y="24365"/>
                  </a:lnTo>
                  <a:lnTo>
                    <a:pt x="513774" y="11038"/>
                  </a:lnTo>
                  <a:lnTo>
                    <a:pt x="466685" y="2811"/>
                  </a:lnTo>
                  <a:lnTo>
                    <a:pt x="417944" y="0"/>
                  </a:lnTo>
                  <a:close/>
                </a:path>
              </a:pathLst>
            </a:custGeom>
            <a:solidFill>
              <a:srgbClr val="EEDC00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srgbClr val="3B3B3A"/>
                </a:solidFill>
                <a:effectLst/>
                <a:uLnTx/>
                <a:uFillTx/>
                <a:latin typeface="Avenir Next LT Pro" panose="020B0504020202020204" pitchFamily="34" charset="77"/>
                <a:ea typeface="+mn-ea"/>
                <a:cs typeface="+mn-cs"/>
              </a:endParaRPr>
            </a:p>
          </p:txBody>
        </p:sp>
      </p:grpSp>
      <p:cxnSp>
        <p:nvCxnSpPr>
          <p:cNvPr id="81" name="Connettore 1 46">
            <a:extLst>
              <a:ext uri="{FF2B5EF4-FFF2-40B4-BE49-F238E27FC236}">
                <a16:creationId xmlns:a16="http://schemas.microsoft.com/office/drawing/2014/main" id="{2FA7C8DF-525A-C541-A3A7-6525EE0C879C}"/>
              </a:ext>
            </a:extLst>
          </p:cNvPr>
          <p:cNvCxnSpPr>
            <a:cxnSpLocks/>
          </p:cNvCxnSpPr>
          <p:nvPr/>
        </p:nvCxnSpPr>
        <p:spPr>
          <a:xfrm>
            <a:off x="6727582" y="1890788"/>
            <a:ext cx="4140000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Segnaposto titolo 1">
            <a:extLst>
              <a:ext uri="{FF2B5EF4-FFF2-40B4-BE49-F238E27FC236}">
                <a16:creationId xmlns:a16="http://schemas.microsoft.com/office/drawing/2014/main" id="{24ED688E-6689-2E42-A930-4E93667714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7394" y="504194"/>
            <a:ext cx="10515600" cy="725421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it-IT"/>
              <a:t>Fare clic per modificare lo stile del titolo dello schema</a:t>
            </a:r>
            <a:endParaRPr lang="it-IT" dirty="0"/>
          </a:p>
        </p:txBody>
      </p:sp>
      <p:sp>
        <p:nvSpPr>
          <p:cNvPr id="2" name="CasellaDiTesto 1">
            <a:extLst>
              <a:ext uri="{FF2B5EF4-FFF2-40B4-BE49-F238E27FC236}">
                <a16:creationId xmlns:a16="http://schemas.microsoft.com/office/drawing/2014/main" id="{3523720B-FFCD-8706-44A5-0AB4B46DCF3C}"/>
              </a:ext>
            </a:extLst>
          </p:cNvPr>
          <p:cNvSpPr txBox="1"/>
          <p:nvPr userDrawn="1"/>
        </p:nvSpPr>
        <p:spPr>
          <a:xfrm>
            <a:off x="3916392" y="6623540"/>
            <a:ext cx="739499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it-IT" sz="800" i="1" dirty="0"/>
              <a:t>Documento ad uso esclusivamente interno, da intendersi come strettamente riservato; non è autorizzata la trasmissione ad altri e la divulgazione all’esterno.</a:t>
            </a:r>
            <a:endParaRPr lang="en-US" sz="800" i="1" dirty="0"/>
          </a:p>
        </p:txBody>
      </p:sp>
    </p:spTree>
    <p:extLst>
      <p:ext uri="{BB962C8B-B14F-4D97-AF65-F5344CB8AC3E}">
        <p14:creationId xmlns:p14="http://schemas.microsoft.com/office/powerpoint/2010/main" val="57829459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Immagine Pagina Inter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egnaposto immagine 4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4000" baseline="0"/>
            </a:lvl1pPr>
          </a:lstStyle>
          <a:p>
            <a:r>
              <a:rPr lang="it-IT" dirty="0"/>
              <a:t>IMMAGINE A PAGINA INTERA</a:t>
            </a:r>
          </a:p>
          <a:p>
            <a:r>
              <a:rPr lang="it-IT" dirty="0"/>
              <a:t>Cliccare per inserire</a:t>
            </a:r>
          </a:p>
        </p:txBody>
      </p:sp>
    </p:spTree>
    <p:extLst>
      <p:ext uri="{BB962C8B-B14F-4D97-AF65-F5344CB8AC3E}">
        <p14:creationId xmlns:p14="http://schemas.microsoft.com/office/powerpoint/2010/main" val="29305474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agina gereric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object 46">
            <a:extLst>
              <a:ext uri="{FF2B5EF4-FFF2-40B4-BE49-F238E27FC236}">
                <a16:creationId xmlns:a16="http://schemas.microsoft.com/office/drawing/2014/main" id="{99828EB8-DC33-4D2E-AB16-2B234973DAE2}"/>
              </a:ext>
            </a:extLst>
          </p:cNvPr>
          <p:cNvSpPr>
            <a:spLocks noChangeAspect="1"/>
          </p:cNvSpPr>
          <p:nvPr/>
        </p:nvSpPr>
        <p:spPr>
          <a:xfrm>
            <a:off x="633940" y="1509967"/>
            <a:ext cx="756000" cy="756000"/>
          </a:xfrm>
          <a:custGeom>
            <a:avLst/>
            <a:gdLst/>
            <a:ahLst/>
            <a:cxnLst/>
            <a:rect l="l" t="t" r="r" b="b"/>
            <a:pathLst>
              <a:path w="1009650" h="1009650">
                <a:moveTo>
                  <a:pt x="1009637" y="504825"/>
                </a:moveTo>
                <a:lnTo>
                  <a:pt x="1007326" y="553440"/>
                </a:lnTo>
                <a:lnTo>
                  <a:pt x="1000534" y="600748"/>
                </a:lnTo>
                <a:lnTo>
                  <a:pt x="989474" y="646537"/>
                </a:lnTo>
                <a:lnTo>
                  <a:pt x="974355" y="690596"/>
                </a:lnTo>
                <a:lnTo>
                  <a:pt x="955391" y="732714"/>
                </a:lnTo>
                <a:lnTo>
                  <a:pt x="932791" y="772678"/>
                </a:lnTo>
                <a:lnTo>
                  <a:pt x="906769" y="810276"/>
                </a:lnTo>
                <a:lnTo>
                  <a:pt x="877535" y="845298"/>
                </a:lnTo>
                <a:lnTo>
                  <a:pt x="845302" y="877532"/>
                </a:lnTo>
                <a:lnTo>
                  <a:pt x="810279" y="906766"/>
                </a:lnTo>
                <a:lnTo>
                  <a:pt x="772680" y="932789"/>
                </a:lnTo>
                <a:lnTo>
                  <a:pt x="732715" y="955389"/>
                </a:lnTo>
                <a:lnTo>
                  <a:pt x="690596" y="974354"/>
                </a:lnTo>
                <a:lnTo>
                  <a:pt x="646535" y="989473"/>
                </a:lnTo>
                <a:lnTo>
                  <a:pt x="600743" y="1000534"/>
                </a:lnTo>
                <a:lnTo>
                  <a:pt x="553431" y="1007326"/>
                </a:lnTo>
                <a:lnTo>
                  <a:pt x="504812" y="1009637"/>
                </a:lnTo>
                <a:lnTo>
                  <a:pt x="456197" y="1007326"/>
                </a:lnTo>
                <a:lnTo>
                  <a:pt x="408888" y="1000534"/>
                </a:lnTo>
                <a:lnTo>
                  <a:pt x="363099" y="989473"/>
                </a:lnTo>
                <a:lnTo>
                  <a:pt x="319040" y="974354"/>
                </a:lnTo>
                <a:lnTo>
                  <a:pt x="276923" y="955389"/>
                </a:lnTo>
                <a:lnTo>
                  <a:pt x="236959" y="932789"/>
                </a:lnTo>
                <a:lnTo>
                  <a:pt x="199360" y="906766"/>
                </a:lnTo>
                <a:lnTo>
                  <a:pt x="164338" y="877532"/>
                </a:lnTo>
                <a:lnTo>
                  <a:pt x="132104" y="845298"/>
                </a:lnTo>
                <a:lnTo>
                  <a:pt x="102870" y="810276"/>
                </a:lnTo>
                <a:lnTo>
                  <a:pt x="76847" y="772678"/>
                </a:lnTo>
                <a:lnTo>
                  <a:pt x="54248" y="732714"/>
                </a:lnTo>
                <a:lnTo>
                  <a:pt x="35283" y="690596"/>
                </a:lnTo>
                <a:lnTo>
                  <a:pt x="20164" y="646537"/>
                </a:lnTo>
                <a:lnTo>
                  <a:pt x="9102" y="600748"/>
                </a:lnTo>
                <a:lnTo>
                  <a:pt x="2310" y="553440"/>
                </a:lnTo>
                <a:lnTo>
                  <a:pt x="0" y="504825"/>
                </a:lnTo>
                <a:lnTo>
                  <a:pt x="2310" y="456207"/>
                </a:lnTo>
                <a:lnTo>
                  <a:pt x="9102" y="408897"/>
                </a:lnTo>
                <a:lnTo>
                  <a:pt x="20164" y="363106"/>
                </a:lnTo>
                <a:lnTo>
                  <a:pt x="35283" y="319045"/>
                </a:lnTo>
                <a:lnTo>
                  <a:pt x="54248" y="276927"/>
                </a:lnTo>
                <a:lnTo>
                  <a:pt x="76847" y="236962"/>
                </a:lnTo>
                <a:lnTo>
                  <a:pt x="102870" y="199363"/>
                </a:lnTo>
                <a:lnTo>
                  <a:pt x="132104" y="164340"/>
                </a:lnTo>
                <a:lnTo>
                  <a:pt x="164338" y="132105"/>
                </a:lnTo>
                <a:lnTo>
                  <a:pt x="199360" y="102871"/>
                </a:lnTo>
                <a:lnTo>
                  <a:pt x="236959" y="76848"/>
                </a:lnTo>
                <a:lnTo>
                  <a:pt x="276923" y="54248"/>
                </a:lnTo>
                <a:lnTo>
                  <a:pt x="319040" y="35283"/>
                </a:lnTo>
                <a:lnTo>
                  <a:pt x="363099" y="20164"/>
                </a:lnTo>
                <a:lnTo>
                  <a:pt x="408888" y="9102"/>
                </a:lnTo>
                <a:lnTo>
                  <a:pt x="456197" y="2310"/>
                </a:lnTo>
                <a:lnTo>
                  <a:pt x="504812" y="0"/>
                </a:lnTo>
                <a:lnTo>
                  <a:pt x="553431" y="2310"/>
                </a:lnTo>
                <a:lnTo>
                  <a:pt x="600743" y="9102"/>
                </a:lnTo>
                <a:lnTo>
                  <a:pt x="646535" y="20164"/>
                </a:lnTo>
                <a:lnTo>
                  <a:pt x="690596" y="35283"/>
                </a:lnTo>
                <a:lnTo>
                  <a:pt x="732715" y="54248"/>
                </a:lnTo>
                <a:lnTo>
                  <a:pt x="772680" y="76848"/>
                </a:lnTo>
                <a:lnTo>
                  <a:pt x="810279" y="102871"/>
                </a:lnTo>
                <a:lnTo>
                  <a:pt x="845302" y="132105"/>
                </a:lnTo>
                <a:lnTo>
                  <a:pt x="877535" y="164340"/>
                </a:lnTo>
                <a:lnTo>
                  <a:pt x="906769" y="199363"/>
                </a:lnTo>
                <a:lnTo>
                  <a:pt x="932791" y="236962"/>
                </a:lnTo>
                <a:lnTo>
                  <a:pt x="955391" y="276927"/>
                </a:lnTo>
                <a:lnTo>
                  <a:pt x="974355" y="319045"/>
                </a:lnTo>
                <a:lnTo>
                  <a:pt x="989474" y="363106"/>
                </a:lnTo>
                <a:lnTo>
                  <a:pt x="1000534" y="408897"/>
                </a:lnTo>
                <a:lnTo>
                  <a:pt x="1007326" y="456207"/>
                </a:lnTo>
                <a:lnTo>
                  <a:pt x="1009637" y="504825"/>
                </a:lnTo>
                <a:close/>
              </a:path>
            </a:pathLst>
          </a:custGeom>
          <a:solidFill>
            <a:schemeClr val="bg1"/>
          </a:solidFill>
          <a:ln w="12700">
            <a:solidFill>
              <a:srgbClr val="0046BA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3B3B3A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7" name="bg object 16">
            <a:extLst>
              <a:ext uri="{FF2B5EF4-FFF2-40B4-BE49-F238E27FC236}">
                <a16:creationId xmlns:a16="http://schemas.microsoft.com/office/drawing/2014/main" id="{BCFAEBF8-790C-A54A-9E47-3E3639BCC461}"/>
              </a:ext>
            </a:extLst>
          </p:cNvPr>
          <p:cNvSpPr/>
          <p:nvPr/>
        </p:nvSpPr>
        <p:spPr>
          <a:xfrm>
            <a:off x="11330381" y="6448615"/>
            <a:ext cx="311785" cy="410845"/>
          </a:xfrm>
          <a:custGeom>
            <a:avLst/>
            <a:gdLst/>
            <a:ahLst/>
            <a:cxnLst/>
            <a:rect l="l" t="t" r="r" b="b"/>
            <a:pathLst>
              <a:path w="311784" h="410845">
                <a:moveTo>
                  <a:pt x="311645" y="0"/>
                </a:moveTo>
                <a:lnTo>
                  <a:pt x="0" y="0"/>
                </a:lnTo>
                <a:lnTo>
                  <a:pt x="0" y="410438"/>
                </a:lnTo>
                <a:lnTo>
                  <a:pt x="311645" y="410438"/>
                </a:lnTo>
                <a:lnTo>
                  <a:pt x="311645" y="0"/>
                </a:lnTo>
                <a:close/>
              </a:path>
            </a:pathLst>
          </a:custGeom>
          <a:solidFill>
            <a:srgbClr val="0047B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" name="Holder 7">
            <a:extLst>
              <a:ext uri="{FF2B5EF4-FFF2-40B4-BE49-F238E27FC236}">
                <a16:creationId xmlns:a16="http://schemas.microsoft.com/office/drawing/2014/main" id="{EADEFA5D-780C-4841-8968-F8DA8FB77458}"/>
              </a:ext>
            </a:extLst>
          </p:cNvPr>
          <p:cNvSpPr txBox="1">
            <a:spLocks/>
          </p:cNvSpPr>
          <p:nvPr/>
        </p:nvSpPr>
        <p:spPr>
          <a:xfrm>
            <a:off x="11342726" y="6520516"/>
            <a:ext cx="256044" cy="16158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it-IT"/>
            </a:defPPr>
            <a:lvl1pPr marL="0" algn="l" defTabSz="914400" rtl="0" eaLnBrk="1" latinLnBrk="0" hangingPunct="1">
              <a:defRPr sz="850" b="1" i="0" kern="1200">
                <a:solidFill>
                  <a:schemeClr val="bg1"/>
                </a:solidFill>
                <a:latin typeface="Verdana"/>
                <a:ea typeface="+mn-ea"/>
                <a:cs typeface="Verdana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8100" algn="ctr">
              <a:spcBef>
                <a:spcPts val="105"/>
              </a:spcBef>
            </a:pPr>
            <a:fld id="{81D60167-4931-47E6-BA6A-407CBD079E47}" type="slidenum">
              <a:rPr lang="it-IT" sz="1050" b="0" i="0" spc="5" smtClean="0">
                <a:latin typeface="Avenir Next LT Pro" pitchFamily="2" charset="0"/>
              </a:rPr>
              <a:pPr marL="38100" algn="ctr">
                <a:spcBef>
                  <a:spcPts val="105"/>
                </a:spcBef>
              </a:pPr>
              <a:t>‹N›</a:t>
            </a:fld>
            <a:endParaRPr lang="it-IT" sz="1050" b="0" i="0" spc="5" dirty="0">
              <a:latin typeface="Avenir Next LT Pro" pitchFamily="2" charset="0"/>
            </a:endParaRPr>
          </a:p>
        </p:txBody>
      </p:sp>
      <p:sp>
        <p:nvSpPr>
          <p:cNvPr id="6" name="Triangolo isoscele 16">
            <a:extLst>
              <a:ext uri="{FF2B5EF4-FFF2-40B4-BE49-F238E27FC236}">
                <a16:creationId xmlns:a16="http://schemas.microsoft.com/office/drawing/2014/main" id="{8A368720-335F-0F45-860A-0606EE42684C}"/>
              </a:ext>
            </a:extLst>
          </p:cNvPr>
          <p:cNvSpPr/>
          <p:nvPr/>
        </p:nvSpPr>
        <p:spPr>
          <a:xfrm rot="10800000">
            <a:off x="303127" y="-324737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7" name="Triangolo isoscele 17">
            <a:extLst>
              <a:ext uri="{FF2B5EF4-FFF2-40B4-BE49-F238E27FC236}">
                <a16:creationId xmlns:a16="http://schemas.microsoft.com/office/drawing/2014/main" id="{E2772AA6-60C9-0B42-835F-13797EE9ED3C}"/>
              </a:ext>
            </a:extLst>
          </p:cNvPr>
          <p:cNvSpPr/>
          <p:nvPr/>
        </p:nvSpPr>
        <p:spPr>
          <a:xfrm rot="10800000">
            <a:off x="11756536" y="-324737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8" name="Triangolo isoscele 18">
            <a:extLst>
              <a:ext uri="{FF2B5EF4-FFF2-40B4-BE49-F238E27FC236}">
                <a16:creationId xmlns:a16="http://schemas.microsoft.com/office/drawing/2014/main" id="{C7BF371F-A6F2-FD41-82B8-D9B554CACAF1}"/>
              </a:ext>
            </a:extLst>
          </p:cNvPr>
          <p:cNvSpPr/>
          <p:nvPr/>
        </p:nvSpPr>
        <p:spPr>
          <a:xfrm>
            <a:off x="303127" y="6950754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9" name="Triangolo isoscele 19">
            <a:extLst>
              <a:ext uri="{FF2B5EF4-FFF2-40B4-BE49-F238E27FC236}">
                <a16:creationId xmlns:a16="http://schemas.microsoft.com/office/drawing/2014/main" id="{FCEF8EFB-88B6-D747-9382-15136CFCC56E}"/>
              </a:ext>
            </a:extLst>
          </p:cNvPr>
          <p:cNvSpPr/>
          <p:nvPr/>
        </p:nvSpPr>
        <p:spPr>
          <a:xfrm>
            <a:off x="11756536" y="6950754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10" name="Triangolo isoscele 20">
            <a:extLst>
              <a:ext uri="{FF2B5EF4-FFF2-40B4-BE49-F238E27FC236}">
                <a16:creationId xmlns:a16="http://schemas.microsoft.com/office/drawing/2014/main" id="{47007676-0BFD-5F42-846B-AA823A1BFA60}"/>
              </a:ext>
            </a:extLst>
          </p:cNvPr>
          <p:cNvSpPr/>
          <p:nvPr/>
        </p:nvSpPr>
        <p:spPr>
          <a:xfrm rot="5400000">
            <a:off x="-276040" y="885372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11" name="Triangolo isoscele 21">
            <a:extLst>
              <a:ext uri="{FF2B5EF4-FFF2-40B4-BE49-F238E27FC236}">
                <a16:creationId xmlns:a16="http://schemas.microsoft.com/office/drawing/2014/main" id="{9F8B8967-D8B7-EF40-A160-9FD75894783B}"/>
              </a:ext>
            </a:extLst>
          </p:cNvPr>
          <p:cNvSpPr/>
          <p:nvPr/>
        </p:nvSpPr>
        <p:spPr>
          <a:xfrm rot="5400000">
            <a:off x="-276039" y="5982836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12" name="Triangolo isoscele 22">
            <a:extLst>
              <a:ext uri="{FF2B5EF4-FFF2-40B4-BE49-F238E27FC236}">
                <a16:creationId xmlns:a16="http://schemas.microsoft.com/office/drawing/2014/main" id="{58B46DE6-6338-7140-8CA8-25EC1DE4AEB7}"/>
              </a:ext>
            </a:extLst>
          </p:cNvPr>
          <p:cNvSpPr/>
          <p:nvPr/>
        </p:nvSpPr>
        <p:spPr>
          <a:xfrm rot="16200000">
            <a:off x="12331119" y="885372"/>
            <a:ext cx="132336" cy="261257"/>
          </a:xfrm>
          <a:prstGeom prst="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13" name="Triangolo isoscele 23">
            <a:extLst>
              <a:ext uri="{FF2B5EF4-FFF2-40B4-BE49-F238E27FC236}">
                <a16:creationId xmlns:a16="http://schemas.microsoft.com/office/drawing/2014/main" id="{BA951F18-3E6B-F245-B833-D4E6A22CAE34}"/>
              </a:ext>
            </a:extLst>
          </p:cNvPr>
          <p:cNvSpPr/>
          <p:nvPr/>
        </p:nvSpPr>
        <p:spPr>
          <a:xfrm rot="16200000">
            <a:off x="12331120" y="5982836"/>
            <a:ext cx="132336" cy="261257"/>
          </a:xfrm>
          <a:prstGeom prst="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14" name="Triangolo isoscele 31">
            <a:extLst>
              <a:ext uri="{FF2B5EF4-FFF2-40B4-BE49-F238E27FC236}">
                <a16:creationId xmlns:a16="http://schemas.microsoft.com/office/drawing/2014/main" id="{07246241-C678-DB48-84D0-2C7143C6A157}"/>
              </a:ext>
            </a:extLst>
          </p:cNvPr>
          <p:cNvSpPr/>
          <p:nvPr/>
        </p:nvSpPr>
        <p:spPr>
          <a:xfrm rot="10800000">
            <a:off x="303127" y="-324737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15" name="Triangolo isoscele 32">
            <a:extLst>
              <a:ext uri="{FF2B5EF4-FFF2-40B4-BE49-F238E27FC236}">
                <a16:creationId xmlns:a16="http://schemas.microsoft.com/office/drawing/2014/main" id="{A3BC8E3A-7E5D-BE49-8DBD-35856251134F}"/>
              </a:ext>
            </a:extLst>
          </p:cNvPr>
          <p:cNvSpPr/>
          <p:nvPr/>
        </p:nvSpPr>
        <p:spPr>
          <a:xfrm rot="10800000">
            <a:off x="11756536" y="-324737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16" name="Triangolo isoscele 33">
            <a:extLst>
              <a:ext uri="{FF2B5EF4-FFF2-40B4-BE49-F238E27FC236}">
                <a16:creationId xmlns:a16="http://schemas.microsoft.com/office/drawing/2014/main" id="{E9B5EA53-1DC4-1940-8594-3256ADD5AE0C}"/>
              </a:ext>
            </a:extLst>
          </p:cNvPr>
          <p:cNvSpPr/>
          <p:nvPr/>
        </p:nvSpPr>
        <p:spPr>
          <a:xfrm>
            <a:off x="303127" y="6950754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21" name="Triangolo isoscele 34">
            <a:extLst>
              <a:ext uri="{FF2B5EF4-FFF2-40B4-BE49-F238E27FC236}">
                <a16:creationId xmlns:a16="http://schemas.microsoft.com/office/drawing/2014/main" id="{749E0E17-FFD8-164C-B560-1DFF3FBB41DF}"/>
              </a:ext>
            </a:extLst>
          </p:cNvPr>
          <p:cNvSpPr/>
          <p:nvPr/>
        </p:nvSpPr>
        <p:spPr>
          <a:xfrm>
            <a:off x="11756536" y="6950754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22" name="Triangolo isoscele 35">
            <a:extLst>
              <a:ext uri="{FF2B5EF4-FFF2-40B4-BE49-F238E27FC236}">
                <a16:creationId xmlns:a16="http://schemas.microsoft.com/office/drawing/2014/main" id="{2449D32D-31E9-1E41-8135-CF757AF1ADCB}"/>
              </a:ext>
            </a:extLst>
          </p:cNvPr>
          <p:cNvSpPr/>
          <p:nvPr/>
        </p:nvSpPr>
        <p:spPr>
          <a:xfrm rot="5400000">
            <a:off x="-276040" y="885372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23" name="Triangolo isoscele 36">
            <a:extLst>
              <a:ext uri="{FF2B5EF4-FFF2-40B4-BE49-F238E27FC236}">
                <a16:creationId xmlns:a16="http://schemas.microsoft.com/office/drawing/2014/main" id="{92505FB0-1068-1143-AB9B-F5A849D826DE}"/>
              </a:ext>
            </a:extLst>
          </p:cNvPr>
          <p:cNvSpPr/>
          <p:nvPr/>
        </p:nvSpPr>
        <p:spPr>
          <a:xfrm rot="5400000">
            <a:off x="-276039" y="5982836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24" name="Triangolo isoscele 37">
            <a:extLst>
              <a:ext uri="{FF2B5EF4-FFF2-40B4-BE49-F238E27FC236}">
                <a16:creationId xmlns:a16="http://schemas.microsoft.com/office/drawing/2014/main" id="{D60FCBF0-3D48-CF40-ABA6-F53B703D88CA}"/>
              </a:ext>
            </a:extLst>
          </p:cNvPr>
          <p:cNvSpPr/>
          <p:nvPr/>
        </p:nvSpPr>
        <p:spPr>
          <a:xfrm rot="16200000">
            <a:off x="12331119" y="885372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25" name="Triangolo isoscele 38">
            <a:extLst>
              <a:ext uri="{FF2B5EF4-FFF2-40B4-BE49-F238E27FC236}">
                <a16:creationId xmlns:a16="http://schemas.microsoft.com/office/drawing/2014/main" id="{95E14022-E59F-9F4C-998B-8575096AA6A0}"/>
              </a:ext>
            </a:extLst>
          </p:cNvPr>
          <p:cNvSpPr/>
          <p:nvPr/>
        </p:nvSpPr>
        <p:spPr>
          <a:xfrm rot="16200000">
            <a:off x="12331120" y="5982836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pic>
        <p:nvPicPr>
          <p:cNvPr id="36" name="Elemento grafico 35">
            <a:extLst>
              <a:ext uri="{FF2B5EF4-FFF2-40B4-BE49-F238E27FC236}">
                <a16:creationId xmlns:a16="http://schemas.microsoft.com/office/drawing/2014/main" id="{9531B5A1-7BA2-E141-B54D-FEC62D4B762E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081892" y="-5080"/>
            <a:ext cx="1560273" cy="309880"/>
          </a:xfrm>
          <a:prstGeom prst="rect">
            <a:avLst/>
          </a:prstGeom>
        </p:spPr>
      </p:pic>
      <p:sp>
        <p:nvSpPr>
          <p:cNvPr id="37" name="object 267">
            <a:extLst>
              <a:ext uri="{FF2B5EF4-FFF2-40B4-BE49-F238E27FC236}">
                <a16:creationId xmlns:a16="http://schemas.microsoft.com/office/drawing/2014/main" id="{1A701277-6B82-924C-9434-545B7977906E}"/>
              </a:ext>
            </a:extLst>
          </p:cNvPr>
          <p:cNvSpPr/>
          <p:nvPr/>
        </p:nvSpPr>
        <p:spPr>
          <a:xfrm>
            <a:off x="0" y="1251482"/>
            <a:ext cx="675518" cy="45719"/>
          </a:xfrm>
          <a:custGeom>
            <a:avLst/>
            <a:gdLst/>
            <a:ahLst/>
            <a:cxnLst/>
            <a:rect l="l" t="t" r="r" b="b"/>
            <a:pathLst>
              <a:path w="657225">
                <a:moveTo>
                  <a:pt x="0" y="0"/>
                </a:moveTo>
                <a:lnTo>
                  <a:pt x="656678" y="0"/>
                </a:lnTo>
              </a:path>
            </a:pathLst>
          </a:custGeom>
          <a:ln w="76200">
            <a:solidFill>
              <a:srgbClr val="EEDC00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JhengHei UI Light" panose="020B0304030504040204" pitchFamily="34" charset="-120"/>
              <a:ea typeface="Microsoft JhengHei UI Light" panose="020B0304030504040204" pitchFamily="34" charset="-120"/>
              <a:cs typeface="+mn-cs"/>
            </a:endParaRPr>
          </a:p>
        </p:txBody>
      </p:sp>
      <p:sp>
        <p:nvSpPr>
          <p:cNvPr id="34" name="Segnaposto testo 2">
            <a:extLst>
              <a:ext uri="{FF2B5EF4-FFF2-40B4-BE49-F238E27FC236}">
                <a16:creationId xmlns:a16="http://schemas.microsoft.com/office/drawing/2014/main" id="{1B74C236-B652-4041-99ED-254A64385C7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49834" y="503037"/>
            <a:ext cx="10412412" cy="655637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 b="0" i="0">
                <a:solidFill>
                  <a:srgbClr val="0047BB"/>
                </a:solidFill>
                <a:latin typeface="Avenir Next LT Pro" panose="020B0504020202020204" pitchFamily="34" charset="77"/>
              </a:defRPr>
            </a:lvl1pPr>
            <a:lvl2pPr marL="457200" indent="0">
              <a:buNone/>
              <a:defRPr sz="4000" b="0" i="0">
                <a:latin typeface="Avenir Next LT Pro" panose="020B0504020202020204" pitchFamily="34" charset="77"/>
              </a:defRPr>
            </a:lvl2pPr>
            <a:lvl3pPr marL="914400" indent="0">
              <a:buNone/>
              <a:defRPr sz="4000" b="0" i="0">
                <a:latin typeface="Avenir Next LT Pro" panose="020B0504020202020204" pitchFamily="34" charset="77"/>
              </a:defRPr>
            </a:lvl3pPr>
            <a:lvl4pPr marL="1371600" indent="0">
              <a:buNone/>
              <a:defRPr sz="4000" b="0" i="0">
                <a:latin typeface="Avenir Next LT Pro" panose="020B0504020202020204" pitchFamily="34" charset="77"/>
              </a:defRPr>
            </a:lvl4pPr>
            <a:lvl5pPr marL="1828800" indent="0">
              <a:buNone/>
              <a:defRPr sz="4000" b="0" i="0">
                <a:latin typeface="Avenir Next LT Pro" panose="020B0504020202020204" pitchFamily="34" charset="77"/>
              </a:defRPr>
            </a:lvl5pPr>
          </a:lstStyle>
          <a:p>
            <a:pPr lvl="0"/>
            <a:r>
              <a:rPr lang="it-IT" dirty="0"/>
              <a:t>FARE CLIC PER MODIFICARE TITOLO DIAPOSITIVA</a:t>
            </a:r>
          </a:p>
        </p:txBody>
      </p:sp>
      <p:sp>
        <p:nvSpPr>
          <p:cNvPr id="40" name="Segnaposto testo 4">
            <a:extLst>
              <a:ext uri="{FF2B5EF4-FFF2-40B4-BE49-F238E27FC236}">
                <a16:creationId xmlns:a16="http://schemas.microsoft.com/office/drawing/2014/main" id="{597E06C8-CAFB-E24B-A154-8EA093E0C54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49834" y="5917932"/>
            <a:ext cx="9402763" cy="573088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900" b="0" i="0">
                <a:latin typeface="Avenir Next LT Pro" panose="020B0504020202020204" pitchFamily="34" charset="77"/>
              </a:defRPr>
            </a:lvl1pPr>
            <a:lvl2pPr marL="457200" indent="0">
              <a:buNone/>
              <a:defRPr sz="900" b="0" i="0">
                <a:latin typeface="Avenir Next LT Pro" panose="020B0504020202020204" pitchFamily="34" charset="77"/>
              </a:defRPr>
            </a:lvl2pPr>
            <a:lvl3pPr marL="914400" indent="0">
              <a:buNone/>
              <a:defRPr sz="900" b="0" i="0">
                <a:latin typeface="Avenir Next LT Pro" panose="020B0504020202020204" pitchFamily="34" charset="77"/>
              </a:defRPr>
            </a:lvl3pPr>
            <a:lvl4pPr marL="1371600" indent="0">
              <a:buNone/>
              <a:defRPr sz="900" b="0" i="0">
                <a:latin typeface="Avenir Next LT Pro" panose="020B0504020202020204" pitchFamily="34" charset="77"/>
              </a:defRPr>
            </a:lvl4pPr>
            <a:lvl5pPr marL="1828800" indent="0">
              <a:buNone/>
              <a:defRPr sz="900" b="0" i="0">
                <a:latin typeface="Avenir Next LT Pro" panose="020B0504020202020204" pitchFamily="34" charset="77"/>
              </a:defRPr>
            </a:lvl5pPr>
          </a:lstStyle>
          <a:p>
            <a:pPr lvl="0"/>
            <a:r>
              <a:rPr lang="it-IT" dirty="0"/>
              <a:t>1. Fare clic per modificare le note 2. Fare clic per modificare le note 3. Fare clic per modificare le note </a:t>
            </a:r>
          </a:p>
        </p:txBody>
      </p:sp>
      <p:sp>
        <p:nvSpPr>
          <p:cNvPr id="46" name="object 47">
            <a:extLst>
              <a:ext uri="{FF2B5EF4-FFF2-40B4-BE49-F238E27FC236}">
                <a16:creationId xmlns:a16="http://schemas.microsoft.com/office/drawing/2014/main" id="{C3CCE1DA-2BD5-CD45-8599-38CE991939DC}"/>
              </a:ext>
            </a:extLst>
          </p:cNvPr>
          <p:cNvSpPr/>
          <p:nvPr/>
        </p:nvSpPr>
        <p:spPr>
          <a:xfrm>
            <a:off x="687940" y="1563967"/>
            <a:ext cx="648000" cy="648000"/>
          </a:xfrm>
          <a:custGeom>
            <a:avLst/>
            <a:gdLst/>
            <a:ahLst/>
            <a:cxnLst/>
            <a:rect l="l" t="t" r="r" b="b"/>
            <a:pathLst>
              <a:path w="836294" h="836294">
                <a:moveTo>
                  <a:pt x="417944" y="0"/>
                </a:moveTo>
                <a:lnTo>
                  <a:pt x="369203" y="2811"/>
                </a:lnTo>
                <a:lnTo>
                  <a:pt x="322114" y="11038"/>
                </a:lnTo>
                <a:lnTo>
                  <a:pt x="276989" y="24365"/>
                </a:lnTo>
                <a:lnTo>
                  <a:pt x="234143" y="42480"/>
                </a:lnTo>
                <a:lnTo>
                  <a:pt x="193890" y="65069"/>
                </a:lnTo>
                <a:lnTo>
                  <a:pt x="156542" y="91818"/>
                </a:lnTo>
                <a:lnTo>
                  <a:pt x="122413" y="122413"/>
                </a:lnTo>
                <a:lnTo>
                  <a:pt x="91818" y="156542"/>
                </a:lnTo>
                <a:lnTo>
                  <a:pt x="65069" y="193890"/>
                </a:lnTo>
                <a:lnTo>
                  <a:pt x="42480" y="234143"/>
                </a:lnTo>
                <a:lnTo>
                  <a:pt x="24365" y="276989"/>
                </a:lnTo>
                <a:lnTo>
                  <a:pt x="11038" y="322114"/>
                </a:lnTo>
                <a:lnTo>
                  <a:pt x="2811" y="369203"/>
                </a:lnTo>
                <a:lnTo>
                  <a:pt x="0" y="417944"/>
                </a:lnTo>
                <a:lnTo>
                  <a:pt x="2811" y="466685"/>
                </a:lnTo>
                <a:lnTo>
                  <a:pt x="11038" y="513774"/>
                </a:lnTo>
                <a:lnTo>
                  <a:pt x="24365" y="558898"/>
                </a:lnTo>
                <a:lnTo>
                  <a:pt x="42480" y="601744"/>
                </a:lnTo>
                <a:lnTo>
                  <a:pt x="65069" y="641998"/>
                </a:lnTo>
                <a:lnTo>
                  <a:pt x="91818" y="679346"/>
                </a:lnTo>
                <a:lnTo>
                  <a:pt x="122413" y="713474"/>
                </a:lnTo>
                <a:lnTo>
                  <a:pt x="156542" y="744070"/>
                </a:lnTo>
                <a:lnTo>
                  <a:pt x="193890" y="770819"/>
                </a:lnTo>
                <a:lnTo>
                  <a:pt x="234143" y="793407"/>
                </a:lnTo>
                <a:lnTo>
                  <a:pt x="276989" y="811522"/>
                </a:lnTo>
                <a:lnTo>
                  <a:pt x="322114" y="824850"/>
                </a:lnTo>
                <a:lnTo>
                  <a:pt x="369203" y="833076"/>
                </a:lnTo>
                <a:lnTo>
                  <a:pt x="417944" y="835888"/>
                </a:lnTo>
                <a:lnTo>
                  <a:pt x="466685" y="833076"/>
                </a:lnTo>
                <a:lnTo>
                  <a:pt x="513774" y="824850"/>
                </a:lnTo>
                <a:lnTo>
                  <a:pt x="558898" y="811522"/>
                </a:lnTo>
                <a:lnTo>
                  <a:pt x="601744" y="793407"/>
                </a:lnTo>
                <a:lnTo>
                  <a:pt x="641998" y="770819"/>
                </a:lnTo>
                <a:lnTo>
                  <a:pt x="679346" y="744070"/>
                </a:lnTo>
                <a:lnTo>
                  <a:pt x="713474" y="713474"/>
                </a:lnTo>
                <a:lnTo>
                  <a:pt x="744070" y="679346"/>
                </a:lnTo>
                <a:lnTo>
                  <a:pt x="770819" y="641998"/>
                </a:lnTo>
                <a:lnTo>
                  <a:pt x="793407" y="601744"/>
                </a:lnTo>
                <a:lnTo>
                  <a:pt x="811522" y="558898"/>
                </a:lnTo>
                <a:lnTo>
                  <a:pt x="824850" y="513774"/>
                </a:lnTo>
                <a:lnTo>
                  <a:pt x="833076" y="466685"/>
                </a:lnTo>
                <a:lnTo>
                  <a:pt x="835888" y="417944"/>
                </a:lnTo>
                <a:lnTo>
                  <a:pt x="833076" y="369203"/>
                </a:lnTo>
                <a:lnTo>
                  <a:pt x="824850" y="322114"/>
                </a:lnTo>
                <a:lnTo>
                  <a:pt x="811522" y="276989"/>
                </a:lnTo>
                <a:lnTo>
                  <a:pt x="793407" y="234143"/>
                </a:lnTo>
                <a:lnTo>
                  <a:pt x="770819" y="193890"/>
                </a:lnTo>
                <a:lnTo>
                  <a:pt x="744070" y="156542"/>
                </a:lnTo>
                <a:lnTo>
                  <a:pt x="713474" y="122413"/>
                </a:lnTo>
                <a:lnTo>
                  <a:pt x="679346" y="91818"/>
                </a:lnTo>
                <a:lnTo>
                  <a:pt x="641998" y="65069"/>
                </a:lnTo>
                <a:lnTo>
                  <a:pt x="601744" y="42480"/>
                </a:lnTo>
                <a:lnTo>
                  <a:pt x="558898" y="24365"/>
                </a:lnTo>
                <a:lnTo>
                  <a:pt x="513774" y="11038"/>
                </a:lnTo>
                <a:lnTo>
                  <a:pt x="466685" y="2811"/>
                </a:lnTo>
                <a:lnTo>
                  <a:pt x="417944" y="0"/>
                </a:lnTo>
                <a:close/>
              </a:path>
            </a:pathLst>
          </a:custGeom>
          <a:solidFill>
            <a:srgbClr val="EEDC00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 dirty="0">
              <a:ln>
                <a:noFill/>
              </a:ln>
              <a:solidFill>
                <a:srgbClr val="3B3B3A"/>
              </a:solidFill>
              <a:effectLst/>
              <a:uLnTx/>
              <a:uFillTx/>
              <a:latin typeface="Avenir Next LT Pro" panose="020B0504020202020204" pitchFamily="34" charset="77"/>
              <a:ea typeface="+mn-ea"/>
              <a:cs typeface="+mn-cs"/>
            </a:endParaRPr>
          </a:p>
        </p:txBody>
      </p:sp>
      <p:cxnSp>
        <p:nvCxnSpPr>
          <p:cNvPr id="47" name="Connettore 1 46">
            <a:extLst>
              <a:ext uri="{FF2B5EF4-FFF2-40B4-BE49-F238E27FC236}">
                <a16:creationId xmlns:a16="http://schemas.microsoft.com/office/drawing/2014/main" id="{8ACC0B90-D656-7048-A22A-3D311E85915D}"/>
              </a:ext>
            </a:extLst>
          </p:cNvPr>
          <p:cNvCxnSpPr>
            <a:cxnSpLocks/>
          </p:cNvCxnSpPr>
          <p:nvPr/>
        </p:nvCxnSpPr>
        <p:spPr>
          <a:xfrm>
            <a:off x="1395006" y="1889852"/>
            <a:ext cx="4140000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Segnaposto testo 46">
            <a:extLst>
              <a:ext uri="{FF2B5EF4-FFF2-40B4-BE49-F238E27FC236}">
                <a16:creationId xmlns:a16="http://schemas.microsoft.com/office/drawing/2014/main" id="{8B1C0130-E9DC-A44D-BFC9-0D4850CB3EB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457281" y="1158675"/>
            <a:ext cx="4077725" cy="746498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 b="0" i="0">
                <a:solidFill>
                  <a:srgbClr val="0047BB"/>
                </a:solidFill>
                <a:latin typeface="Avenir Next LT Pro" panose="020B0504020202020204" pitchFamily="34" charset="77"/>
              </a:defRPr>
            </a:lvl1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4" name="Segnaposto contenuto 3">
            <a:extLst>
              <a:ext uri="{FF2B5EF4-FFF2-40B4-BE49-F238E27FC236}">
                <a16:creationId xmlns:a16="http://schemas.microsoft.com/office/drawing/2014/main" id="{E1D6CD90-0956-4A32-9A76-53EE63853B67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15938" y="2357438"/>
            <a:ext cx="11126787" cy="3571875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>
                <a:solidFill>
                  <a:schemeClr val="tx1"/>
                </a:solidFill>
              </a:defRPr>
            </a:lvl1pPr>
            <a:lvl2pPr>
              <a:buClr>
                <a:schemeClr val="tx1"/>
              </a:buClr>
              <a:defRPr/>
            </a:lvl2pPr>
            <a:lvl3pPr marL="1143000" indent="-228600">
              <a:buClr>
                <a:schemeClr val="accent2"/>
              </a:buClr>
              <a:buFont typeface="Wingdings" panose="05000000000000000000" pitchFamily="2" charset="2"/>
              <a:buChar char="§"/>
              <a:defRPr/>
            </a:lvl3pPr>
            <a:lvl4pPr marL="1600200" indent="-228600">
              <a:buClr>
                <a:schemeClr val="accent2"/>
              </a:buClr>
              <a:buFont typeface="Courier New" panose="02070309020205020404" pitchFamily="49" charset="0"/>
              <a:buChar char="o"/>
              <a:defRPr/>
            </a:lvl4pPr>
          </a:lstStyle>
          <a:p>
            <a:pPr lvl="0"/>
            <a:r>
              <a:rPr lang="it-IT" sz="1400"/>
              <a:t>Fare clic per modificare gli stili del testo dello schema</a:t>
            </a:r>
          </a:p>
          <a:p>
            <a:pPr lvl="1"/>
            <a:r>
              <a:rPr lang="it-IT" sz="1400"/>
              <a:t>Secondo livello</a:t>
            </a:r>
          </a:p>
          <a:p>
            <a:pPr lvl="2"/>
            <a:r>
              <a:rPr lang="it-IT" sz="1400"/>
              <a:t>Terzo livello</a:t>
            </a:r>
          </a:p>
          <a:p>
            <a:pPr lvl="3"/>
            <a:r>
              <a:rPr lang="it-IT" sz="1400"/>
              <a:t>Quarto livello</a:t>
            </a:r>
          </a:p>
        </p:txBody>
      </p:sp>
      <p:sp>
        <p:nvSpPr>
          <p:cNvPr id="31" name="object 46">
            <a:extLst>
              <a:ext uri="{FF2B5EF4-FFF2-40B4-BE49-F238E27FC236}">
                <a16:creationId xmlns:a16="http://schemas.microsoft.com/office/drawing/2014/main" id="{5D13B668-912F-4A46-A031-65A671E9D20C}"/>
              </a:ext>
            </a:extLst>
          </p:cNvPr>
          <p:cNvSpPr>
            <a:spLocks noChangeAspect="1"/>
          </p:cNvSpPr>
          <p:nvPr/>
        </p:nvSpPr>
        <p:spPr>
          <a:xfrm>
            <a:off x="633940" y="1509967"/>
            <a:ext cx="756000" cy="756000"/>
          </a:xfrm>
          <a:custGeom>
            <a:avLst/>
            <a:gdLst/>
            <a:ahLst/>
            <a:cxnLst/>
            <a:rect l="l" t="t" r="r" b="b"/>
            <a:pathLst>
              <a:path w="1009650" h="1009650">
                <a:moveTo>
                  <a:pt x="1009637" y="504825"/>
                </a:moveTo>
                <a:lnTo>
                  <a:pt x="1007326" y="553440"/>
                </a:lnTo>
                <a:lnTo>
                  <a:pt x="1000534" y="600748"/>
                </a:lnTo>
                <a:lnTo>
                  <a:pt x="989474" y="646537"/>
                </a:lnTo>
                <a:lnTo>
                  <a:pt x="974355" y="690596"/>
                </a:lnTo>
                <a:lnTo>
                  <a:pt x="955391" y="732714"/>
                </a:lnTo>
                <a:lnTo>
                  <a:pt x="932791" y="772678"/>
                </a:lnTo>
                <a:lnTo>
                  <a:pt x="906769" y="810276"/>
                </a:lnTo>
                <a:lnTo>
                  <a:pt x="877535" y="845298"/>
                </a:lnTo>
                <a:lnTo>
                  <a:pt x="845302" y="877532"/>
                </a:lnTo>
                <a:lnTo>
                  <a:pt x="810279" y="906766"/>
                </a:lnTo>
                <a:lnTo>
                  <a:pt x="772680" y="932789"/>
                </a:lnTo>
                <a:lnTo>
                  <a:pt x="732715" y="955389"/>
                </a:lnTo>
                <a:lnTo>
                  <a:pt x="690596" y="974354"/>
                </a:lnTo>
                <a:lnTo>
                  <a:pt x="646535" y="989473"/>
                </a:lnTo>
                <a:lnTo>
                  <a:pt x="600743" y="1000534"/>
                </a:lnTo>
                <a:lnTo>
                  <a:pt x="553431" y="1007326"/>
                </a:lnTo>
                <a:lnTo>
                  <a:pt x="504812" y="1009637"/>
                </a:lnTo>
                <a:lnTo>
                  <a:pt x="456197" y="1007326"/>
                </a:lnTo>
                <a:lnTo>
                  <a:pt x="408888" y="1000534"/>
                </a:lnTo>
                <a:lnTo>
                  <a:pt x="363099" y="989473"/>
                </a:lnTo>
                <a:lnTo>
                  <a:pt x="319040" y="974354"/>
                </a:lnTo>
                <a:lnTo>
                  <a:pt x="276923" y="955389"/>
                </a:lnTo>
                <a:lnTo>
                  <a:pt x="236959" y="932789"/>
                </a:lnTo>
                <a:lnTo>
                  <a:pt x="199360" y="906766"/>
                </a:lnTo>
                <a:lnTo>
                  <a:pt x="164338" y="877532"/>
                </a:lnTo>
                <a:lnTo>
                  <a:pt x="132104" y="845298"/>
                </a:lnTo>
                <a:lnTo>
                  <a:pt x="102870" y="810276"/>
                </a:lnTo>
                <a:lnTo>
                  <a:pt x="76847" y="772678"/>
                </a:lnTo>
                <a:lnTo>
                  <a:pt x="54248" y="732714"/>
                </a:lnTo>
                <a:lnTo>
                  <a:pt x="35283" y="690596"/>
                </a:lnTo>
                <a:lnTo>
                  <a:pt x="20164" y="646537"/>
                </a:lnTo>
                <a:lnTo>
                  <a:pt x="9102" y="600748"/>
                </a:lnTo>
                <a:lnTo>
                  <a:pt x="2310" y="553440"/>
                </a:lnTo>
                <a:lnTo>
                  <a:pt x="0" y="504825"/>
                </a:lnTo>
                <a:lnTo>
                  <a:pt x="2310" y="456207"/>
                </a:lnTo>
                <a:lnTo>
                  <a:pt x="9102" y="408897"/>
                </a:lnTo>
                <a:lnTo>
                  <a:pt x="20164" y="363106"/>
                </a:lnTo>
                <a:lnTo>
                  <a:pt x="35283" y="319045"/>
                </a:lnTo>
                <a:lnTo>
                  <a:pt x="54248" y="276927"/>
                </a:lnTo>
                <a:lnTo>
                  <a:pt x="76847" y="236962"/>
                </a:lnTo>
                <a:lnTo>
                  <a:pt x="102870" y="199363"/>
                </a:lnTo>
                <a:lnTo>
                  <a:pt x="132104" y="164340"/>
                </a:lnTo>
                <a:lnTo>
                  <a:pt x="164338" y="132105"/>
                </a:lnTo>
                <a:lnTo>
                  <a:pt x="199360" y="102871"/>
                </a:lnTo>
                <a:lnTo>
                  <a:pt x="236959" y="76848"/>
                </a:lnTo>
                <a:lnTo>
                  <a:pt x="276923" y="54248"/>
                </a:lnTo>
                <a:lnTo>
                  <a:pt x="319040" y="35283"/>
                </a:lnTo>
                <a:lnTo>
                  <a:pt x="363099" y="20164"/>
                </a:lnTo>
                <a:lnTo>
                  <a:pt x="408888" y="9102"/>
                </a:lnTo>
                <a:lnTo>
                  <a:pt x="456197" y="2310"/>
                </a:lnTo>
                <a:lnTo>
                  <a:pt x="504812" y="0"/>
                </a:lnTo>
                <a:lnTo>
                  <a:pt x="553431" y="2310"/>
                </a:lnTo>
                <a:lnTo>
                  <a:pt x="600743" y="9102"/>
                </a:lnTo>
                <a:lnTo>
                  <a:pt x="646535" y="20164"/>
                </a:lnTo>
                <a:lnTo>
                  <a:pt x="690596" y="35283"/>
                </a:lnTo>
                <a:lnTo>
                  <a:pt x="732715" y="54248"/>
                </a:lnTo>
                <a:lnTo>
                  <a:pt x="772680" y="76848"/>
                </a:lnTo>
                <a:lnTo>
                  <a:pt x="810279" y="102871"/>
                </a:lnTo>
                <a:lnTo>
                  <a:pt x="845302" y="132105"/>
                </a:lnTo>
                <a:lnTo>
                  <a:pt x="877535" y="164340"/>
                </a:lnTo>
                <a:lnTo>
                  <a:pt x="906769" y="199363"/>
                </a:lnTo>
                <a:lnTo>
                  <a:pt x="932791" y="236962"/>
                </a:lnTo>
                <a:lnTo>
                  <a:pt x="955391" y="276927"/>
                </a:lnTo>
                <a:lnTo>
                  <a:pt x="974355" y="319045"/>
                </a:lnTo>
                <a:lnTo>
                  <a:pt x="989474" y="363106"/>
                </a:lnTo>
                <a:lnTo>
                  <a:pt x="1000534" y="408897"/>
                </a:lnTo>
                <a:lnTo>
                  <a:pt x="1007326" y="456207"/>
                </a:lnTo>
                <a:lnTo>
                  <a:pt x="1009637" y="504825"/>
                </a:lnTo>
                <a:close/>
              </a:path>
            </a:pathLst>
          </a:custGeom>
          <a:solidFill>
            <a:schemeClr val="bg1"/>
          </a:solidFill>
          <a:ln w="12700">
            <a:solidFill>
              <a:srgbClr val="0046BA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3B3B3A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2" name="bg object 16">
            <a:extLst>
              <a:ext uri="{FF2B5EF4-FFF2-40B4-BE49-F238E27FC236}">
                <a16:creationId xmlns:a16="http://schemas.microsoft.com/office/drawing/2014/main" id="{7B75A25D-A157-804F-9EB1-E5B1BA717368}"/>
              </a:ext>
            </a:extLst>
          </p:cNvPr>
          <p:cNvSpPr/>
          <p:nvPr/>
        </p:nvSpPr>
        <p:spPr>
          <a:xfrm>
            <a:off x="11330381" y="6448615"/>
            <a:ext cx="311785" cy="410845"/>
          </a:xfrm>
          <a:custGeom>
            <a:avLst/>
            <a:gdLst/>
            <a:ahLst/>
            <a:cxnLst/>
            <a:rect l="l" t="t" r="r" b="b"/>
            <a:pathLst>
              <a:path w="311784" h="410845">
                <a:moveTo>
                  <a:pt x="311645" y="0"/>
                </a:moveTo>
                <a:lnTo>
                  <a:pt x="0" y="0"/>
                </a:lnTo>
                <a:lnTo>
                  <a:pt x="0" y="410438"/>
                </a:lnTo>
                <a:lnTo>
                  <a:pt x="311645" y="410438"/>
                </a:lnTo>
                <a:lnTo>
                  <a:pt x="311645" y="0"/>
                </a:lnTo>
                <a:close/>
              </a:path>
            </a:pathLst>
          </a:custGeom>
          <a:solidFill>
            <a:srgbClr val="0047B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3" name="Holder 7">
            <a:extLst>
              <a:ext uri="{FF2B5EF4-FFF2-40B4-BE49-F238E27FC236}">
                <a16:creationId xmlns:a16="http://schemas.microsoft.com/office/drawing/2014/main" id="{65CDA657-C303-3146-B143-EAAA8DFF416C}"/>
              </a:ext>
            </a:extLst>
          </p:cNvPr>
          <p:cNvSpPr txBox="1">
            <a:spLocks/>
          </p:cNvSpPr>
          <p:nvPr/>
        </p:nvSpPr>
        <p:spPr>
          <a:xfrm>
            <a:off x="11342726" y="6520516"/>
            <a:ext cx="256044" cy="16158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it-IT"/>
            </a:defPPr>
            <a:lvl1pPr marL="0" algn="l" defTabSz="914400" rtl="0" eaLnBrk="1" latinLnBrk="0" hangingPunct="1">
              <a:defRPr sz="850" b="1" i="0" kern="1200">
                <a:solidFill>
                  <a:schemeClr val="bg1"/>
                </a:solidFill>
                <a:latin typeface="Verdana"/>
                <a:ea typeface="+mn-ea"/>
                <a:cs typeface="Verdana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8100" algn="ctr">
              <a:spcBef>
                <a:spcPts val="105"/>
              </a:spcBef>
            </a:pPr>
            <a:fld id="{81D60167-4931-47E6-BA6A-407CBD079E47}" type="slidenum">
              <a:rPr lang="it-IT" sz="1050" b="0" i="0" spc="5" smtClean="0">
                <a:latin typeface="Avenir Next LT Pro" pitchFamily="2" charset="0"/>
              </a:rPr>
              <a:pPr marL="38100" algn="ctr">
                <a:spcBef>
                  <a:spcPts val="105"/>
                </a:spcBef>
              </a:pPr>
              <a:t>‹N›</a:t>
            </a:fld>
            <a:endParaRPr lang="it-IT" sz="1050" b="0" i="0" spc="5" dirty="0">
              <a:latin typeface="Avenir Next LT Pro" pitchFamily="2" charset="0"/>
            </a:endParaRPr>
          </a:p>
        </p:txBody>
      </p:sp>
      <p:sp>
        <p:nvSpPr>
          <p:cNvPr id="38" name="Triangolo isoscele 16">
            <a:extLst>
              <a:ext uri="{FF2B5EF4-FFF2-40B4-BE49-F238E27FC236}">
                <a16:creationId xmlns:a16="http://schemas.microsoft.com/office/drawing/2014/main" id="{09E8455E-E08B-C94C-8326-DDAC9A57E74A}"/>
              </a:ext>
            </a:extLst>
          </p:cNvPr>
          <p:cNvSpPr/>
          <p:nvPr/>
        </p:nvSpPr>
        <p:spPr>
          <a:xfrm rot="10800000">
            <a:off x="303127" y="-324737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39" name="Triangolo isoscele 17">
            <a:extLst>
              <a:ext uri="{FF2B5EF4-FFF2-40B4-BE49-F238E27FC236}">
                <a16:creationId xmlns:a16="http://schemas.microsoft.com/office/drawing/2014/main" id="{B708E2E1-1A1A-C24B-9E52-8C0E2CB574BD}"/>
              </a:ext>
            </a:extLst>
          </p:cNvPr>
          <p:cNvSpPr/>
          <p:nvPr/>
        </p:nvSpPr>
        <p:spPr>
          <a:xfrm rot="10800000">
            <a:off x="11756536" y="-324737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41" name="Triangolo isoscele 18">
            <a:extLst>
              <a:ext uri="{FF2B5EF4-FFF2-40B4-BE49-F238E27FC236}">
                <a16:creationId xmlns:a16="http://schemas.microsoft.com/office/drawing/2014/main" id="{47F89D31-8FF0-C545-B8E7-34186263F031}"/>
              </a:ext>
            </a:extLst>
          </p:cNvPr>
          <p:cNvSpPr/>
          <p:nvPr/>
        </p:nvSpPr>
        <p:spPr>
          <a:xfrm>
            <a:off x="303127" y="6950754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42" name="Triangolo isoscele 19">
            <a:extLst>
              <a:ext uri="{FF2B5EF4-FFF2-40B4-BE49-F238E27FC236}">
                <a16:creationId xmlns:a16="http://schemas.microsoft.com/office/drawing/2014/main" id="{01E3FF88-2B5B-E541-832E-60783B3F3049}"/>
              </a:ext>
            </a:extLst>
          </p:cNvPr>
          <p:cNvSpPr/>
          <p:nvPr/>
        </p:nvSpPr>
        <p:spPr>
          <a:xfrm>
            <a:off x="11756536" y="6950754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43" name="Triangolo isoscele 20">
            <a:extLst>
              <a:ext uri="{FF2B5EF4-FFF2-40B4-BE49-F238E27FC236}">
                <a16:creationId xmlns:a16="http://schemas.microsoft.com/office/drawing/2014/main" id="{83819D8D-3F74-2F46-8FEB-69F42E36F1FF}"/>
              </a:ext>
            </a:extLst>
          </p:cNvPr>
          <p:cNvSpPr/>
          <p:nvPr/>
        </p:nvSpPr>
        <p:spPr>
          <a:xfrm rot="5400000">
            <a:off x="-276040" y="885372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44" name="Triangolo isoscele 21">
            <a:extLst>
              <a:ext uri="{FF2B5EF4-FFF2-40B4-BE49-F238E27FC236}">
                <a16:creationId xmlns:a16="http://schemas.microsoft.com/office/drawing/2014/main" id="{D054F160-7F14-A241-9A10-59E376545546}"/>
              </a:ext>
            </a:extLst>
          </p:cNvPr>
          <p:cNvSpPr/>
          <p:nvPr/>
        </p:nvSpPr>
        <p:spPr>
          <a:xfrm rot="5400000">
            <a:off x="-276039" y="5982836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45" name="Triangolo isoscele 22">
            <a:extLst>
              <a:ext uri="{FF2B5EF4-FFF2-40B4-BE49-F238E27FC236}">
                <a16:creationId xmlns:a16="http://schemas.microsoft.com/office/drawing/2014/main" id="{D79E158E-648C-9A4D-B364-F9A803C8FBA1}"/>
              </a:ext>
            </a:extLst>
          </p:cNvPr>
          <p:cNvSpPr/>
          <p:nvPr/>
        </p:nvSpPr>
        <p:spPr>
          <a:xfrm rot="16200000">
            <a:off x="12331119" y="885372"/>
            <a:ext cx="132336" cy="261257"/>
          </a:xfrm>
          <a:prstGeom prst="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49" name="Triangolo isoscele 23">
            <a:extLst>
              <a:ext uri="{FF2B5EF4-FFF2-40B4-BE49-F238E27FC236}">
                <a16:creationId xmlns:a16="http://schemas.microsoft.com/office/drawing/2014/main" id="{5175DAB9-FF7E-E147-90F5-2AA86215EC64}"/>
              </a:ext>
            </a:extLst>
          </p:cNvPr>
          <p:cNvSpPr/>
          <p:nvPr/>
        </p:nvSpPr>
        <p:spPr>
          <a:xfrm rot="16200000">
            <a:off x="12331120" y="5982836"/>
            <a:ext cx="132336" cy="261257"/>
          </a:xfrm>
          <a:prstGeom prst="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50" name="Triangolo isoscele 31">
            <a:extLst>
              <a:ext uri="{FF2B5EF4-FFF2-40B4-BE49-F238E27FC236}">
                <a16:creationId xmlns:a16="http://schemas.microsoft.com/office/drawing/2014/main" id="{23E60D04-3216-EA4F-B2C4-51C5E7B20AEE}"/>
              </a:ext>
            </a:extLst>
          </p:cNvPr>
          <p:cNvSpPr/>
          <p:nvPr/>
        </p:nvSpPr>
        <p:spPr>
          <a:xfrm rot="10800000">
            <a:off x="303127" y="-324737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51" name="Triangolo isoscele 32">
            <a:extLst>
              <a:ext uri="{FF2B5EF4-FFF2-40B4-BE49-F238E27FC236}">
                <a16:creationId xmlns:a16="http://schemas.microsoft.com/office/drawing/2014/main" id="{A3F97FB7-701F-1545-ACC9-C7228CD823EA}"/>
              </a:ext>
            </a:extLst>
          </p:cNvPr>
          <p:cNvSpPr/>
          <p:nvPr/>
        </p:nvSpPr>
        <p:spPr>
          <a:xfrm rot="10800000">
            <a:off x="11756536" y="-324737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52" name="Triangolo isoscele 33">
            <a:extLst>
              <a:ext uri="{FF2B5EF4-FFF2-40B4-BE49-F238E27FC236}">
                <a16:creationId xmlns:a16="http://schemas.microsoft.com/office/drawing/2014/main" id="{DB1FB688-AC42-E24E-8A57-90E7C4C92ADC}"/>
              </a:ext>
            </a:extLst>
          </p:cNvPr>
          <p:cNvSpPr/>
          <p:nvPr/>
        </p:nvSpPr>
        <p:spPr>
          <a:xfrm>
            <a:off x="303127" y="6950754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53" name="Triangolo isoscele 34">
            <a:extLst>
              <a:ext uri="{FF2B5EF4-FFF2-40B4-BE49-F238E27FC236}">
                <a16:creationId xmlns:a16="http://schemas.microsoft.com/office/drawing/2014/main" id="{1F3F50F8-6F2D-6D43-A1B5-B9D3F8006B49}"/>
              </a:ext>
            </a:extLst>
          </p:cNvPr>
          <p:cNvSpPr/>
          <p:nvPr/>
        </p:nvSpPr>
        <p:spPr>
          <a:xfrm>
            <a:off x="11756536" y="6950754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54" name="Triangolo isoscele 35">
            <a:extLst>
              <a:ext uri="{FF2B5EF4-FFF2-40B4-BE49-F238E27FC236}">
                <a16:creationId xmlns:a16="http://schemas.microsoft.com/office/drawing/2014/main" id="{1F5DC3B4-2684-AB47-9A52-20F709B2BEC9}"/>
              </a:ext>
            </a:extLst>
          </p:cNvPr>
          <p:cNvSpPr/>
          <p:nvPr/>
        </p:nvSpPr>
        <p:spPr>
          <a:xfrm rot="5400000">
            <a:off x="-276040" y="885372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55" name="Triangolo isoscele 36">
            <a:extLst>
              <a:ext uri="{FF2B5EF4-FFF2-40B4-BE49-F238E27FC236}">
                <a16:creationId xmlns:a16="http://schemas.microsoft.com/office/drawing/2014/main" id="{9775CC0E-2446-3C4E-88FF-0B1A121FAAE0}"/>
              </a:ext>
            </a:extLst>
          </p:cNvPr>
          <p:cNvSpPr/>
          <p:nvPr/>
        </p:nvSpPr>
        <p:spPr>
          <a:xfrm rot="5400000">
            <a:off x="-276039" y="5982836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56" name="Triangolo isoscele 37">
            <a:extLst>
              <a:ext uri="{FF2B5EF4-FFF2-40B4-BE49-F238E27FC236}">
                <a16:creationId xmlns:a16="http://schemas.microsoft.com/office/drawing/2014/main" id="{78F6ECED-F9B1-884B-A9CF-20F25B619BB9}"/>
              </a:ext>
            </a:extLst>
          </p:cNvPr>
          <p:cNvSpPr/>
          <p:nvPr/>
        </p:nvSpPr>
        <p:spPr>
          <a:xfrm rot="16200000">
            <a:off x="12331119" y="885372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57" name="Triangolo isoscele 38">
            <a:extLst>
              <a:ext uri="{FF2B5EF4-FFF2-40B4-BE49-F238E27FC236}">
                <a16:creationId xmlns:a16="http://schemas.microsoft.com/office/drawing/2014/main" id="{174AE928-C517-5D48-ABCB-7317566988CF}"/>
              </a:ext>
            </a:extLst>
          </p:cNvPr>
          <p:cNvSpPr/>
          <p:nvPr/>
        </p:nvSpPr>
        <p:spPr>
          <a:xfrm rot="16200000">
            <a:off x="12331120" y="5982836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pic>
        <p:nvPicPr>
          <p:cNvPr id="58" name="Elemento grafico 57">
            <a:extLst>
              <a:ext uri="{FF2B5EF4-FFF2-40B4-BE49-F238E27FC236}">
                <a16:creationId xmlns:a16="http://schemas.microsoft.com/office/drawing/2014/main" id="{9CF271F8-58BD-C440-8BC0-6EE0E16487AE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081892" y="-5080"/>
            <a:ext cx="1560273" cy="309880"/>
          </a:xfrm>
          <a:prstGeom prst="rect">
            <a:avLst/>
          </a:prstGeom>
        </p:spPr>
      </p:pic>
      <p:sp>
        <p:nvSpPr>
          <p:cNvPr id="59" name="object 267">
            <a:extLst>
              <a:ext uri="{FF2B5EF4-FFF2-40B4-BE49-F238E27FC236}">
                <a16:creationId xmlns:a16="http://schemas.microsoft.com/office/drawing/2014/main" id="{0663B2D6-616D-474D-95F5-501AEB146A56}"/>
              </a:ext>
            </a:extLst>
          </p:cNvPr>
          <p:cNvSpPr/>
          <p:nvPr/>
        </p:nvSpPr>
        <p:spPr>
          <a:xfrm>
            <a:off x="0" y="1251482"/>
            <a:ext cx="675518" cy="45719"/>
          </a:xfrm>
          <a:custGeom>
            <a:avLst/>
            <a:gdLst/>
            <a:ahLst/>
            <a:cxnLst/>
            <a:rect l="l" t="t" r="r" b="b"/>
            <a:pathLst>
              <a:path w="657225">
                <a:moveTo>
                  <a:pt x="0" y="0"/>
                </a:moveTo>
                <a:lnTo>
                  <a:pt x="656678" y="0"/>
                </a:lnTo>
              </a:path>
            </a:pathLst>
          </a:custGeom>
          <a:ln w="76200">
            <a:solidFill>
              <a:srgbClr val="EEDC00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JhengHei UI Light" panose="020B0304030504040204" pitchFamily="34" charset="-120"/>
              <a:ea typeface="Microsoft JhengHei UI Light" panose="020B0304030504040204" pitchFamily="34" charset="-120"/>
              <a:cs typeface="+mn-cs"/>
            </a:endParaRPr>
          </a:p>
        </p:txBody>
      </p:sp>
      <p:sp>
        <p:nvSpPr>
          <p:cNvPr id="60" name="object 47">
            <a:extLst>
              <a:ext uri="{FF2B5EF4-FFF2-40B4-BE49-F238E27FC236}">
                <a16:creationId xmlns:a16="http://schemas.microsoft.com/office/drawing/2014/main" id="{7887AF11-4FEA-AC4E-9013-F5EB6889D806}"/>
              </a:ext>
            </a:extLst>
          </p:cNvPr>
          <p:cNvSpPr/>
          <p:nvPr/>
        </p:nvSpPr>
        <p:spPr>
          <a:xfrm>
            <a:off x="687940" y="1563967"/>
            <a:ext cx="648000" cy="648000"/>
          </a:xfrm>
          <a:custGeom>
            <a:avLst/>
            <a:gdLst/>
            <a:ahLst/>
            <a:cxnLst/>
            <a:rect l="l" t="t" r="r" b="b"/>
            <a:pathLst>
              <a:path w="836294" h="836294">
                <a:moveTo>
                  <a:pt x="417944" y="0"/>
                </a:moveTo>
                <a:lnTo>
                  <a:pt x="369203" y="2811"/>
                </a:lnTo>
                <a:lnTo>
                  <a:pt x="322114" y="11038"/>
                </a:lnTo>
                <a:lnTo>
                  <a:pt x="276989" y="24365"/>
                </a:lnTo>
                <a:lnTo>
                  <a:pt x="234143" y="42480"/>
                </a:lnTo>
                <a:lnTo>
                  <a:pt x="193890" y="65069"/>
                </a:lnTo>
                <a:lnTo>
                  <a:pt x="156542" y="91818"/>
                </a:lnTo>
                <a:lnTo>
                  <a:pt x="122413" y="122413"/>
                </a:lnTo>
                <a:lnTo>
                  <a:pt x="91818" y="156542"/>
                </a:lnTo>
                <a:lnTo>
                  <a:pt x="65069" y="193890"/>
                </a:lnTo>
                <a:lnTo>
                  <a:pt x="42480" y="234143"/>
                </a:lnTo>
                <a:lnTo>
                  <a:pt x="24365" y="276989"/>
                </a:lnTo>
                <a:lnTo>
                  <a:pt x="11038" y="322114"/>
                </a:lnTo>
                <a:lnTo>
                  <a:pt x="2811" y="369203"/>
                </a:lnTo>
                <a:lnTo>
                  <a:pt x="0" y="417944"/>
                </a:lnTo>
                <a:lnTo>
                  <a:pt x="2811" y="466685"/>
                </a:lnTo>
                <a:lnTo>
                  <a:pt x="11038" y="513774"/>
                </a:lnTo>
                <a:lnTo>
                  <a:pt x="24365" y="558898"/>
                </a:lnTo>
                <a:lnTo>
                  <a:pt x="42480" y="601744"/>
                </a:lnTo>
                <a:lnTo>
                  <a:pt x="65069" y="641998"/>
                </a:lnTo>
                <a:lnTo>
                  <a:pt x="91818" y="679346"/>
                </a:lnTo>
                <a:lnTo>
                  <a:pt x="122413" y="713474"/>
                </a:lnTo>
                <a:lnTo>
                  <a:pt x="156542" y="744070"/>
                </a:lnTo>
                <a:lnTo>
                  <a:pt x="193890" y="770819"/>
                </a:lnTo>
                <a:lnTo>
                  <a:pt x="234143" y="793407"/>
                </a:lnTo>
                <a:lnTo>
                  <a:pt x="276989" y="811522"/>
                </a:lnTo>
                <a:lnTo>
                  <a:pt x="322114" y="824850"/>
                </a:lnTo>
                <a:lnTo>
                  <a:pt x="369203" y="833076"/>
                </a:lnTo>
                <a:lnTo>
                  <a:pt x="417944" y="835888"/>
                </a:lnTo>
                <a:lnTo>
                  <a:pt x="466685" y="833076"/>
                </a:lnTo>
                <a:lnTo>
                  <a:pt x="513774" y="824850"/>
                </a:lnTo>
                <a:lnTo>
                  <a:pt x="558898" y="811522"/>
                </a:lnTo>
                <a:lnTo>
                  <a:pt x="601744" y="793407"/>
                </a:lnTo>
                <a:lnTo>
                  <a:pt x="641998" y="770819"/>
                </a:lnTo>
                <a:lnTo>
                  <a:pt x="679346" y="744070"/>
                </a:lnTo>
                <a:lnTo>
                  <a:pt x="713474" y="713474"/>
                </a:lnTo>
                <a:lnTo>
                  <a:pt x="744070" y="679346"/>
                </a:lnTo>
                <a:lnTo>
                  <a:pt x="770819" y="641998"/>
                </a:lnTo>
                <a:lnTo>
                  <a:pt x="793407" y="601744"/>
                </a:lnTo>
                <a:lnTo>
                  <a:pt x="811522" y="558898"/>
                </a:lnTo>
                <a:lnTo>
                  <a:pt x="824850" y="513774"/>
                </a:lnTo>
                <a:lnTo>
                  <a:pt x="833076" y="466685"/>
                </a:lnTo>
                <a:lnTo>
                  <a:pt x="835888" y="417944"/>
                </a:lnTo>
                <a:lnTo>
                  <a:pt x="833076" y="369203"/>
                </a:lnTo>
                <a:lnTo>
                  <a:pt x="824850" y="322114"/>
                </a:lnTo>
                <a:lnTo>
                  <a:pt x="811522" y="276989"/>
                </a:lnTo>
                <a:lnTo>
                  <a:pt x="793407" y="234143"/>
                </a:lnTo>
                <a:lnTo>
                  <a:pt x="770819" y="193890"/>
                </a:lnTo>
                <a:lnTo>
                  <a:pt x="744070" y="156542"/>
                </a:lnTo>
                <a:lnTo>
                  <a:pt x="713474" y="122413"/>
                </a:lnTo>
                <a:lnTo>
                  <a:pt x="679346" y="91818"/>
                </a:lnTo>
                <a:lnTo>
                  <a:pt x="641998" y="65069"/>
                </a:lnTo>
                <a:lnTo>
                  <a:pt x="601744" y="42480"/>
                </a:lnTo>
                <a:lnTo>
                  <a:pt x="558898" y="24365"/>
                </a:lnTo>
                <a:lnTo>
                  <a:pt x="513774" y="11038"/>
                </a:lnTo>
                <a:lnTo>
                  <a:pt x="466685" y="2811"/>
                </a:lnTo>
                <a:lnTo>
                  <a:pt x="417944" y="0"/>
                </a:lnTo>
                <a:close/>
              </a:path>
            </a:pathLst>
          </a:custGeom>
          <a:solidFill>
            <a:srgbClr val="EEDC00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 dirty="0">
              <a:ln>
                <a:noFill/>
              </a:ln>
              <a:solidFill>
                <a:srgbClr val="3B3B3A"/>
              </a:solidFill>
              <a:effectLst/>
              <a:uLnTx/>
              <a:uFillTx/>
              <a:latin typeface="Avenir Next LT Pro" panose="020B0504020202020204" pitchFamily="34" charset="77"/>
              <a:ea typeface="+mn-ea"/>
              <a:cs typeface="+mn-cs"/>
            </a:endParaRPr>
          </a:p>
        </p:txBody>
      </p:sp>
      <p:cxnSp>
        <p:nvCxnSpPr>
          <p:cNvPr id="61" name="Connettore 1 60">
            <a:extLst>
              <a:ext uri="{FF2B5EF4-FFF2-40B4-BE49-F238E27FC236}">
                <a16:creationId xmlns:a16="http://schemas.microsoft.com/office/drawing/2014/main" id="{04AC3722-BF0D-2A45-A0F5-DA96B6E73AC9}"/>
              </a:ext>
            </a:extLst>
          </p:cNvPr>
          <p:cNvCxnSpPr>
            <a:cxnSpLocks/>
          </p:cNvCxnSpPr>
          <p:nvPr/>
        </p:nvCxnSpPr>
        <p:spPr>
          <a:xfrm>
            <a:off x="1395006" y="1889852"/>
            <a:ext cx="4140000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CasellaDiTesto 1">
            <a:extLst>
              <a:ext uri="{FF2B5EF4-FFF2-40B4-BE49-F238E27FC236}">
                <a16:creationId xmlns:a16="http://schemas.microsoft.com/office/drawing/2014/main" id="{2FF8E1DB-9006-584B-C0A4-9ADB5A1B30AA}"/>
              </a:ext>
            </a:extLst>
          </p:cNvPr>
          <p:cNvSpPr txBox="1"/>
          <p:nvPr userDrawn="1"/>
        </p:nvSpPr>
        <p:spPr>
          <a:xfrm>
            <a:off x="3916392" y="6623540"/>
            <a:ext cx="739499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it-IT" sz="800" i="1" dirty="0"/>
              <a:t>Documento ad uso esclusivamente interno, da intendersi come strettamente riservato; non è autorizzata la trasmissione ad altri e la divulgazione all’esterno.</a:t>
            </a:r>
            <a:endParaRPr lang="en-US" sz="800" i="1" dirty="0"/>
          </a:p>
        </p:txBody>
      </p:sp>
    </p:spTree>
    <p:extLst>
      <p:ext uri="{BB962C8B-B14F-4D97-AF65-F5344CB8AC3E}">
        <p14:creationId xmlns:p14="http://schemas.microsoft.com/office/powerpoint/2010/main" val="2848944156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5" orient="horz" pos="2160">
          <p15:clr>
            <a:srgbClr val="FBAE40"/>
          </p15:clr>
        </p15:guide>
        <p15:guide id="6" pos="3840">
          <p15:clr>
            <a:srgbClr val="FBAE40"/>
          </p15:clr>
        </p15:guide>
        <p15:guide id="7" pos="325">
          <p15:clr>
            <a:srgbClr val="FBAE40"/>
          </p15:clr>
        </p15:guide>
        <p15:guide id="8" pos="7333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agina tre colonn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bg object 16">
            <a:extLst>
              <a:ext uri="{FF2B5EF4-FFF2-40B4-BE49-F238E27FC236}">
                <a16:creationId xmlns:a16="http://schemas.microsoft.com/office/drawing/2014/main" id="{BCFAEBF8-790C-A54A-9E47-3E3639BCC461}"/>
              </a:ext>
            </a:extLst>
          </p:cNvPr>
          <p:cNvSpPr/>
          <p:nvPr/>
        </p:nvSpPr>
        <p:spPr>
          <a:xfrm>
            <a:off x="11330381" y="6448615"/>
            <a:ext cx="311785" cy="410845"/>
          </a:xfrm>
          <a:custGeom>
            <a:avLst/>
            <a:gdLst/>
            <a:ahLst/>
            <a:cxnLst/>
            <a:rect l="l" t="t" r="r" b="b"/>
            <a:pathLst>
              <a:path w="311784" h="410845">
                <a:moveTo>
                  <a:pt x="311645" y="0"/>
                </a:moveTo>
                <a:lnTo>
                  <a:pt x="0" y="0"/>
                </a:lnTo>
                <a:lnTo>
                  <a:pt x="0" y="410438"/>
                </a:lnTo>
                <a:lnTo>
                  <a:pt x="311645" y="410438"/>
                </a:lnTo>
                <a:lnTo>
                  <a:pt x="311645" y="0"/>
                </a:lnTo>
                <a:close/>
              </a:path>
            </a:pathLst>
          </a:custGeom>
          <a:solidFill>
            <a:srgbClr val="0047B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" name="Holder 7">
            <a:extLst>
              <a:ext uri="{FF2B5EF4-FFF2-40B4-BE49-F238E27FC236}">
                <a16:creationId xmlns:a16="http://schemas.microsoft.com/office/drawing/2014/main" id="{EADEFA5D-780C-4841-8968-F8DA8FB77458}"/>
              </a:ext>
            </a:extLst>
          </p:cNvPr>
          <p:cNvSpPr txBox="1">
            <a:spLocks/>
          </p:cNvSpPr>
          <p:nvPr/>
        </p:nvSpPr>
        <p:spPr>
          <a:xfrm>
            <a:off x="11342726" y="6520516"/>
            <a:ext cx="256044" cy="16158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it-IT"/>
            </a:defPPr>
            <a:lvl1pPr marL="0" algn="l" defTabSz="914400" rtl="0" eaLnBrk="1" latinLnBrk="0" hangingPunct="1">
              <a:defRPr sz="850" b="1" i="0" kern="1200">
                <a:solidFill>
                  <a:schemeClr val="bg1"/>
                </a:solidFill>
                <a:latin typeface="Verdana"/>
                <a:ea typeface="+mn-ea"/>
                <a:cs typeface="Verdana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8100" algn="ctr">
              <a:spcBef>
                <a:spcPts val="105"/>
              </a:spcBef>
            </a:pPr>
            <a:fld id="{81D60167-4931-47E6-BA6A-407CBD079E47}" type="slidenum">
              <a:rPr lang="it-IT" sz="1050" b="0" i="0" spc="5" smtClean="0">
                <a:latin typeface="Avenir Next LT Pro" pitchFamily="2" charset="0"/>
              </a:rPr>
              <a:pPr marL="38100" algn="ctr">
                <a:spcBef>
                  <a:spcPts val="105"/>
                </a:spcBef>
              </a:pPr>
              <a:t>‹N›</a:t>
            </a:fld>
            <a:endParaRPr lang="it-IT" sz="1050" b="0" i="0" spc="5" dirty="0">
              <a:latin typeface="Avenir Next LT Pro" pitchFamily="2" charset="0"/>
            </a:endParaRPr>
          </a:p>
        </p:txBody>
      </p:sp>
      <p:sp>
        <p:nvSpPr>
          <p:cNvPr id="6" name="Triangolo isoscele 16">
            <a:extLst>
              <a:ext uri="{FF2B5EF4-FFF2-40B4-BE49-F238E27FC236}">
                <a16:creationId xmlns:a16="http://schemas.microsoft.com/office/drawing/2014/main" id="{8A368720-335F-0F45-860A-0606EE42684C}"/>
              </a:ext>
            </a:extLst>
          </p:cNvPr>
          <p:cNvSpPr/>
          <p:nvPr/>
        </p:nvSpPr>
        <p:spPr>
          <a:xfrm rot="10800000">
            <a:off x="303127" y="-324737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7" name="Triangolo isoscele 17">
            <a:extLst>
              <a:ext uri="{FF2B5EF4-FFF2-40B4-BE49-F238E27FC236}">
                <a16:creationId xmlns:a16="http://schemas.microsoft.com/office/drawing/2014/main" id="{E2772AA6-60C9-0B42-835F-13797EE9ED3C}"/>
              </a:ext>
            </a:extLst>
          </p:cNvPr>
          <p:cNvSpPr/>
          <p:nvPr/>
        </p:nvSpPr>
        <p:spPr>
          <a:xfrm rot="10800000">
            <a:off x="11756536" y="-324737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8" name="Triangolo isoscele 18">
            <a:extLst>
              <a:ext uri="{FF2B5EF4-FFF2-40B4-BE49-F238E27FC236}">
                <a16:creationId xmlns:a16="http://schemas.microsoft.com/office/drawing/2014/main" id="{C7BF371F-A6F2-FD41-82B8-D9B554CACAF1}"/>
              </a:ext>
            </a:extLst>
          </p:cNvPr>
          <p:cNvSpPr/>
          <p:nvPr/>
        </p:nvSpPr>
        <p:spPr>
          <a:xfrm>
            <a:off x="303127" y="6950754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9" name="Triangolo isoscele 19">
            <a:extLst>
              <a:ext uri="{FF2B5EF4-FFF2-40B4-BE49-F238E27FC236}">
                <a16:creationId xmlns:a16="http://schemas.microsoft.com/office/drawing/2014/main" id="{FCEF8EFB-88B6-D747-9382-15136CFCC56E}"/>
              </a:ext>
            </a:extLst>
          </p:cNvPr>
          <p:cNvSpPr/>
          <p:nvPr/>
        </p:nvSpPr>
        <p:spPr>
          <a:xfrm>
            <a:off x="11756536" y="6950754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10" name="Triangolo isoscele 20">
            <a:extLst>
              <a:ext uri="{FF2B5EF4-FFF2-40B4-BE49-F238E27FC236}">
                <a16:creationId xmlns:a16="http://schemas.microsoft.com/office/drawing/2014/main" id="{47007676-0BFD-5F42-846B-AA823A1BFA60}"/>
              </a:ext>
            </a:extLst>
          </p:cNvPr>
          <p:cNvSpPr/>
          <p:nvPr/>
        </p:nvSpPr>
        <p:spPr>
          <a:xfrm rot="5400000">
            <a:off x="-276040" y="885372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11" name="Triangolo isoscele 21">
            <a:extLst>
              <a:ext uri="{FF2B5EF4-FFF2-40B4-BE49-F238E27FC236}">
                <a16:creationId xmlns:a16="http://schemas.microsoft.com/office/drawing/2014/main" id="{9F8B8967-D8B7-EF40-A160-9FD75894783B}"/>
              </a:ext>
            </a:extLst>
          </p:cNvPr>
          <p:cNvSpPr/>
          <p:nvPr/>
        </p:nvSpPr>
        <p:spPr>
          <a:xfrm rot="5400000">
            <a:off x="-276039" y="5982836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12" name="Triangolo isoscele 22">
            <a:extLst>
              <a:ext uri="{FF2B5EF4-FFF2-40B4-BE49-F238E27FC236}">
                <a16:creationId xmlns:a16="http://schemas.microsoft.com/office/drawing/2014/main" id="{58B46DE6-6338-7140-8CA8-25EC1DE4AEB7}"/>
              </a:ext>
            </a:extLst>
          </p:cNvPr>
          <p:cNvSpPr/>
          <p:nvPr/>
        </p:nvSpPr>
        <p:spPr>
          <a:xfrm rot="16200000">
            <a:off x="12331119" y="885372"/>
            <a:ext cx="132336" cy="261257"/>
          </a:xfrm>
          <a:prstGeom prst="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13" name="Triangolo isoscele 23">
            <a:extLst>
              <a:ext uri="{FF2B5EF4-FFF2-40B4-BE49-F238E27FC236}">
                <a16:creationId xmlns:a16="http://schemas.microsoft.com/office/drawing/2014/main" id="{BA951F18-3E6B-F245-B833-D4E6A22CAE34}"/>
              </a:ext>
            </a:extLst>
          </p:cNvPr>
          <p:cNvSpPr/>
          <p:nvPr/>
        </p:nvSpPr>
        <p:spPr>
          <a:xfrm rot="16200000">
            <a:off x="12331120" y="5982836"/>
            <a:ext cx="132336" cy="261257"/>
          </a:xfrm>
          <a:prstGeom prst="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14" name="Triangolo isoscele 31">
            <a:extLst>
              <a:ext uri="{FF2B5EF4-FFF2-40B4-BE49-F238E27FC236}">
                <a16:creationId xmlns:a16="http://schemas.microsoft.com/office/drawing/2014/main" id="{07246241-C678-DB48-84D0-2C7143C6A157}"/>
              </a:ext>
            </a:extLst>
          </p:cNvPr>
          <p:cNvSpPr/>
          <p:nvPr/>
        </p:nvSpPr>
        <p:spPr>
          <a:xfrm rot="10800000">
            <a:off x="303127" y="-324737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15" name="Triangolo isoscele 32">
            <a:extLst>
              <a:ext uri="{FF2B5EF4-FFF2-40B4-BE49-F238E27FC236}">
                <a16:creationId xmlns:a16="http://schemas.microsoft.com/office/drawing/2014/main" id="{A3BC8E3A-7E5D-BE49-8DBD-35856251134F}"/>
              </a:ext>
            </a:extLst>
          </p:cNvPr>
          <p:cNvSpPr/>
          <p:nvPr/>
        </p:nvSpPr>
        <p:spPr>
          <a:xfrm rot="10800000">
            <a:off x="11756536" y="-324737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16" name="Triangolo isoscele 33">
            <a:extLst>
              <a:ext uri="{FF2B5EF4-FFF2-40B4-BE49-F238E27FC236}">
                <a16:creationId xmlns:a16="http://schemas.microsoft.com/office/drawing/2014/main" id="{E9B5EA53-1DC4-1940-8594-3256ADD5AE0C}"/>
              </a:ext>
            </a:extLst>
          </p:cNvPr>
          <p:cNvSpPr/>
          <p:nvPr/>
        </p:nvSpPr>
        <p:spPr>
          <a:xfrm>
            <a:off x="303127" y="6950754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21" name="Triangolo isoscele 34">
            <a:extLst>
              <a:ext uri="{FF2B5EF4-FFF2-40B4-BE49-F238E27FC236}">
                <a16:creationId xmlns:a16="http://schemas.microsoft.com/office/drawing/2014/main" id="{749E0E17-FFD8-164C-B560-1DFF3FBB41DF}"/>
              </a:ext>
            </a:extLst>
          </p:cNvPr>
          <p:cNvSpPr/>
          <p:nvPr/>
        </p:nvSpPr>
        <p:spPr>
          <a:xfrm>
            <a:off x="11756536" y="6950754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22" name="Triangolo isoscele 35">
            <a:extLst>
              <a:ext uri="{FF2B5EF4-FFF2-40B4-BE49-F238E27FC236}">
                <a16:creationId xmlns:a16="http://schemas.microsoft.com/office/drawing/2014/main" id="{2449D32D-31E9-1E41-8135-CF757AF1ADCB}"/>
              </a:ext>
            </a:extLst>
          </p:cNvPr>
          <p:cNvSpPr/>
          <p:nvPr/>
        </p:nvSpPr>
        <p:spPr>
          <a:xfrm rot="5400000">
            <a:off x="-276040" y="885372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23" name="Triangolo isoscele 36">
            <a:extLst>
              <a:ext uri="{FF2B5EF4-FFF2-40B4-BE49-F238E27FC236}">
                <a16:creationId xmlns:a16="http://schemas.microsoft.com/office/drawing/2014/main" id="{92505FB0-1068-1143-AB9B-F5A849D826DE}"/>
              </a:ext>
            </a:extLst>
          </p:cNvPr>
          <p:cNvSpPr/>
          <p:nvPr/>
        </p:nvSpPr>
        <p:spPr>
          <a:xfrm rot="5400000">
            <a:off x="-276039" y="5982836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24" name="Triangolo isoscele 37">
            <a:extLst>
              <a:ext uri="{FF2B5EF4-FFF2-40B4-BE49-F238E27FC236}">
                <a16:creationId xmlns:a16="http://schemas.microsoft.com/office/drawing/2014/main" id="{D60FCBF0-3D48-CF40-ABA6-F53B703D88CA}"/>
              </a:ext>
            </a:extLst>
          </p:cNvPr>
          <p:cNvSpPr/>
          <p:nvPr/>
        </p:nvSpPr>
        <p:spPr>
          <a:xfrm rot="16200000">
            <a:off x="12331119" y="885372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25" name="Triangolo isoscele 38">
            <a:extLst>
              <a:ext uri="{FF2B5EF4-FFF2-40B4-BE49-F238E27FC236}">
                <a16:creationId xmlns:a16="http://schemas.microsoft.com/office/drawing/2014/main" id="{95E14022-E59F-9F4C-998B-8575096AA6A0}"/>
              </a:ext>
            </a:extLst>
          </p:cNvPr>
          <p:cNvSpPr/>
          <p:nvPr/>
        </p:nvSpPr>
        <p:spPr>
          <a:xfrm rot="16200000">
            <a:off x="12331120" y="5982836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pic>
        <p:nvPicPr>
          <p:cNvPr id="36" name="Elemento grafico 35">
            <a:extLst>
              <a:ext uri="{FF2B5EF4-FFF2-40B4-BE49-F238E27FC236}">
                <a16:creationId xmlns:a16="http://schemas.microsoft.com/office/drawing/2014/main" id="{9531B5A1-7BA2-E141-B54D-FEC62D4B762E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081892" y="-5080"/>
            <a:ext cx="1560273" cy="309880"/>
          </a:xfrm>
          <a:prstGeom prst="rect">
            <a:avLst/>
          </a:prstGeom>
        </p:spPr>
      </p:pic>
      <p:sp>
        <p:nvSpPr>
          <p:cNvPr id="37" name="object 267">
            <a:extLst>
              <a:ext uri="{FF2B5EF4-FFF2-40B4-BE49-F238E27FC236}">
                <a16:creationId xmlns:a16="http://schemas.microsoft.com/office/drawing/2014/main" id="{1A701277-6B82-924C-9434-545B7977906E}"/>
              </a:ext>
            </a:extLst>
          </p:cNvPr>
          <p:cNvSpPr/>
          <p:nvPr/>
        </p:nvSpPr>
        <p:spPr>
          <a:xfrm>
            <a:off x="0" y="1251482"/>
            <a:ext cx="675518" cy="45719"/>
          </a:xfrm>
          <a:custGeom>
            <a:avLst/>
            <a:gdLst/>
            <a:ahLst/>
            <a:cxnLst/>
            <a:rect l="l" t="t" r="r" b="b"/>
            <a:pathLst>
              <a:path w="657225">
                <a:moveTo>
                  <a:pt x="0" y="0"/>
                </a:moveTo>
                <a:lnTo>
                  <a:pt x="656678" y="0"/>
                </a:lnTo>
              </a:path>
            </a:pathLst>
          </a:custGeom>
          <a:ln w="76200">
            <a:solidFill>
              <a:srgbClr val="EEDC00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JhengHei UI Light" panose="020B0304030504040204" pitchFamily="34" charset="-120"/>
              <a:ea typeface="Microsoft JhengHei UI Light" panose="020B0304030504040204" pitchFamily="34" charset="-120"/>
              <a:cs typeface="+mn-cs"/>
            </a:endParaRPr>
          </a:p>
        </p:txBody>
      </p:sp>
      <p:sp>
        <p:nvSpPr>
          <p:cNvPr id="34" name="Segnaposto testo 2">
            <a:extLst>
              <a:ext uri="{FF2B5EF4-FFF2-40B4-BE49-F238E27FC236}">
                <a16:creationId xmlns:a16="http://schemas.microsoft.com/office/drawing/2014/main" id="{1B74C236-B652-4041-99ED-254A64385C7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49834" y="503037"/>
            <a:ext cx="10412412" cy="655637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 b="0" i="0">
                <a:solidFill>
                  <a:srgbClr val="0047BB"/>
                </a:solidFill>
                <a:latin typeface="Avenir Next LT Pro" panose="020B0504020202020204" pitchFamily="34" charset="77"/>
              </a:defRPr>
            </a:lvl1pPr>
            <a:lvl2pPr marL="457200" indent="0">
              <a:buNone/>
              <a:defRPr sz="4000" b="0" i="0">
                <a:latin typeface="Avenir Next LT Pro" panose="020B0504020202020204" pitchFamily="34" charset="77"/>
              </a:defRPr>
            </a:lvl2pPr>
            <a:lvl3pPr marL="914400" indent="0">
              <a:buNone/>
              <a:defRPr sz="4000" b="0" i="0">
                <a:latin typeface="Avenir Next LT Pro" panose="020B0504020202020204" pitchFamily="34" charset="77"/>
              </a:defRPr>
            </a:lvl3pPr>
            <a:lvl4pPr marL="1371600" indent="0">
              <a:buNone/>
              <a:defRPr sz="4000" b="0" i="0">
                <a:latin typeface="Avenir Next LT Pro" panose="020B0504020202020204" pitchFamily="34" charset="77"/>
              </a:defRPr>
            </a:lvl4pPr>
            <a:lvl5pPr marL="1828800" indent="0">
              <a:buNone/>
              <a:defRPr sz="4000" b="0" i="0">
                <a:latin typeface="Avenir Next LT Pro" panose="020B0504020202020204" pitchFamily="34" charset="77"/>
              </a:defRPr>
            </a:lvl5pPr>
          </a:lstStyle>
          <a:p>
            <a:pPr lvl="0"/>
            <a:r>
              <a:rPr lang="it-IT" dirty="0"/>
              <a:t>FARE CLIC PER MODIFICARE TITOLO DIAPOSITIVA</a:t>
            </a:r>
          </a:p>
        </p:txBody>
      </p:sp>
      <p:sp>
        <p:nvSpPr>
          <p:cNvPr id="40" name="Segnaposto testo 4">
            <a:extLst>
              <a:ext uri="{FF2B5EF4-FFF2-40B4-BE49-F238E27FC236}">
                <a16:creationId xmlns:a16="http://schemas.microsoft.com/office/drawing/2014/main" id="{597E06C8-CAFB-E24B-A154-8EA093E0C54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49834" y="5917932"/>
            <a:ext cx="9402763" cy="573088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900" b="0" i="0">
                <a:latin typeface="Avenir Next LT Pro" panose="020B0504020202020204" pitchFamily="34" charset="77"/>
              </a:defRPr>
            </a:lvl1pPr>
            <a:lvl2pPr marL="457200" indent="0">
              <a:buNone/>
              <a:defRPr sz="900" b="0" i="0">
                <a:latin typeface="Avenir Next LT Pro" panose="020B0504020202020204" pitchFamily="34" charset="77"/>
              </a:defRPr>
            </a:lvl2pPr>
            <a:lvl3pPr marL="914400" indent="0">
              <a:buNone/>
              <a:defRPr sz="900" b="0" i="0">
                <a:latin typeface="Avenir Next LT Pro" panose="020B0504020202020204" pitchFamily="34" charset="77"/>
              </a:defRPr>
            </a:lvl3pPr>
            <a:lvl4pPr marL="1371600" indent="0">
              <a:buNone/>
              <a:defRPr sz="900" b="0" i="0">
                <a:latin typeface="Avenir Next LT Pro" panose="020B0504020202020204" pitchFamily="34" charset="77"/>
              </a:defRPr>
            </a:lvl4pPr>
            <a:lvl5pPr marL="1828800" indent="0">
              <a:buNone/>
              <a:defRPr sz="900" b="0" i="0">
                <a:latin typeface="Avenir Next LT Pro" panose="020B0504020202020204" pitchFamily="34" charset="77"/>
              </a:defRPr>
            </a:lvl5pPr>
          </a:lstStyle>
          <a:p>
            <a:pPr lvl="0"/>
            <a:r>
              <a:rPr lang="it-IT" dirty="0"/>
              <a:t>1. Fare clic per modificare le note 2. Fare clic per modificare le note 3. Fare clic per modificare le note </a:t>
            </a:r>
          </a:p>
        </p:txBody>
      </p:sp>
      <p:grpSp>
        <p:nvGrpSpPr>
          <p:cNvPr id="3" name="Gruppo 2">
            <a:extLst>
              <a:ext uri="{FF2B5EF4-FFF2-40B4-BE49-F238E27FC236}">
                <a16:creationId xmlns:a16="http://schemas.microsoft.com/office/drawing/2014/main" id="{E21151D6-4C81-4291-A326-8F10FC710FFD}"/>
              </a:ext>
            </a:extLst>
          </p:cNvPr>
          <p:cNvGrpSpPr/>
          <p:nvPr/>
        </p:nvGrpSpPr>
        <p:grpSpPr>
          <a:xfrm>
            <a:off x="633940" y="1509967"/>
            <a:ext cx="756000" cy="756000"/>
            <a:chOff x="633940" y="1509967"/>
            <a:chExt cx="756000" cy="756000"/>
          </a:xfrm>
        </p:grpSpPr>
        <p:sp>
          <p:nvSpPr>
            <p:cNvPr id="38" name="object 46">
              <a:extLst>
                <a:ext uri="{FF2B5EF4-FFF2-40B4-BE49-F238E27FC236}">
                  <a16:creationId xmlns:a16="http://schemas.microsoft.com/office/drawing/2014/main" id="{1A31036D-EA7B-4D3A-ABB2-BD0C250E805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33940" y="1509967"/>
              <a:ext cx="756000" cy="756000"/>
            </a:xfrm>
            <a:custGeom>
              <a:avLst/>
              <a:gdLst/>
              <a:ahLst/>
              <a:cxnLst/>
              <a:rect l="l" t="t" r="r" b="b"/>
              <a:pathLst>
                <a:path w="1009650" h="1009650">
                  <a:moveTo>
                    <a:pt x="1009637" y="504825"/>
                  </a:moveTo>
                  <a:lnTo>
                    <a:pt x="1007326" y="553440"/>
                  </a:lnTo>
                  <a:lnTo>
                    <a:pt x="1000534" y="600748"/>
                  </a:lnTo>
                  <a:lnTo>
                    <a:pt x="989474" y="646537"/>
                  </a:lnTo>
                  <a:lnTo>
                    <a:pt x="974355" y="690596"/>
                  </a:lnTo>
                  <a:lnTo>
                    <a:pt x="955391" y="732714"/>
                  </a:lnTo>
                  <a:lnTo>
                    <a:pt x="932791" y="772678"/>
                  </a:lnTo>
                  <a:lnTo>
                    <a:pt x="906769" y="810276"/>
                  </a:lnTo>
                  <a:lnTo>
                    <a:pt x="877535" y="845298"/>
                  </a:lnTo>
                  <a:lnTo>
                    <a:pt x="845302" y="877532"/>
                  </a:lnTo>
                  <a:lnTo>
                    <a:pt x="810279" y="906766"/>
                  </a:lnTo>
                  <a:lnTo>
                    <a:pt x="772680" y="932789"/>
                  </a:lnTo>
                  <a:lnTo>
                    <a:pt x="732715" y="955389"/>
                  </a:lnTo>
                  <a:lnTo>
                    <a:pt x="690596" y="974354"/>
                  </a:lnTo>
                  <a:lnTo>
                    <a:pt x="646535" y="989473"/>
                  </a:lnTo>
                  <a:lnTo>
                    <a:pt x="600743" y="1000534"/>
                  </a:lnTo>
                  <a:lnTo>
                    <a:pt x="553431" y="1007326"/>
                  </a:lnTo>
                  <a:lnTo>
                    <a:pt x="504812" y="1009637"/>
                  </a:lnTo>
                  <a:lnTo>
                    <a:pt x="456197" y="1007326"/>
                  </a:lnTo>
                  <a:lnTo>
                    <a:pt x="408888" y="1000534"/>
                  </a:lnTo>
                  <a:lnTo>
                    <a:pt x="363099" y="989473"/>
                  </a:lnTo>
                  <a:lnTo>
                    <a:pt x="319040" y="974354"/>
                  </a:lnTo>
                  <a:lnTo>
                    <a:pt x="276923" y="955389"/>
                  </a:lnTo>
                  <a:lnTo>
                    <a:pt x="236959" y="932789"/>
                  </a:lnTo>
                  <a:lnTo>
                    <a:pt x="199360" y="906766"/>
                  </a:lnTo>
                  <a:lnTo>
                    <a:pt x="164338" y="877532"/>
                  </a:lnTo>
                  <a:lnTo>
                    <a:pt x="132104" y="845298"/>
                  </a:lnTo>
                  <a:lnTo>
                    <a:pt x="102870" y="810276"/>
                  </a:lnTo>
                  <a:lnTo>
                    <a:pt x="76847" y="772678"/>
                  </a:lnTo>
                  <a:lnTo>
                    <a:pt x="54248" y="732714"/>
                  </a:lnTo>
                  <a:lnTo>
                    <a:pt x="35283" y="690596"/>
                  </a:lnTo>
                  <a:lnTo>
                    <a:pt x="20164" y="646537"/>
                  </a:lnTo>
                  <a:lnTo>
                    <a:pt x="9102" y="600748"/>
                  </a:lnTo>
                  <a:lnTo>
                    <a:pt x="2310" y="553440"/>
                  </a:lnTo>
                  <a:lnTo>
                    <a:pt x="0" y="504825"/>
                  </a:lnTo>
                  <a:lnTo>
                    <a:pt x="2310" y="456207"/>
                  </a:lnTo>
                  <a:lnTo>
                    <a:pt x="9102" y="408897"/>
                  </a:lnTo>
                  <a:lnTo>
                    <a:pt x="20164" y="363106"/>
                  </a:lnTo>
                  <a:lnTo>
                    <a:pt x="35283" y="319045"/>
                  </a:lnTo>
                  <a:lnTo>
                    <a:pt x="54248" y="276927"/>
                  </a:lnTo>
                  <a:lnTo>
                    <a:pt x="76847" y="236962"/>
                  </a:lnTo>
                  <a:lnTo>
                    <a:pt x="102870" y="199363"/>
                  </a:lnTo>
                  <a:lnTo>
                    <a:pt x="132104" y="164340"/>
                  </a:lnTo>
                  <a:lnTo>
                    <a:pt x="164338" y="132105"/>
                  </a:lnTo>
                  <a:lnTo>
                    <a:pt x="199360" y="102871"/>
                  </a:lnTo>
                  <a:lnTo>
                    <a:pt x="236959" y="76848"/>
                  </a:lnTo>
                  <a:lnTo>
                    <a:pt x="276923" y="54248"/>
                  </a:lnTo>
                  <a:lnTo>
                    <a:pt x="319040" y="35283"/>
                  </a:lnTo>
                  <a:lnTo>
                    <a:pt x="363099" y="20164"/>
                  </a:lnTo>
                  <a:lnTo>
                    <a:pt x="408888" y="9102"/>
                  </a:lnTo>
                  <a:lnTo>
                    <a:pt x="456197" y="2310"/>
                  </a:lnTo>
                  <a:lnTo>
                    <a:pt x="504812" y="0"/>
                  </a:lnTo>
                  <a:lnTo>
                    <a:pt x="553431" y="2310"/>
                  </a:lnTo>
                  <a:lnTo>
                    <a:pt x="600743" y="9102"/>
                  </a:lnTo>
                  <a:lnTo>
                    <a:pt x="646535" y="20164"/>
                  </a:lnTo>
                  <a:lnTo>
                    <a:pt x="690596" y="35283"/>
                  </a:lnTo>
                  <a:lnTo>
                    <a:pt x="732715" y="54248"/>
                  </a:lnTo>
                  <a:lnTo>
                    <a:pt x="772680" y="76848"/>
                  </a:lnTo>
                  <a:lnTo>
                    <a:pt x="810279" y="102871"/>
                  </a:lnTo>
                  <a:lnTo>
                    <a:pt x="845302" y="132105"/>
                  </a:lnTo>
                  <a:lnTo>
                    <a:pt x="877535" y="164340"/>
                  </a:lnTo>
                  <a:lnTo>
                    <a:pt x="906769" y="199363"/>
                  </a:lnTo>
                  <a:lnTo>
                    <a:pt x="932791" y="236962"/>
                  </a:lnTo>
                  <a:lnTo>
                    <a:pt x="955391" y="276927"/>
                  </a:lnTo>
                  <a:lnTo>
                    <a:pt x="974355" y="319045"/>
                  </a:lnTo>
                  <a:lnTo>
                    <a:pt x="989474" y="363106"/>
                  </a:lnTo>
                  <a:lnTo>
                    <a:pt x="1000534" y="408897"/>
                  </a:lnTo>
                  <a:lnTo>
                    <a:pt x="1007326" y="456207"/>
                  </a:lnTo>
                  <a:lnTo>
                    <a:pt x="1009637" y="504825"/>
                  </a:lnTo>
                  <a:close/>
                </a:path>
              </a:pathLst>
            </a:custGeom>
            <a:solidFill>
              <a:schemeClr val="bg1"/>
            </a:solidFill>
            <a:ln w="12700">
              <a:solidFill>
                <a:srgbClr val="0046BA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3B3B3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" name="object 47">
              <a:extLst>
                <a:ext uri="{FF2B5EF4-FFF2-40B4-BE49-F238E27FC236}">
                  <a16:creationId xmlns:a16="http://schemas.microsoft.com/office/drawing/2014/main" id="{B5C934CC-BE9A-47FC-80BA-9E7FC344FDEB}"/>
                </a:ext>
              </a:extLst>
            </p:cNvPr>
            <p:cNvSpPr/>
            <p:nvPr/>
          </p:nvSpPr>
          <p:spPr>
            <a:xfrm>
              <a:off x="687940" y="1563967"/>
              <a:ext cx="648000" cy="648000"/>
            </a:xfrm>
            <a:custGeom>
              <a:avLst/>
              <a:gdLst/>
              <a:ahLst/>
              <a:cxnLst/>
              <a:rect l="l" t="t" r="r" b="b"/>
              <a:pathLst>
                <a:path w="836294" h="836294">
                  <a:moveTo>
                    <a:pt x="417944" y="0"/>
                  </a:moveTo>
                  <a:lnTo>
                    <a:pt x="369203" y="2811"/>
                  </a:lnTo>
                  <a:lnTo>
                    <a:pt x="322114" y="11038"/>
                  </a:lnTo>
                  <a:lnTo>
                    <a:pt x="276989" y="24365"/>
                  </a:lnTo>
                  <a:lnTo>
                    <a:pt x="234143" y="42480"/>
                  </a:lnTo>
                  <a:lnTo>
                    <a:pt x="193890" y="65069"/>
                  </a:lnTo>
                  <a:lnTo>
                    <a:pt x="156542" y="91818"/>
                  </a:lnTo>
                  <a:lnTo>
                    <a:pt x="122413" y="122413"/>
                  </a:lnTo>
                  <a:lnTo>
                    <a:pt x="91818" y="156542"/>
                  </a:lnTo>
                  <a:lnTo>
                    <a:pt x="65069" y="193890"/>
                  </a:lnTo>
                  <a:lnTo>
                    <a:pt x="42480" y="234143"/>
                  </a:lnTo>
                  <a:lnTo>
                    <a:pt x="24365" y="276989"/>
                  </a:lnTo>
                  <a:lnTo>
                    <a:pt x="11038" y="322114"/>
                  </a:lnTo>
                  <a:lnTo>
                    <a:pt x="2811" y="369203"/>
                  </a:lnTo>
                  <a:lnTo>
                    <a:pt x="0" y="417944"/>
                  </a:lnTo>
                  <a:lnTo>
                    <a:pt x="2811" y="466685"/>
                  </a:lnTo>
                  <a:lnTo>
                    <a:pt x="11038" y="513774"/>
                  </a:lnTo>
                  <a:lnTo>
                    <a:pt x="24365" y="558898"/>
                  </a:lnTo>
                  <a:lnTo>
                    <a:pt x="42480" y="601744"/>
                  </a:lnTo>
                  <a:lnTo>
                    <a:pt x="65069" y="641998"/>
                  </a:lnTo>
                  <a:lnTo>
                    <a:pt x="91818" y="679346"/>
                  </a:lnTo>
                  <a:lnTo>
                    <a:pt x="122413" y="713474"/>
                  </a:lnTo>
                  <a:lnTo>
                    <a:pt x="156542" y="744070"/>
                  </a:lnTo>
                  <a:lnTo>
                    <a:pt x="193890" y="770819"/>
                  </a:lnTo>
                  <a:lnTo>
                    <a:pt x="234143" y="793407"/>
                  </a:lnTo>
                  <a:lnTo>
                    <a:pt x="276989" y="811522"/>
                  </a:lnTo>
                  <a:lnTo>
                    <a:pt x="322114" y="824850"/>
                  </a:lnTo>
                  <a:lnTo>
                    <a:pt x="369203" y="833076"/>
                  </a:lnTo>
                  <a:lnTo>
                    <a:pt x="417944" y="835888"/>
                  </a:lnTo>
                  <a:lnTo>
                    <a:pt x="466685" y="833076"/>
                  </a:lnTo>
                  <a:lnTo>
                    <a:pt x="513774" y="824850"/>
                  </a:lnTo>
                  <a:lnTo>
                    <a:pt x="558898" y="811522"/>
                  </a:lnTo>
                  <a:lnTo>
                    <a:pt x="601744" y="793407"/>
                  </a:lnTo>
                  <a:lnTo>
                    <a:pt x="641998" y="770819"/>
                  </a:lnTo>
                  <a:lnTo>
                    <a:pt x="679346" y="744070"/>
                  </a:lnTo>
                  <a:lnTo>
                    <a:pt x="713474" y="713474"/>
                  </a:lnTo>
                  <a:lnTo>
                    <a:pt x="744070" y="679346"/>
                  </a:lnTo>
                  <a:lnTo>
                    <a:pt x="770819" y="641998"/>
                  </a:lnTo>
                  <a:lnTo>
                    <a:pt x="793407" y="601744"/>
                  </a:lnTo>
                  <a:lnTo>
                    <a:pt x="811522" y="558898"/>
                  </a:lnTo>
                  <a:lnTo>
                    <a:pt x="824850" y="513774"/>
                  </a:lnTo>
                  <a:lnTo>
                    <a:pt x="833076" y="466685"/>
                  </a:lnTo>
                  <a:lnTo>
                    <a:pt x="835888" y="417944"/>
                  </a:lnTo>
                  <a:lnTo>
                    <a:pt x="833076" y="369203"/>
                  </a:lnTo>
                  <a:lnTo>
                    <a:pt x="824850" y="322114"/>
                  </a:lnTo>
                  <a:lnTo>
                    <a:pt x="811522" y="276989"/>
                  </a:lnTo>
                  <a:lnTo>
                    <a:pt x="793407" y="234143"/>
                  </a:lnTo>
                  <a:lnTo>
                    <a:pt x="770819" y="193890"/>
                  </a:lnTo>
                  <a:lnTo>
                    <a:pt x="744070" y="156542"/>
                  </a:lnTo>
                  <a:lnTo>
                    <a:pt x="713474" y="122413"/>
                  </a:lnTo>
                  <a:lnTo>
                    <a:pt x="679346" y="91818"/>
                  </a:lnTo>
                  <a:lnTo>
                    <a:pt x="641998" y="65069"/>
                  </a:lnTo>
                  <a:lnTo>
                    <a:pt x="601744" y="42480"/>
                  </a:lnTo>
                  <a:lnTo>
                    <a:pt x="558898" y="24365"/>
                  </a:lnTo>
                  <a:lnTo>
                    <a:pt x="513774" y="11038"/>
                  </a:lnTo>
                  <a:lnTo>
                    <a:pt x="466685" y="2811"/>
                  </a:lnTo>
                  <a:lnTo>
                    <a:pt x="417944" y="0"/>
                  </a:lnTo>
                  <a:close/>
                </a:path>
              </a:pathLst>
            </a:custGeom>
            <a:solidFill>
              <a:srgbClr val="EEDC00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srgbClr val="3B3B3A"/>
                </a:solidFill>
                <a:effectLst/>
                <a:uLnTx/>
                <a:uFillTx/>
                <a:latin typeface="Avenir Next LT Pro" panose="020B0504020202020204" pitchFamily="34" charset="77"/>
                <a:ea typeface="+mn-ea"/>
                <a:cs typeface="+mn-cs"/>
              </a:endParaRPr>
            </a:p>
          </p:txBody>
        </p:sp>
      </p:grpSp>
      <p:cxnSp>
        <p:nvCxnSpPr>
          <p:cNvPr id="41" name="Connettore 1 46">
            <a:extLst>
              <a:ext uri="{FF2B5EF4-FFF2-40B4-BE49-F238E27FC236}">
                <a16:creationId xmlns:a16="http://schemas.microsoft.com/office/drawing/2014/main" id="{03956D96-28CC-49C4-A88E-667F0657136E}"/>
              </a:ext>
            </a:extLst>
          </p:cNvPr>
          <p:cNvCxnSpPr>
            <a:cxnSpLocks/>
          </p:cNvCxnSpPr>
          <p:nvPr/>
        </p:nvCxnSpPr>
        <p:spPr>
          <a:xfrm>
            <a:off x="1395006" y="1889852"/>
            <a:ext cx="4140000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Segnaposto testo 46">
            <a:extLst>
              <a:ext uri="{FF2B5EF4-FFF2-40B4-BE49-F238E27FC236}">
                <a16:creationId xmlns:a16="http://schemas.microsoft.com/office/drawing/2014/main" id="{00BC452B-C9F6-486C-8B6F-1CA1B2145E8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457282" y="1158675"/>
            <a:ext cx="4140000" cy="746498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 b="0" i="0">
                <a:solidFill>
                  <a:srgbClr val="0047BB"/>
                </a:solidFill>
                <a:latin typeface="Avenir Next LT Pro" panose="020B0504020202020204" pitchFamily="34" charset="77"/>
              </a:defRPr>
            </a:lvl1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32" name="Segnaposto contenuto 3">
            <a:extLst>
              <a:ext uri="{FF2B5EF4-FFF2-40B4-BE49-F238E27FC236}">
                <a16:creationId xmlns:a16="http://schemas.microsoft.com/office/drawing/2014/main" id="{9B1DE1F4-2F5D-4F85-8318-DB305988E7AB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232694" y="2355971"/>
            <a:ext cx="3672586" cy="3558143"/>
          </a:xfrm>
          <a:prstGeom prst="rect">
            <a:avLst/>
          </a:prstGeom>
        </p:spPr>
        <p:txBody>
          <a:bodyPr lIns="144000" tIns="144000" rIns="144000" bIns="144000"/>
          <a:lstStyle>
            <a:lvl1pPr marL="0" indent="0">
              <a:buClr>
                <a:schemeClr val="accent2"/>
              </a:buClr>
              <a:buFont typeface="Font di sistema regolare"/>
              <a:buNone/>
              <a:defRPr sz="1400">
                <a:solidFill>
                  <a:schemeClr val="tx1"/>
                </a:solidFill>
              </a:defRPr>
            </a:lvl1pPr>
            <a:lvl2pPr marL="457200" indent="0">
              <a:buClr>
                <a:schemeClr val="accent2"/>
              </a:buClr>
              <a:buFont typeface="Font di sistema regolare"/>
              <a:buNone/>
              <a:defRPr sz="1400">
                <a:solidFill>
                  <a:schemeClr val="tx1"/>
                </a:solidFill>
              </a:defRPr>
            </a:lvl2pPr>
            <a:lvl3pPr marL="914400" indent="0">
              <a:buClr>
                <a:schemeClr val="accent2"/>
              </a:buClr>
              <a:buFont typeface="Font di sistema regolare"/>
              <a:buNone/>
              <a:defRPr sz="1400">
                <a:solidFill>
                  <a:schemeClr val="tx1"/>
                </a:solidFill>
              </a:defRPr>
            </a:lvl3pPr>
            <a:lvl4pPr marL="1371600" indent="0">
              <a:buClr>
                <a:schemeClr val="accent2"/>
              </a:buClr>
              <a:buFont typeface="Font di sistema regolare"/>
              <a:buNone/>
              <a:defRPr sz="1400">
                <a:solidFill>
                  <a:schemeClr val="tx1"/>
                </a:solidFill>
              </a:defRPr>
            </a:lvl4pPr>
            <a:lvl5pPr marL="1828800" indent="0">
              <a:buClr>
                <a:schemeClr val="accent2"/>
              </a:buClr>
              <a:buFont typeface="Font di sistema regolare"/>
              <a:buNone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it-IT" dirty="0"/>
              <a:t>Inserimento testo, grafico, tabella o altro</a:t>
            </a:r>
          </a:p>
        </p:txBody>
      </p:sp>
      <p:sp>
        <p:nvSpPr>
          <p:cNvPr id="35" name="Segnaposto contenuto 3">
            <a:extLst>
              <a:ext uri="{FF2B5EF4-FFF2-40B4-BE49-F238E27FC236}">
                <a16:creationId xmlns:a16="http://schemas.microsoft.com/office/drawing/2014/main" id="{D53191BF-29FC-4AEB-BC06-569EAB55EBE5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515938" y="2355971"/>
            <a:ext cx="3716756" cy="3558143"/>
          </a:xfrm>
          <a:prstGeom prst="rect">
            <a:avLst/>
          </a:prstGeom>
        </p:spPr>
        <p:txBody>
          <a:bodyPr lIns="144000" tIns="144000" rIns="144000" bIns="144000"/>
          <a:lstStyle>
            <a:lvl1pPr marL="0" indent="0">
              <a:buClr>
                <a:schemeClr val="accent2"/>
              </a:buClr>
              <a:buFont typeface="Font di sistema regolare"/>
              <a:buNone/>
              <a:defRPr sz="1400">
                <a:solidFill>
                  <a:schemeClr val="tx1"/>
                </a:solidFill>
              </a:defRPr>
            </a:lvl1pPr>
            <a:lvl2pPr marL="457200" indent="0">
              <a:buClr>
                <a:schemeClr val="accent2"/>
              </a:buClr>
              <a:buFont typeface="Font di sistema regolare"/>
              <a:buNone/>
              <a:defRPr sz="1400">
                <a:solidFill>
                  <a:schemeClr val="tx1"/>
                </a:solidFill>
              </a:defRPr>
            </a:lvl2pPr>
            <a:lvl3pPr marL="914400" indent="0">
              <a:buClr>
                <a:schemeClr val="accent2"/>
              </a:buClr>
              <a:buFont typeface="Font di sistema regolare"/>
              <a:buNone/>
              <a:defRPr sz="1400">
                <a:solidFill>
                  <a:schemeClr val="tx1"/>
                </a:solidFill>
              </a:defRPr>
            </a:lvl3pPr>
            <a:lvl4pPr marL="1371600" indent="0">
              <a:buClr>
                <a:schemeClr val="accent2"/>
              </a:buClr>
              <a:buFont typeface="Font di sistema regolare"/>
              <a:buNone/>
              <a:defRPr sz="1400">
                <a:solidFill>
                  <a:schemeClr val="tx1"/>
                </a:solidFill>
              </a:defRPr>
            </a:lvl4pPr>
            <a:lvl5pPr marL="1828800" indent="0">
              <a:buClr>
                <a:schemeClr val="accent2"/>
              </a:buClr>
              <a:buFont typeface="Font di sistema regolare"/>
              <a:buNone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it-IT" dirty="0"/>
              <a:t>Inserimento testo, grafico, tabella o altro</a:t>
            </a:r>
          </a:p>
        </p:txBody>
      </p:sp>
      <p:sp>
        <p:nvSpPr>
          <p:cNvPr id="43" name="Segnaposto contenuto 3">
            <a:extLst>
              <a:ext uri="{FF2B5EF4-FFF2-40B4-BE49-F238E27FC236}">
                <a16:creationId xmlns:a16="http://schemas.microsoft.com/office/drawing/2014/main" id="{2B22FB29-224C-4DAC-903B-C39FB1822A01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915553" y="2355971"/>
            <a:ext cx="3726611" cy="3558143"/>
          </a:xfrm>
          <a:prstGeom prst="rect">
            <a:avLst/>
          </a:prstGeom>
        </p:spPr>
        <p:txBody>
          <a:bodyPr lIns="144000" tIns="144000" rIns="144000" bIns="144000"/>
          <a:lstStyle>
            <a:lvl1pPr marL="0" indent="0">
              <a:buClr>
                <a:schemeClr val="accent2"/>
              </a:buClr>
              <a:buFont typeface="Font di sistema regolare"/>
              <a:buNone/>
              <a:defRPr sz="1400">
                <a:solidFill>
                  <a:schemeClr val="tx1"/>
                </a:solidFill>
              </a:defRPr>
            </a:lvl1pPr>
            <a:lvl2pPr marL="457200" indent="0">
              <a:buClr>
                <a:schemeClr val="accent2"/>
              </a:buClr>
              <a:buFont typeface="Font di sistema regolare"/>
              <a:buNone/>
              <a:defRPr sz="1400">
                <a:solidFill>
                  <a:schemeClr val="tx1"/>
                </a:solidFill>
              </a:defRPr>
            </a:lvl2pPr>
            <a:lvl3pPr marL="914400" indent="0">
              <a:buClr>
                <a:schemeClr val="accent2"/>
              </a:buClr>
              <a:buFont typeface="Font di sistema regolare"/>
              <a:buNone/>
              <a:defRPr sz="1400">
                <a:solidFill>
                  <a:schemeClr val="tx1"/>
                </a:solidFill>
              </a:defRPr>
            </a:lvl3pPr>
            <a:lvl4pPr marL="1371600" indent="0">
              <a:buClr>
                <a:schemeClr val="accent2"/>
              </a:buClr>
              <a:buFont typeface="Font di sistema regolare"/>
              <a:buNone/>
              <a:defRPr sz="1400">
                <a:solidFill>
                  <a:schemeClr val="tx1"/>
                </a:solidFill>
              </a:defRPr>
            </a:lvl4pPr>
            <a:lvl5pPr marL="1828800" indent="0">
              <a:buClr>
                <a:schemeClr val="accent2"/>
              </a:buClr>
              <a:buFont typeface="Font di sistema regolare"/>
              <a:buNone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it-IT" dirty="0"/>
              <a:t>Inserimento testo, grafico, tabella o altro</a:t>
            </a:r>
          </a:p>
        </p:txBody>
      </p:sp>
      <p:sp>
        <p:nvSpPr>
          <p:cNvPr id="33" name="bg object 16">
            <a:extLst>
              <a:ext uri="{FF2B5EF4-FFF2-40B4-BE49-F238E27FC236}">
                <a16:creationId xmlns:a16="http://schemas.microsoft.com/office/drawing/2014/main" id="{2AB0689B-E316-D14D-B6E7-F01F07E13E16}"/>
              </a:ext>
            </a:extLst>
          </p:cNvPr>
          <p:cNvSpPr/>
          <p:nvPr/>
        </p:nvSpPr>
        <p:spPr>
          <a:xfrm>
            <a:off x="11330381" y="6448615"/>
            <a:ext cx="311785" cy="410845"/>
          </a:xfrm>
          <a:custGeom>
            <a:avLst/>
            <a:gdLst/>
            <a:ahLst/>
            <a:cxnLst/>
            <a:rect l="l" t="t" r="r" b="b"/>
            <a:pathLst>
              <a:path w="311784" h="410845">
                <a:moveTo>
                  <a:pt x="311645" y="0"/>
                </a:moveTo>
                <a:lnTo>
                  <a:pt x="0" y="0"/>
                </a:lnTo>
                <a:lnTo>
                  <a:pt x="0" y="410438"/>
                </a:lnTo>
                <a:lnTo>
                  <a:pt x="311645" y="410438"/>
                </a:lnTo>
                <a:lnTo>
                  <a:pt x="311645" y="0"/>
                </a:lnTo>
                <a:close/>
              </a:path>
            </a:pathLst>
          </a:custGeom>
          <a:solidFill>
            <a:srgbClr val="0047B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4" name="Holder 7">
            <a:extLst>
              <a:ext uri="{FF2B5EF4-FFF2-40B4-BE49-F238E27FC236}">
                <a16:creationId xmlns:a16="http://schemas.microsoft.com/office/drawing/2014/main" id="{8BE73BAA-1D9A-4E49-B9AE-8C6732A65AB7}"/>
              </a:ext>
            </a:extLst>
          </p:cNvPr>
          <p:cNvSpPr txBox="1">
            <a:spLocks/>
          </p:cNvSpPr>
          <p:nvPr/>
        </p:nvSpPr>
        <p:spPr>
          <a:xfrm>
            <a:off x="11342726" y="6520516"/>
            <a:ext cx="256044" cy="16158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it-IT"/>
            </a:defPPr>
            <a:lvl1pPr marL="0" algn="l" defTabSz="914400" rtl="0" eaLnBrk="1" latinLnBrk="0" hangingPunct="1">
              <a:defRPr sz="850" b="1" i="0" kern="1200">
                <a:solidFill>
                  <a:schemeClr val="bg1"/>
                </a:solidFill>
                <a:latin typeface="Verdana"/>
                <a:ea typeface="+mn-ea"/>
                <a:cs typeface="Verdana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8100" algn="ctr">
              <a:spcBef>
                <a:spcPts val="105"/>
              </a:spcBef>
            </a:pPr>
            <a:fld id="{81D60167-4931-47E6-BA6A-407CBD079E47}" type="slidenum">
              <a:rPr lang="it-IT" sz="1050" b="0" i="0" spc="5" smtClean="0">
                <a:latin typeface="Avenir Next LT Pro" pitchFamily="2" charset="0"/>
              </a:rPr>
              <a:pPr marL="38100" algn="ctr">
                <a:spcBef>
                  <a:spcPts val="105"/>
                </a:spcBef>
              </a:pPr>
              <a:t>‹N›</a:t>
            </a:fld>
            <a:endParaRPr lang="it-IT" sz="1050" b="0" i="0" spc="5" dirty="0">
              <a:latin typeface="Avenir Next LT Pro" pitchFamily="2" charset="0"/>
            </a:endParaRPr>
          </a:p>
        </p:txBody>
      </p:sp>
      <p:sp>
        <p:nvSpPr>
          <p:cNvPr id="46" name="Triangolo isoscele 16">
            <a:extLst>
              <a:ext uri="{FF2B5EF4-FFF2-40B4-BE49-F238E27FC236}">
                <a16:creationId xmlns:a16="http://schemas.microsoft.com/office/drawing/2014/main" id="{F9070356-4F5F-3C4D-A709-6D8031AD5FB9}"/>
              </a:ext>
            </a:extLst>
          </p:cNvPr>
          <p:cNvSpPr/>
          <p:nvPr/>
        </p:nvSpPr>
        <p:spPr>
          <a:xfrm rot="10800000">
            <a:off x="303127" y="-324737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47" name="Triangolo isoscele 17">
            <a:extLst>
              <a:ext uri="{FF2B5EF4-FFF2-40B4-BE49-F238E27FC236}">
                <a16:creationId xmlns:a16="http://schemas.microsoft.com/office/drawing/2014/main" id="{2D7A1CF9-2BB6-CC4F-AA24-1DEDCB3DD505}"/>
              </a:ext>
            </a:extLst>
          </p:cNvPr>
          <p:cNvSpPr/>
          <p:nvPr/>
        </p:nvSpPr>
        <p:spPr>
          <a:xfrm rot="10800000">
            <a:off x="11756536" y="-324737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48" name="Triangolo isoscele 18">
            <a:extLst>
              <a:ext uri="{FF2B5EF4-FFF2-40B4-BE49-F238E27FC236}">
                <a16:creationId xmlns:a16="http://schemas.microsoft.com/office/drawing/2014/main" id="{6025D232-E265-DD43-83F2-D73B41E5BBD3}"/>
              </a:ext>
            </a:extLst>
          </p:cNvPr>
          <p:cNvSpPr/>
          <p:nvPr/>
        </p:nvSpPr>
        <p:spPr>
          <a:xfrm>
            <a:off x="303127" y="6950754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49" name="Triangolo isoscele 19">
            <a:extLst>
              <a:ext uri="{FF2B5EF4-FFF2-40B4-BE49-F238E27FC236}">
                <a16:creationId xmlns:a16="http://schemas.microsoft.com/office/drawing/2014/main" id="{99C34D48-6E41-B34D-BB77-4CFD75A9CBFF}"/>
              </a:ext>
            </a:extLst>
          </p:cNvPr>
          <p:cNvSpPr/>
          <p:nvPr/>
        </p:nvSpPr>
        <p:spPr>
          <a:xfrm>
            <a:off x="11756536" y="6950754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50" name="Triangolo isoscele 20">
            <a:extLst>
              <a:ext uri="{FF2B5EF4-FFF2-40B4-BE49-F238E27FC236}">
                <a16:creationId xmlns:a16="http://schemas.microsoft.com/office/drawing/2014/main" id="{64811D88-C61C-574A-A161-0BE7649E2D4D}"/>
              </a:ext>
            </a:extLst>
          </p:cNvPr>
          <p:cNvSpPr/>
          <p:nvPr/>
        </p:nvSpPr>
        <p:spPr>
          <a:xfrm rot="5400000">
            <a:off x="-276040" y="885372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51" name="Triangolo isoscele 21">
            <a:extLst>
              <a:ext uri="{FF2B5EF4-FFF2-40B4-BE49-F238E27FC236}">
                <a16:creationId xmlns:a16="http://schemas.microsoft.com/office/drawing/2014/main" id="{753B81BE-AF77-A34C-92EE-867933D695E5}"/>
              </a:ext>
            </a:extLst>
          </p:cNvPr>
          <p:cNvSpPr/>
          <p:nvPr/>
        </p:nvSpPr>
        <p:spPr>
          <a:xfrm rot="5400000">
            <a:off x="-276039" y="5982836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52" name="Triangolo isoscele 22">
            <a:extLst>
              <a:ext uri="{FF2B5EF4-FFF2-40B4-BE49-F238E27FC236}">
                <a16:creationId xmlns:a16="http://schemas.microsoft.com/office/drawing/2014/main" id="{0CFD34F3-0A86-274B-87BA-F1F623C6448F}"/>
              </a:ext>
            </a:extLst>
          </p:cNvPr>
          <p:cNvSpPr/>
          <p:nvPr/>
        </p:nvSpPr>
        <p:spPr>
          <a:xfrm rot="16200000">
            <a:off x="12331119" y="885372"/>
            <a:ext cx="132336" cy="261257"/>
          </a:xfrm>
          <a:prstGeom prst="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53" name="Triangolo isoscele 23">
            <a:extLst>
              <a:ext uri="{FF2B5EF4-FFF2-40B4-BE49-F238E27FC236}">
                <a16:creationId xmlns:a16="http://schemas.microsoft.com/office/drawing/2014/main" id="{7EDA25E0-F5CF-E144-8BA0-F88FA278CFCC}"/>
              </a:ext>
            </a:extLst>
          </p:cNvPr>
          <p:cNvSpPr/>
          <p:nvPr/>
        </p:nvSpPr>
        <p:spPr>
          <a:xfrm rot="16200000">
            <a:off x="12331120" y="5982836"/>
            <a:ext cx="132336" cy="261257"/>
          </a:xfrm>
          <a:prstGeom prst="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54" name="Triangolo isoscele 31">
            <a:extLst>
              <a:ext uri="{FF2B5EF4-FFF2-40B4-BE49-F238E27FC236}">
                <a16:creationId xmlns:a16="http://schemas.microsoft.com/office/drawing/2014/main" id="{50838BC1-12F5-744D-917C-AE9A06199E99}"/>
              </a:ext>
            </a:extLst>
          </p:cNvPr>
          <p:cNvSpPr/>
          <p:nvPr/>
        </p:nvSpPr>
        <p:spPr>
          <a:xfrm rot="10800000">
            <a:off x="303127" y="-324737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55" name="Triangolo isoscele 32">
            <a:extLst>
              <a:ext uri="{FF2B5EF4-FFF2-40B4-BE49-F238E27FC236}">
                <a16:creationId xmlns:a16="http://schemas.microsoft.com/office/drawing/2014/main" id="{7FD12B96-ABC6-854C-88F5-A5AEB4A15FD2}"/>
              </a:ext>
            </a:extLst>
          </p:cNvPr>
          <p:cNvSpPr/>
          <p:nvPr/>
        </p:nvSpPr>
        <p:spPr>
          <a:xfrm rot="10800000">
            <a:off x="11756536" y="-324737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56" name="Triangolo isoscele 33">
            <a:extLst>
              <a:ext uri="{FF2B5EF4-FFF2-40B4-BE49-F238E27FC236}">
                <a16:creationId xmlns:a16="http://schemas.microsoft.com/office/drawing/2014/main" id="{8CED5C54-CECF-9C4E-968A-2AD315960CE7}"/>
              </a:ext>
            </a:extLst>
          </p:cNvPr>
          <p:cNvSpPr/>
          <p:nvPr/>
        </p:nvSpPr>
        <p:spPr>
          <a:xfrm>
            <a:off x="303127" y="6950754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57" name="Triangolo isoscele 34">
            <a:extLst>
              <a:ext uri="{FF2B5EF4-FFF2-40B4-BE49-F238E27FC236}">
                <a16:creationId xmlns:a16="http://schemas.microsoft.com/office/drawing/2014/main" id="{CE6817C1-BD02-2B4B-B377-8E0E4349D391}"/>
              </a:ext>
            </a:extLst>
          </p:cNvPr>
          <p:cNvSpPr/>
          <p:nvPr/>
        </p:nvSpPr>
        <p:spPr>
          <a:xfrm>
            <a:off x="11756536" y="6950754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58" name="Triangolo isoscele 35">
            <a:extLst>
              <a:ext uri="{FF2B5EF4-FFF2-40B4-BE49-F238E27FC236}">
                <a16:creationId xmlns:a16="http://schemas.microsoft.com/office/drawing/2014/main" id="{0916314B-5C8A-5447-9D66-C030A1F74F02}"/>
              </a:ext>
            </a:extLst>
          </p:cNvPr>
          <p:cNvSpPr/>
          <p:nvPr/>
        </p:nvSpPr>
        <p:spPr>
          <a:xfrm rot="5400000">
            <a:off x="-276040" y="885372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59" name="Triangolo isoscele 36">
            <a:extLst>
              <a:ext uri="{FF2B5EF4-FFF2-40B4-BE49-F238E27FC236}">
                <a16:creationId xmlns:a16="http://schemas.microsoft.com/office/drawing/2014/main" id="{90F38C39-F956-FD41-966C-B780EDAD993F}"/>
              </a:ext>
            </a:extLst>
          </p:cNvPr>
          <p:cNvSpPr/>
          <p:nvPr/>
        </p:nvSpPr>
        <p:spPr>
          <a:xfrm rot="5400000">
            <a:off x="-276039" y="5982836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60" name="Triangolo isoscele 37">
            <a:extLst>
              <a:ext uri="{FF2B5EF4-FFF2-40B4-BE49-F238E27FC236}">
                <a16:creationId xmlns:a16="http://schemas.microsoft.com/office/drawing/2014/main" id="{55CDDC6B-DC83-5844-B66F-FD5D2B1BE208}"/>
              </a:ext>
            </a:extLst>
          </p:cNvPr>
          <p:cNvSpPr/>
          <p:nvPr/>
        </p:nvSpPr>
        <p:spPr>
          <a:xfrm rot="16200000">
            <a:off x="12331119" y="885372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61" name="Triangolo isoscele 38">
            <a:extLst>
              <a:ext uri="{FF2B5EF4-FFF2-40B4-BE49-F238E27FC236}">
                <a16:creationId xmlns:a16="http://schemas.microsoft.com/office/drawing/2014/main" id="{D5CCD770-37A7-3646-8985-0201D1ECF988}"/>
              </a:ext>
            </a:extLst>
          </p:cNvPr>
          <p:cNvSpPr/>
          <p:nvPr/>
        </p:nvSpPr>
        <p:spPr>
          <a:xfrm rot="16200000">
            <a:off x="12331120" y="5982836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pic>
        <p:nvPicPr>
          <p:cNvPr id="62" name="Elemento grafico 61">
            <a:extLst>
              <a:ext uri="{FF2B5EF4-FFF2-40B4-BE49-F238E27FC236}">
                <a16:creationId xmlns:a16="http://schemas.microsoft.com/office/drawing/2014/main" id="{88FE8CD8-C9BF-1240-B906-39433CD99B72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081892" y="-5080"/>
            <a:ext cx="1560273" cy="309880"/>
          </a:xfrm>
          <a:prstGeom prst="rect">
            <a:avLst/>
          </a:prstGeom>
        </p:spPr>
      </p:pic>
      <p:sp>
        <p:nvSpPr>
          <p:cNvPr id="63" name="object 267">
            <a:extLst>
              <a:ext uri="{FF2B5EF4-FFF2-40B4-BE49-F238E27FC236}">
                <a16:creationId xmlns:a16="http://schemas.microsoft.com/office/drawing/2014/main" id="{9EE2D8E3-920C-9348-87FA-5CE0D6DAFE5B}"/>
              </a:ext>
            </a:extLst>
          </p:cNvPr>
          <p:cNvSpPr/>
          <p:nvPr/>
        </p:nvSpPr>
        <p:spPr>
          <a:xfrm>
            <a:off x="0" y="1251482"/>
            <a:ext cx="675518" cy="45719"/>
          </a:xfrm>
          <a:custGeom>
            <a:avLst/>
            <a:gdLst/>
            <a:ahLst/>
            <a:cxnLst/>
            <a:rect l="l" t="t" r="r" b="b"/>
            <a:pathLst>
              <a:path w="657225">
                <a:moveTo>
                  <a:pt x="0" y="0"/>
                </a:moveTo>
                <a:lnTo>
                  <a:pt x="656678" y="0"/>
                </a:lnTo>
              </a:path>
            </a:pathLst>
          </a:custGeom>
          <a:ln w="76200">
            <a:solidFill>
              <a:srgbClr val="EEDC00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JhengHei UI Light" panose="020B0304030504040204" pitchFamily="34" charset="-120"/>
              <a:ea typeface="Microsoft JhengHei UI Light" panose="020B0304030504040204" pitchFamily="34" charset="-120"/>
              <a:cs typeface="+mn-cs"/>
            </a:endParaRPr>
          </a:p>
        </p:txBody>
      </p:sp>
      <p:grpSp>
        <p:nvGrpSpPr>
          <p:cNvPr id="64" name="Gruppo 63">
            <a:extLst>
              <a:ext uri="{FF2B5EF4-FFF2-40B4-BE49-F238E27FC236}">
                <a16:creationId xmlns:a16="http://schemas.microsoft.com/office/drawing/2014/main" id="{92EB6189-3C7E-7B4E-8655-CB411B053513}"/>
              </a:ext>
            </a:extLst>
          </p:cNvPr>
          <p:cNvGrpSpPr/>
          <p:nvPr/>
        </p:nvGrpSpPr>
        <p:grpSpPr>
          <a:xfrm>
            <a:off x="633940" y="1509967"/>
            <a:ext cx="756000" cy="756000"/>
            <a:chOff x="633940" y="1509967"/>
            <a:chExt cx="756000" cy="756000"/>
          </a:xfrm>
        </p:grpSpPr>
        <p:sp>
          <p:nvSpPr>
            <p:cNvPr id="65" name="object 46">
              <a:extLst>
                <a:ext uri="{FF2B5EF4-FFF2-40B4-BE49-F238E27FC236}">
                  <a16:creationId xmlns:a16="http://schemas.microsoft.com/office/drawing/2014/main" id="{DCD2B85A-6277-D24A-A04B-263474C2D965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33940" y="1509967"/>
              <a:ext cx="756000" cy="756000"/>
            </a:xfrm>
            <a:custGeom>
              <a:avLst/>
              <a:gdLst/>
              <a:ahLst/>
              <a:cxnLst/>
              <a:rect l="l" t="t" r="r" b="b"/>
              <a:pathLst>
                <a:path w="1009650" h="1009650">
                  <a:moveTo>
                    <a:pt x="1009637" y="504825"/>
                  </a:moveTo>
                  <a:lnTo>
                    <a:pt x="1007326" y="553440"/>
                  </a:lnTo>
                  <a:lnTo>
                    <a:pt x="1000534" y="600748"/>
                  </a:lnTo>
                  <a:lnTo>
                    <a:pt x="989474" y="646537"/>
                  </a:lnTo>
                  <a:lnTo>
                    <a:pt x="974355" y="690596"/>
                  </a:lnTo>
                  <a:lnTo>
                    <a:pt x="955391" y="732714"/>
                  </a:lnTo>
                  <a:lnTo>
                    <a:pt x="932791" y="772678"/>
                  </a:lnTo>
                  <a:lnTo>
                    <a:pt x="906769" y="810276"/>
                  </a:lnTo>
                  <a:lnTo>
                    <a:pt x="877535" y="845298"/>
                  </a:lnTo>
                  <a:lnTo>
                    <a:pt x="845302" y="877532"/>
                  </a:lnTo>
                  <a:lnTo>
                    <a:pt x="810279" y="906766"/>
                  </a:lnTo>
                  <a:lnTo>
                    <a:pt x="772680" y="932789"/>
                  </a:lnTo>
                  <a:lnTo>
                    <a:pt x="732715" y="955389"/>
                  </a:lnTo>
                  <a:lnTo>
                    <a:pt x="690596" y="974354"/>
                  </a:lnTo>
                  <a:lnTo>
                    <a:pt x="646535" y="989473"/>
                  </a:lnTo>
                  <a:lnTo>
                    <a:pt x="600743" y="1000534"/>
                  </a:lnTo>
                  <a:lnTo>
                    <a:pt x="553431" y="1007326"/>
                  </a:lnTo>
                  <a:lnTo>
                    <a:pt x="504812" y="1009637"/>
                  </a:lnTo>
                  <a:lnTo>
                    <a:pt x="456197" y="1007326"/>
                  </a:lnTo>
                  <a:lnTo>
                    <a:pt x="408888" y="1000534"/>
                  </a:lnTo>
                  <a:lnTo>
                    <a:pt x="363099" y="989473"/>
                  </a:lnTo>
                  <a:lnTo>
                    <a:pt x="319040" y="974354"/>
                  </a:lnTo>
                  <a:lnTo>
                    <a:pt x="276923" y="955389"/>
                  </a:lnTo>
                  <a:lnTo>
                    <a:pt x="236959" y="932789"/>
                  </a:lnTo>
                  <a:lnTo>
                    <a:pt x="199360" y="906766"/>
                  </a:lnTo>
                  <a:lnTo>
                    <a:pt x="164338" y="877532"/>
                  </a:lnTo>
                  <a:lnTo>
                    <a:pt x="132104" y="845298"/>
                  </a:lnTo>
                  <a:lnTo>
                    <a:pt x="102870" y="810276"/>
                  </a:lnTo>
                  <a:lnTo>
                    <a:pt x="76847" y="772678"/>
                  </a:lnTo>
                  <a:lnTo>
                    <a:pt x="54248" y="732714"/>
                  </a:lnTo>
                  <a:lnTo>
                    <a:pt x="35283" y="690596"/>
                  </a:lnTo>
                  <a:lnTo>
                    <a:pt x="20164" y="646537"/>
                  </a:lnTo>
                  <a:lnTo>
                    <a:pt x="9102" y="600748"/>
                  </a:lnTo>
                  <a:lnTo>
                    <a:pt x="2310" y="553440"/>
                  </a:lnTo>
                  <a:lnTo>
                    <a:pt x="0" y="504825"/>
                  </a:lnTo>
                  <a:lnTo>
                    <a:pt x="2310" y="456207"/>
                  </a:lnTo>
                  <a:lnTo>
                    <a:pt x="9102" y="408897"/>
                  </a:lnTo>
                  <a:lnTo>
                    <a:pt x="20164" y="363106"/>
                  </a:lnTo>
                  <a:lnTo>
                    <a:pt x="35283" y="319045"/>
                  </a:lnTo>
                  <a:lnTo>
                    <a:pt x="54248" y="276927"/>
                  </a:lnTo>
                  <a:lnTo>
                    <a:pt x="76847" y="236962"/>
                  </a:lnTo>
                  <a:lnTo>
                    <a:pt x="102870" y="199363"/>
                  </a:lnTo>
                  <a:lnTo>
                    <a:pt x="132104" y="164340"/>
                  </a:lnTo>
                  <a:lnTo>
                    <a:pt x="164338" y="132105"/>
                  </a:lnTo>
                  <a:lnTo>
                    <a:pt x="199360" y="102871"/>
                  </a:lnTo>
                  <a:lnTo>
                    <a:pt x="236959" y="76848"/>
                  </a:lnTo>
                  <a:lnTo>
                    <a:pt x="276923" y="54248"/>
                  </a:lnTo>
                  <a:lnTo>
                    <a:pt x="319040" y="35283"/>
                  </a:lnTo>
                  <a:lnTo>
                    <a:pt x="363099" y="20164"/>
                  </a:lnTo>
                  <a:lnTo>
                    <a:pt x="408888" y="9102"/>
                  </a:lnTo>
                  <a:lnTo>
                    <a:pt x="456197" y="2310"/>
                  </a:lnTo>
                  <a:lnTo>
                    <a:pt x="504812" y="0"/>
                  </a:lnTo>
                  <a:lnTo>
                    <a:pt x="553431" y="2310"/>
                  </a:lnTo>
                  <a:lnTo>
                    <a:pt x="600743" y="9102"/>
                  </a:lnTo>
                  <a:lnTo>
                    <a:pt x="646535" y="20164"/>
                  </a:lnTo>
                  <a:lnTo>
                    <a:pt x="690596" y="35283"/>
                  </a:lnTo>
                  <a:lnTo>
                    <a:pt x="732715" y="54248"/>
                  </a:lnTo>
                  <a:lnTo>
                    <a:pt x="772680" y="76848"/>
                  </a:lnTo>
                  <a:lnTo>
                    <a:pt x="810279" y="102871"/>
                  </a:lnTo>
                  <a:lnTo>
                    <a:pt x="845302" y="132105"/>
                  </a:lnTo>
                  <a:lnTo>
                    <a:pt x="877535" y="164340"/>
                  </a:lnTo>
                  <a:lnTo>
                    <a:pt x="906769" y="199363"/>
                  </a:lnTo>
                  <a:lnTo>
                    <a:pt x="932791" y="236962"/>
                  </a:lnTo>
                  <a:lnTo>
                    <a:pt x="955391" y="276927"/>
                  </a:lnTo>
                  <a:lnTo>
                    <a:pt x="974355" y="319045"/>
                  </a:lnTo>
                  <a:lnTo>
                    <a:pt x="989474" y="363106"/>
                  </a:lnTo>
                  <a:lnTo>
                    <a:pt x="1000534" y="408897"/>
                  </a:lnTo>
                  <a:lnTo>
                    <a:pt x="1007326" y="456207"/>
                  </a:lnTo>
                  <a:lnTo>
                    <a:pt x="1009637" y="504825"/>
                  </a:lnTo>
                  <a:close/>
                </a:path>
              </a:pathLst>
            </a:custGeom>
            <a:solidFill>
              <a:schemeClr val="bg1"/>
            </a:solidFill>
            <a:ln w="12700">
              <a:solidFill>
                <a:srgbClr val="0046BA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3B3B3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66" name="object 47">
              <a:extLst>
                <a:ext uri="{FF2B5EF4-FFF2-40B4-BE49-F238E27FC236}">
                  <a16:creationId xmlns:a16="http://schemas.microsoft.com/office/drawing/2014/main" id="{59573976-C4A4-C247-8A40-F29CF151A5A3}"/>
                </a:ext>
              </a:extLst>
            </p:cNvPr>
            <p:cNvSpPr/>
            <p:nvPr userDrawn="1"/>
          </p:nvSpPr>
          <p:spPr>
            <a:xfrm>
              <a:off x="687940" y="1563967"/>
              <a:ext cx="648000" cy="648000"/>
            </a:xfrm>
            <a:custGeom>
              <a:avLst/>
              <a:gdLst/>
              <a:ahLst/>
              <a:cxnLst/>
              <a:rect l="l" t="t" r="r" b="b"/>
              <a:pathLst>
                <a:path w="836294" h="836294">
                  <a:moveTo>
                    <a:pt x="417944" y="0"/>
                  </a:moveTo>
                  <a:lnTo>
                    <a:pt x="369203" y="2811"/>
                  </a:lnTo>
                  <a:lnTo>
                    <a:pt x="322114" y="11038"/>
                  </a:lnTo>
                  <a:lnTo>
                    <a:pt x="276989" y="24365"/>
                  </a:lnTo>
                  <a:lnTo>
                    <a:pt x="234143" y="42480"/>
                  </a:lnTo>
                  <a:lnTo>
                    <a:pt x="193890" y="65069"/>
                  </a:lnTo>
                  <a:lnTo>
                    <a:pt x="156542" y="91818"/>
                  </a:lnTo>
                  <a:lnTo>
                    <a:pt x="122413" y="122413"/>
                  </a:lnTo>
                  <a:lnTo>
                    <a:pt x="91818" y="156542"/>
                  </a:lnTo>
                  <a:lnTo>
                    <a:pt x="65069" y="193890"/>
                  </a:lnTo>
                  <a:lnTo>
                    <a:pt x="42480" y="234143"/>
                  </a:lnTo>
                  <a:lnTo>
                    <a:pt x="24365" y="276989"/>
                  </a:lnTo>
                  <a:lnTo>
                    <a:pt x="11038" y="322114"/>
                  </a:lnTo>
                  <a:lnTo>
                    <a:pt x="2811" y="369203"/>
                  </a:lnTo>
                  <a:lnTo>
                    <a:pt x="0" y="417944"/>
                  </a:lnTo>
                  <a:lnTo>
                    <a:pt x="2811" y="466685"/>
                  </a:lnTo>
                  <a:lnTo>
                    <a:pt x="11038" y="513774"/>
                  </a:lnTo>
                  <a:lnTo>
                    <a:pt x="24365" y="558898"/>
                  </a:lnTo>
                  <a:lnTo>
                    <a:pt x="42480" y="601744"/>
                  </a:lnTo>
                  <a:lnTo>
                    <a:pt x="65069" y="641998"/>
                  </a:lnTo>
                  <a:lnTo>
                    <a:pt x="91818" y="679346"/>
                  </a:lnTo>
                  <a:lnTo>
                    <a:pt x="122413" y="713474"/>
                  </a:lnTo>
                  <a:lnTo>
                    <a:pt x="156542" y="744070"/>
                  </a:lnTo>
                  <a:lnTo>
                    <a:pt x="193890" y="770819"/>
                  </a:lnTo>
                  <a:lnTo>
                    <a:pt x="234143" y="793407"/>
                  </a:lnTo>
                  <a:lnTo>
                    <a:pt x="276989" y="811522"/>
                  </a:lnTo>
                  <a:lnTo>
                    <a:pt x="322114" y="824850"/>
                  </a:lnTo>
                  <a:lnTo>
                    <a:pt x="369203" y="833076"/>
                  </a:lnTo>
                  <a:lnTo>
                    <a:pt x="417944" y="835888"/>
                  </a:lnTo>
                  <a:lnTo>
                    <a:pt x="466685" y="833076"/>
                  </a:lnTo>
                  <a:lnTo>
                    <a:pt x="513774" y="824850"/>
                  </a:lnTo>
                  <a:lnTo>
                    <a:pt x="558898" y="811522"/>
                  </a:lnTo>
                  <a:lnTo>
                    <a:pt x="601744" y="793407"/>
                  </a:lnTo>
                  <a:lnTo>
                    <a:pt x="641998" y="770819"/>
                  </a:lnTo>
                  <a:lnTo>
                    <a:pt x="679346" y="744070"/>
                  </a:lnTo>
                  <a:lnTo>
                    <a:pt x="713474" y="713474"/>
                  </a:lnTo>
                  <a:lnTo>
                    <a:pt x="744070" y="679346"/>
                  </a:lnTo>
                  <a:lnTo>
                    <a:pt x="770819" y="641998"/>
                  </a:lnTo>
                  <a:lnTo>
                    <a:pt x="793407" y="601744"/>
                  </a:lnTo>
                  <a:lnTo>
                    <a:pt x="811522" y="558898"/>
                  </a:lnTo>
                  <a:lnTo>
                    <a:pt x="824850" y="513774"/>
                  </a:lnTo>
                  <a:lnTo>
                    <a:pt x="833076" y="466685"/>
                  </a:lnTo>
                  <a:lnTo>
                    <a:pt x="835888" y="417944"/>
                  </a:lnTo>
                  <a:lnTo>
                    <a:pt x="833076" y="369203"/>
                  </a:lnTo>
                  <a:lnTo>
                    <a:pt x="824850" y="322114"/>
                  </a:lnTo>
                  <a:lnTo>
                    <a:pt x="811522" y="276989"/>
                  </a:lnTo>
                  <a:lnTo>
                    <a:pt x="793407" y="234143"/>
                  </a:lnTo>
                  <a:lnTo>
                    <a:pt x="770819" y="193890"/>
                  </a:lnTo>
                  <a:lnTo>
                    <a:pt x="744070" y="156542"/>
                  </a:lnTo>
                  <a:lnTo>
                    <a:pt x="713474" y="122413"/>
                  </a:lnTo>
                  <a:lnTo>
                    <a:pt x="679346" y="91818"/>
                  </a:lnTo>
                  <a:lnTo>
                    <a:pt x="641998" y="65069"/>
                  </a:lnTo>
                  <a:lnTo>
                    <a:pt x="601744" y="42480"/>
                  </a:lnTo>
                  <a:lnTo>
                    <a:pt x="558898" y="24365"/>
                  </a:lnTo>
                  <a:lnTo>
                    <a:pt x="513774" y="11038"/>
                  </a:lnTo>
                  <a:lnTo>
                    <a:pt x="466685" y="2811"/>
                  </a:lnTo>
                  <a:lnTo>
                    <a:pt x="417944" y="0"/>
                  </a:lnTo>
                  <a:close/>
                </a:path>
              </a:pathLst>
            </a:custGeom>
            <a:solidFill>
              <a:srgbClr val="EEDC00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srgbClr val="3B3B3A"/>
                </a:solidFill>
                <a:effectLst/>
                <a:uLnTx/>
                <a:uFillTx/>
                <a:latin typeface="Avenir Next LT Pro" panose="020B0504020202020204" pitchFamily="34" charset="77"/>
                <a:ea typeface="+mn-ea"/>
                <a:cs typeface="+mn-cs"/>
              </a:endParaRPr>
            </a:p>
          </p:txBody>
        </p:sp>
      </p:grpSp>
      <p:cxnSp>
        <p:nvCxnSpPr>
          <p:cNvPr id="67" name="Connettore 1 46">
            <a:extLst>
              <a:ext uri="{FF2B5EF4-FFF2-40B4-BE49-F238E27FC236}">
                <a16:creationId xmlns:a16="http://schemas.microsoft.com/office/drawing/2014/main" id="{81EE44AA-22E5-CC4F-A3C5-23E3C84BFC1C}"/>
              </a:ext>
            </a:extLst>
          </p:cNvPr>
          <p:cNvCxnSpPr>
            <a:cxnSpLocks/>
          </p:cNvCxnSpPr>
          <p:nvPr/>
        </p:nvCxnSpPr>
        <p:spPr>
          <a:xfrm>
            <a:off x="1395006" y="1889852"/>
            <a:ext cx="4140000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CasellaDiTesto 1">
            <a:extLst>
              <a:ext uri="{FF2B5EF4-FFF2-40B4-BE49-F238E27FC236}">
                <a16:creationId xmlns:a16="http://schemas.microsoft.com/office/drawing/2014/main" id="{E3D0B0E9-31F3-C23C-7BB6-EE23559AD828}"/>
              </a:ext>
            </a:extLst>
          </p:cNvPr>
          <p:cNvSpPr txBox="1"/>
          <p:nvPr userDrawn="1"/>
        </p:nvSpPr>
        <p:spPr>
          <a:xfrm>
            <a:off x="3916392" y="6623540"/>
            <a:ext cx="739499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it-IT" sz="800" i="1" dirty="0"/>
              <a:t>Documento ad uso esclusivamente interno, da intendersi come strettamente riservato; non è autorizzata la trasmissione ad altri e la divulgazione all’esterno.</a:t>
            </a:r>
            <a:endParaRPr lang="en-US" sz="800" i="1" dirty="0"/>
          </a:p>
        </p:txBody>
      </p:sp>
    </p:spTree>
    <p:extLst>
      <p:ext uri="{BB962C8B-B14F-4D97-AF65-F5344CB8AC3E}">
        <p14:creationId xmlns:p14="http://schemas.microsoft.com/office/powerpoint/2010/main" val="4261360393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6" orient="horz" pos="3725">
          <p15:clr>
            <a:srgbClr val="FBAE40"/>
          </p15:clr>
        </p15:guide>
        <p15:guide id="7" pos="3840">
          <p15:clr>
            <a:srgbClr val="FBAE40"/>
          </p15:clr>
        </p15:guide>
        <p15:guide id="8" pos="325">
          <p15:clr>
            <a:srgbClr val="FBAE40"/>
          </p15:clr>
        </p15:guide>
        <p15:guide id="9" pos="7333">
          <p15:clr>
            <a:srgbClr val="FBAE40"/>
          </p15:clr>
        </p15:guide>
        <p15:guide id="10" orient="horz" pos="1480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agina grafico + grafic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bg object 16">
            <a:extLst>
              <a:ext uri="{FF2B5EF4-FFF2-40B4-BE49-F238E27FC236}">
                <a16:creationId xmlns:a16="http://schemas.microsoft.com/office/drawing/2014/main" id="{BCFAEBF8-790C-A54A-9E47-3E3639BCC461}"/>
              </a:ext>
            </a:extLst>
          </p:cNvPr>
          <p:cNvSpPr/>
          <p:nvPr/>
        </p:nvSpPr>
        <p:spPr>
          <a:xfrm>
            <a:off x="11330381" y="6448615"/>
            <a:ext cx="311785" cy="410845"/>
          </a:xfrm>
          <a:custGeom>
            <a:avLst/>
            <a:gdLst/>
            <a:ahLst/>
            <a:cxnLst/>
            <a:rect l="l" t="t" r="r" b="b"/>
            <a:pathLst>
              <a:path w="311784" h="410845">
                <a:moveTo>
                  <a:pt x="311645" y="0"/>
                </a:moveTo>
                <a:lnTo>
                  <a:pt x="0" y="0"/>
                </a:lnTo>
                <a:lnTo>
                  <a:pt x="0" y="410438"/>
                </a:lnTo>
                <a:lnTo>
                  <a:pt x="311645" y="410438"/>
                </a:lnTo>
                <a:lnTo>
                  <a:pt x="311645" y="0"/>
                </a:lnTo>
                <a:close/>
              </a:path>
            </a:pathLst>
          </a:custGeom>
          <a:solidFill>
            <a:srgbClr val="0047B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" name="Holder 7">
            <a:extLst>
              <a:ext uri="{FF2B5EF4-FFF2-40B4-BE49-F238E27FC236}">
                <a16:creationId xmlns:a16="http://schemas.microsoft.com/office/drawing/2014/main" id="{EADEFA5D-780C-4841-8968-F8DA8FB77458}"/>
              </a:ext>
            </a:extLst>
          </p:cNvPr>
          <p:cNvSpPr txBox="1">
            <a:spLocks/>
          </p:cNvSpPr>
          <p:nvPr/>
        </p:nvSpPr>
        <p:spPr>
          <a:xfrm>
            <a:off x="11342726" y="6520516"/>
            <a:ext cx="256044" cy="16158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it-IT"/>
            </a:defPPr>
            <a:lvl1pPr marL="0" algn="l" defTabSz="914400" rtl="0" eaLnBrk="1" latinLnBrk="0" hangingPunct="1">
              <a:defRPr sz="850" b="1" i="0" kern="1200">
                <a:solidFill>
                  <a:schemeClr val="bg1"/>
                </a:solidFill>
                <a:latin typeface="Verdana"/>
                <a:ea typeface="+mn-ea"/>
                <a:cs typeface="Verdana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8100" algn="ctr">
              <a:spcBef>
                <a:spcPts val="105"/>
              </a:spcBef>
            </a:pPr>
            <a:fld id="{81D60167-4931-47E6-BA6A-407CBD079E47}" type="slidenum">
              <a:rPr lang="it-IT" sz="1050" b="0" i="0" spc="5" smtClean="0">
                <a:latin typeface="Avenir Next LT Pro" pitchFamily="2" charset="0"/>
              </a:rPr>
              <a:pPr marL="38100" algn="ctr">
                <a:spcBef>
                  <a:spcPts val="105"/>
                </a:spcBef>
              </a:pPr>
              <a:t>‹N›</a:t>
            </a:fld>
            <a:endParaRPr lang="it-IT" sz="1050" b="0" i="0" spc="5" dirty="0">
              <a:latin typeface="Avenir Next LT Pro" pitchFamily="2" charset="0"/>
            </a:endParaRPr>
          </a:p>
        </p:txBody>
      </p:sp>
      <p:sp>
        <p:nvSpPr>
          <p:cNvPr id="6" name="Triangolo isoscele 16">
            <a:extLst>
              <a:ext uri="{FF2B5EF4-FFF2-40B4-BE49-F238E27FC236}">
                <a16:creationId xmlns:a16="http://schemas.microsoft.com/office/drawing/2014/main" id="{8A368720-335F-0F45-860A-0606EE42684C}"/>
              </a:ext>
            </a:extLst>
          </p:cNvPr>
          <p:cNvSpPr/>
          <p:nvPr/>
        </p:nvSpPr>
        <p:spPr>
          <a:xfrm rot="10800000">
            <a:off x="303127" y="-324737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7" name="Triangolo isoscele 17">
            <a:extLst>
              <a:ext uri="{FF2B5EF4-FFF2-40B4-BE49-F238E27FC236}">
                <a16:creationId xmlns:a16="http://schemas.microsoft.com/office/drawing/2014/main" id="{E2772AA6-60C9-0B42-835F-13797EE9ED3C}"/>
              </a:ext>
            </a:extLst>
          </p:cNvPr>
          <p:cNvSpPr/>
          <p:nvPr/>
        </p:nvSpPr>
        <p:spPr>
          <a:xfrm rot="10800000">
            <a:off x="11756536" y="-324737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8" name="Triangolo isoscele 18">
            <a:extLst>
              <a:ext uri="{FF2B5EF4-FFF2-40B4-BE49-F238E27FC236}">
                <a16:creationId xmlns:a16="http://schemas.microsoft.com/office/drawing/2014/main" id="{C7BF371F-A6F2-FD41-82B8-D9B554CACAF1}"/>
              </a:ext>
            </a:extLst>
          </p:cNvPr>
          <p:cNvSpPr/>
          <p:nvPr/>
        </p:nvSpPr>
        <p:spPr>
          <a:xfrm>
            <a:off x="303127" y="6950754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9" name="Triangolo isoscele 19">
            <a:extLst>
              <a:ext uri="{FF2B5EF4-FFF2-40B4-BE49-F238E27FC236}">
                <a16:creationId xmlns:a16="http://schemas.microsoft.com/office/drawing/2014/main" id="{FCEF8EFB-88B6-D747-9382-15136CFCC56E}"/>
              </a:ext>
            </a:extLst>
          </p:cNvPr>
          <p:cNvSpPr/>
          <p:nvPr/>
        </p:nvSpPr>
        <p:spPr>
          <a:xfrm>
            <a:off x="11756536" y="6950754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10" name="Triangolo isoscele 20">
            <a:extLst>
              <a:ext uri="{FF2B5EF4-FFF2-40B4-BE49-F238E27FC236}">
                <a16:creationId xmlns:a16="http://schemas.microsoft.com/office/drawing/2014/main" id="{47007676-0BFD-5F42-846B-AA823A1BFA60}"/>
              </a:ext>
            </a:extLst>
          </p:cNvPr>
          <p:cNvSpPr/>
          <p:nvPr/>
        </p:nvSpPr>
        <p:spPr>
          <a:xfrm rot="5400000">
            <a:off x="-276040" y="885372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11" name="Triangolo isoscele 21">
            <a:extLst>
              <a:ext uri="{FF2B5EF4-FFF2-40B4-BE49-F238E27FC236}">
                <a16:creationId xmlns:a16="http://schemas.microsoft.com/office/drawing/2014/main" id="{9F8B8967-D8B7-EF40-A160-9FD75894783B}"/>
              </a:ext>
            </a:extLst>
          </p:cNvPr>
          <p:cNvSpPr/>
          <p:nvPr/>
        </p:nvSpPr>
        <p:spPr>
          <a:xfrm rot="5400000">
            <a:off x="-276039" y="5982836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12" name="Triangolo isoscele 22">
            <a:extLst>
              <a:ext uri="{FF2B5EF4-FFF2-40B4-BE49-F238E27FC236}">
                <a16:creationId xmlns:a16="http://schemas.microsoft.com/office/drawing/2014/main" id="{58B46DE6-6338-7140-8CA8-25EC1DE4AEB7}"/>
              </a:ext>
            </a:extLst>
          </p:cNvPr>
          <p:cNvSpPr/>
          <p:nvPr/>
        </p:nvSpPr>
        <p:spPr>
          <a:xfrm rot="16200000">
            <a:off x="12331119" y="885372"/>
            <a:ext cx="132336" cy="261257"/>
          </a:xfrm>
          <a:prstGeom prst="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13" name="Triangolo isoscele 23">
            <a:extLst>
              <a:ext uri="{FF2B5EF4-FFF2-40B4-BE49-F238E27FC236}">
                <a16:creationId xmlns:a16="http://schemas.microsoft.com/office/drawing/2014/main" id="{BA951F18-3E6B-F245-B833-D4E6A22CAE34}"/>
              </a:ext>
            </a:extLst>
          </p:cNvPr>
          <p:cNvSpPr/>
          <p:nvPr/>
        </p:nvSpPr>
        <p:spPr>
          <a:xfrm rot="16200000">
            <a:off x="12331120" y="5982836"/>
            <a:ext cx="132336" cy="261257"/>
          </a:xfrm>
          <a:prstGeom prst="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14" name="Triangolo isoscele 31">
            <a:extLst>
              <a:ext uri="{FF2B5EF4-FFF2-40B4-BE49-F238E27FC236}">
                <a16:creationId xmlns:a16="http://schemas.microsoft.com/office/drawing/2014/main" id="{07246241-C678-DB48-84D0-2C7143C6A157}"/>
              </a:ext>
            </a:extLst>
          </p:cNvPr>
          <p:cNvSpPr/>
          <p:nvPr/>
        </p:nvSpPr>
        <p:spPr>
          <a:xfrm rot="10800000">
            <a:off x="303127" y="-324737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15" name="Triangolo isoscele 32">
            <a:extLst>
              <a:ext uri="{FF2B5EF4-FFF2-40B4-BE49-F238E27FC236}">
                <a16:creationId xmlns:a16="http://schemas.microsoft.com/office/drawing/2014/main" id="{A3BC8E3A-7E5D-BE49-8DBD-35856251134F}"/>
              </a:ext>
            </a:extLst>
          </p:cNvPr>
          <p:cNvSpPr/>
          <p:nvPr/>
        </p:nvSpPr>
        <p:spPr>
          <a:xfrm rot="10800000">
            <a:off x="11756536" y="-324737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16" name="Triangolo isoscele 33">
            <a:extLst>
              <a:ext uri="{FF2B5EF4-FFF2-40B4-BE49-F238E27FC236}">
                <a16:creationId xmlns:a16="http://schemas.microsoft.com/office/drawing/2014/main" id="{E9B5EA53-1DC4-1940-8594-3256ADD5AE0C}"/>
              </a:ext>
            </a:extLst>
          </p:cNvPr>
          <p:cNvSpPr/>
          <p:nvPr/>
        </p:nvSpPr>
        <p:spPr>
          <a:xfrm>
            <a:off x="303127" y="6950754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21" name="Triangolo isoscele 34">
            <a:extLst>
              <a:ext uri="{FF2B5EF4-FFF2-40B4-BE49-F238E27FC236}">
                <a16:creationId xmlns:a16="http://schemas.microsoft.com/office/drawing/2014/main" id="{749E0E17-FFD8-164C-B560-1DFF3FBB41DF}"/>
              </a:ext>
            </a:extLst>
          </p:cNvPr>
          <p:cNvSpPr/>
          <p:nvPr/>
        </p:nvSpPr>
        <p:spPr>
          <a:xfrm>
            <a:off x="11756536" y="6950754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22" name="Triangolo isoscele 35">
            <a:extLst>
              <a:ext uri="{FF2B5EF4-FFF2-40B4-BE49-F238E27FC236}">
                <a16:creationId xmlns:a16="http://schemas.microsoft.com/office/drawing/2014/main" id="{2449D32D-31E9-1E41-8135-CF757AF1ADCB}"/>
              </a:ext>
            </a:extLst>
          </p:cNvPr>
          <p:cNvSpPr/>
          <p:nvPr/>
        </p:nvSpPr>
        <p:spPr>
          <a:xfrm rot="5400000">
            <a:off x="-276040" y="885372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23" name="Triangolo isoscele 36">
            <a:extLst>
              <a:ext uri="{FF2B5EF4-FFF2-40B4-BE49-F238E27FC236}">
                <a16:creationId xmlns:a16="http://schemas.microsoft.com/office/drawing/2014/main" id="{92505FB0-1068-1143-AB9B-F5A849D826DE}"/>
              </a:ext>
            </a:extLst>
          </p:cNvPr>
          <p:cNvSpPr/>
          <p:nvPr/>
        </p:nvSpPr>
        <p:spPr>
          <a:xfrm rot="5400000">
            <a:off x="-276039" y="5982836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24" name="Triangolo isoscele 37">
            <a:extLst>
              <a:ext uri="{FF2B5EF4-FFF2-40B4-BE49-F238E27FC236}">
                <a16:creationId xmlns:a16="http://schemas.microsoft.com/office/drawing/2014/main" id="{D60FCBF0-3D48-CF40-ABA6-F53B703D88CA}"/>
              </a:ext>
            </a:extLst>
          </p:cNvPr>
          <p:cNvSpPr/>
          <p:nvPr/>
        </p:nvSpPr>
        <p:spPr>
          <a:xfrm rot="16200000">
            <a:off x="12331119" y="885372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25" name="Triangolo isoscele 38">
            <a:extLst>
              <a:ext uri="{FF2B5EF4-FFF2-40B4-BE49-F238E27FC236}">
                <a16:creationId xmlns:a16="http://schemas.microsoft.com/office/drawing/2014/main" id="{95E14022-E59F-9F4C-998B-8575096AA6A0}"/>
              </a:ext>
            </a:extLst>
          </p:cNvPr>
          <p:cNvSpPr/>
          <p:nvPr/>
        </p:nvSpPr>
        <p:spPr>
          <a:xfrm rot="16200000">
            <a:off x="12331120" y="5982836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pic>
        <p:nvPicPr>
          <p:cNvPr id="36" name="Elemento grafico 35">
            <a:extLst>
              <a:ext uri="{FF2B5EF4-FFF2-40B4-BE49-F238E27FC236}">
                <a16:creationId xmlns:a16="http://schemas.microsoft.com/office/drawing/2014/main" id="{9531B5A1-7BA2-E141-B54D-FEC62D4B762E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081892" y="-5080"/>
            <a:ext cx="1560273" cy="309880"/>
          </a:xfrm>
          <a:prstGeom prst="rect">
            <a:avLst/>
          </a:prstGeom>
        </p:spPr>
      </p:pic>
      <p:sp>
        <p:nvSpPr>
          <p:cNvPr id="37" name="object 267">
            <a:extLst>
              <a:ext uri="{FF2B5EF4-FFF2-40B4-BE49-F238E27FC236}">
                <a16:creationId xmlns:a16="http://schemas.microsoft.com/office/drawing/2014/main" id="{1A701277-6B82-924C-9434-545B7977906E}"/>
              </a:ext>
            </a:extLst>
          </p:cNvPr>
          <p:cNvSpPr/>
          <p:nvPr/>
        </p:nvSpPr>
        <p:spPr>
          <a:xfrm>
            <a:off x="0" y="1251482"/>
            <a:ext cx="675518" cy="45719"/>
          </a:xfrm>
          <a:custGeom>
            <a:avLst/>
            <a:gdLst/>
            <a:ahLst/>
            <a:cxnLst/>
            <a:rect l="l" t="t" r="r" b="b"/>
            <a:pathLst>
              <a:path w="657225">
                <a:moveTo>
                  <a:pt x="0" y="0"/>
                </a:moveTo>
                <a:lnTo>
                  <a:pt x="656678" y="0"/>
                </a:lnTo>
              </a:path>
            </a:pathLst>
          </a:custGeom>
          <a:ln w="76200">
            <a:solidFill>
              <a:srgbClr val="EEDC00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JhengHei UI Light" panose="020B0304030504040204" pitchFamily="34" charset="-120"/>
              <a:ea typeface="Microsoft JhengHei UI Light" panose="020B0304030504040204" pitchFamily="34" charset="-120"/>
              <a:cs typeface="+mn-cs"/>
            </a:endParaRPr>
          </a:p>
        </p:txBody>
      </p:sp>
      <p:sp>
        <p:nvSpPr>
          <p:cNvPr id="34" name="Segnaposto testo 2">
            <a:extLst>
              <a:ext uri="{FF2B5EF4-FFF2-40B4-BE49-F238E27FC236}">
                <a16:creationId xmlns:a16="http://schemas.microsoft.com/office/drawing/2014/main" id="{1B74C236-B652-4041-99ED-254A64385C7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49834" y="503037"/>
            <a:ext cx="10412412" cy="655637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 b="0" i="0">
                <a:solidFill>
                  <a:srgbClr val="0047BB"/>
                </a:solidFill>
                <a:latin typeface="Avenir Next LT Pro" panose="020B0504020202020204" pitchFamily="34" charset="77"/>
              </a:defRPr>
            </a:lvl1pPr>
            <a:lvl2pPr marL="457200" indent="0">
              <a:buNone/>
              <a:defRPr sz="4000" b="0" i="0">
                <a:latin typeface="Avenir Next LT Pro" panose="020B0504020202020204" pitchFamily="34" charset="77"/>
              </a:defRPr>
            </a:lvl2pPr>
            <a:lvl3pPr marL="914400" indent="0">
              <a:buNone/>
              <a:defRPr sz="4000" b="0" i="0">
                <a:latin typeface="Avenir Next LT Pro" panose="020B0504020202020204" pitchFamily="34" charset="77"/>
              </a:defRPr>
            </a:lvl3pPr>
            <a:lvl4pPr marL="1371600" indent="0">
              <a:buNone/>
              <a:defRPr sz="4000" b="0" i="0">
                <a:latin typeface="Avenir Next LT Pro" panose="020B0504020202020204" pitchFamily="34" charset="77"/>
              </a:defRPr>
            </a:lvl4pPr>
            <a:lvl5pPr marL="1828800" indent="0">
              <a:buNone/>
              <a:defRPr sz="4000" b="0" i="0">
                <a:latin typeface="Avenir Next LT Pro" panose="020B0504020202020204" pitchFamily="34" charset="77"/>
              </a:defRPr>
            </a:lvl5pPr>
          </a:lstStyle>
          <a:p>
            <a:pPr lvl="0"/>
            <a:r>
              <a:rPr lang="it-IT" dirty="0"/>
              <a:t>FARE CLIC PER MODIFICARE TITOLO DIAPOSITIVA</a:t>
            </a:r>
          </a:p>
        </p:txBody>
      </p:sp>
      <p:sp>
        <p:nvSpPr>
          <p:cNvPr id="40" name="Segnaposto testo 4">
            <a:extLst>
              <a:ext uri="{FF2B5EF4-FFF2-40B4-BE49-F238E27FC236}">
                <a16:creationId xmlns:a16="http://schemas.microsoft.com/office/drawing/2014/main" id="{597E06C8-CAFB-E24B-A154-8EA093E0C54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49834" y="5917932"/>
            <a:ext cx="9402763" cy="573088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900" b="0" i="0">
                <a:latin typeface="Avenir Next LT Pro" panose="020B0504020202020204" pitchFamily="34" charset="77"/>
              </a:defRPr>
            </a:lvl1pPr>
            <a:lvl2pPr marL="457200" indent="0">
              <a:buNone/>
              <a:defRPr sz="900" b="0" i="0">
                <a:latin typeface="Avenir Next LT Pro" panose="020B0504020202020204" pitchFamily="34" charset="77"/>
              </a:defRPr>
            </a:lvl2pPr>
            <a:lvl3pPr marL="914400" indent="0">
              <a:buNone/>
              <a:defRPr sz="900" b="0" i="0">
                <a:latin typeface="Avenir Next LT Pro" panose="020B0504020202020204" pitchFamily="34" charset="77"/>
              </a:defRPr>
            </a:lvl3pPr>
            <a:lvl4pPr marL="1371600" indent="0">
              <a:buNone/>
              <a:defRPr sz="900" b="0" i="0">
                <a:latin typeface="Avenir Next LT Pro" panose="020B0504020202020204" pitchFamily="34" charset="77"/>
              </a:defRPr>
            </a:lvl4pPr>
            <a:lvl5pPr marL="1828800" indent="0">
              <a:buNone/>
              <a:defRPr sz="900" b="0" i="0">
                <a:latin typeface="Avenir Next LT Pro" panose="020B0504020202020204" pitchFamily="34" charset="77"/>
              </a:defRPr>
            </a:lvl5pPr>
          </a:lstStyle>
          <a:p>
            <a:pPr lvl="0"/>
            <a:r>
              <a:rPr lang="it-IT" dirty="0"/>
              <a:t>1. Fare clic per modificare le note 2. Fare clic per modificare le note 3. Fare clic per modificare le note </a:t>
            </a:r>
          </a:p>
        </p:txBody>
      </p:sp>
      <p:grpSp>
        <p:nvGrpSpPr>
          <p:cNvPr id="3" name="Gruppo 2">
            <a:extLst>
              <a:ext uri="{FF2B5EF4-FFF2-40B4-BE49-F238E27FC236}">
                <a16:creationId xmlns:a16="http://schemas.microsoft.com/office/drawing/2014/main" id="{E21151D6-4C81-4291-A326-8F10FC710FFD}"/>
              </a:ext>
            </a:extLst>
          </p:cNvPr>
          <p:cNvGrpSpPr/>
          <p:nvPr/>
        </p:nvGrpSpPr>
        <p:grpSpPr>
          <a:xfrm>
            <a:off x="633940" y="1509967"/>
            <a:ext cx="756000" cy="756000"/>
            <a:chOff x="633940" y="1509967"/>
            <a:chExt cx="756000" cy="756000"/>
          </a:xfrm>
        </p:grpSpPr>
        <p:sp>
          <p:nvSpPr>
            <p:cNvPr id="38" name="object 46">
              <a:extLst>
                <a:ext uri="{FF2B5EF4-FFF2-40B4-BE49-F238E27FC236}">
                  <a16:creationId xmlns:a16="http://schemas.microsoft.com/office/drawing/2014/main" id="{1A31036D-EA7B-4D3A-ABB2-BD0C250E8059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33940" y="1509967"/>
              <a:ext cx="756000" cy="756000"/>
            </a:xfrm>
            <a:custGeom>
              <a:avLst/>
              <a:gdLst/>
              <a:ahLst/>
              <a:cxnLst/>
              <a:rect l="l" t="t" r="r" b="b"/>
              <a:pathLst>
                <a:path w="1009650" h="1009650">
                  <a:moveTo>
                    <a:pt x="1009637" y="504825"/>
                  </a:moveTo>
                  <a:lnTo>
                    <a:pt x="1007326" y="553440"/>
                  </a:lnTo>
                  <a:lnTo>
                    <a:pt x="1000534" y="600748"/>
                  </a:lnTo>
                  <a:lnTo>
                    <a:pt x="989474" y="646537"/>
                  </a:lnTo>
                  <a:lnTo>
                    <a:pt x="974355" y="690596"/>
                  </a:lnTo>
                  <a:lnTo>
                    <a:pt x="955391" y="732714"/>
                  </a:lnTo>
                  <a:lnTo>
                    <a:pt x="932791" y="772678"/>
                  </a:lnTo>
                  <a:lnTo>
                    <a:pt x="906769" y="810276"/>
                  </a:lnTo>
                  <a:lnTo>
                    <a:pt x="877535" y="845298"/>
                  </a:lnTo>
                  <a:lnTo>
                    <a:pt x="845302" y="877532"/>
                  </a:lnTo>
                  <a:lnTo>
                    <a:pt x="810279" y="906766"/>
                  </a:lnTo>
                  <a:lnTo>
                    <a:pt x="772680" y="932789"/>
                  </a:lnTo>
                  <a:lnTo>
                    <a:pt x="732715" y="955389"/>
                  </a:lnTo>
                  <a:lnTo>
                    <a:pt x="690596" y="974354"/>
                  </a:lnTo>
                  <a:lnTo>
                    <a:pt x="646535" y="989473"/>
                  </a:lnTo>
                  <a:lnTo>
                    <a:pt x="600743" y="1000534"/>
                  </a:lnTo>
                  <a:lnTo>
                    <a:pt x="553431" y="1007326"/>
                  </a:lnTo>
                  <a:lnTo>
                    <a:pt x="504812" y="1009637"/>
                  </a:lnTo>
                  <a:lnTo>
                    <a:pt x="456197" y="1007326"/>
                  </a:lnTo>
                  <a:lnTo>
                    <a:pt x="408888" y="1000534"/>
                  </a:lnTo>
                  <a:lnTo>
                    <a:pt x="363099" y="989473"/>
                  </a:lnTo>
                  <a:lnTo>
                    <a:pt x="319040" y="974354"/>
                  </a:lnTo>
                  <a:lnTo>
                    <a:pt x="276923" y="955389"/>
                  </a:lnTo>
                  <a:lnTo>
                    <a:pt x="236959" y="932789"/>
                  </a:lnTo>
                  <a:lnTo>
                    <a:pt x="199360" y="906766"/>
                  </a:lnTo>
                  <a:lnTo>
                    <a:pt x="164338" y="877532"/>
                  </a:lnTo>
                  <a:lnTo>
                    <a:pt x="132104" y="845298"/>
                  </a:lnTo>
                  <a:lnTo>
                    <a:pt x="102870" y="810276"/>
                  </a:lnTo>
                  <a:lnTo>
                    <a:pt x="76847" y="772678"/>
                  </a:lnTo>
                  <a:lnTo>
                    <a:pt x="54248" y="732714"/>
                  </a:lnTo>
                  <a:lnTo>
                    <a:pt x="35283" y="690596"/>
                  </a:lnTo>
                  <a:lnTo>
                    <a:pt x="20164" y="646537"/>
                  </a:lnTo>
                  <a:lnTo>
                    <a:pt x="9102" y="600748"/>
                  </a:lnTo>
                  <a:lnTo>
                    <a:pt x="2310" y="553440"/>
                  </a:lnTo>
                  <a:lnTo>
                    <a:pt x="0" y="504825"/>
                  </a:lnTo>
                  <a:lnTo>
                    <a:pt x="2310" y="456207"/>
                  </a:lnTo>
                  <a:lnTo>
                    <a:pt x="9102" y="408897"/>
                  </a:lnTo>
                  <a:lnTo>
                    <a:pt x="20164" y="363106"/>
                  </a:lnTo>
                  <a:lnTo>
                    <a:pt x="35283" y="319045"/>
                  </a:lnTo>
                  <a:lnTo>
                    <a:pt x="54248" y="276927"/>
                  </a:lnTo>
                  <a:lnTo>
                    <a:pt x="76847" y="236962"/>
                  </a:lnTo>
                  <a:lnTo>
                    <a:pt x="102870" y="199363"/>
                  </a:lnTo>
                  <a:lnTo>
                    <a:pt x="132104" y="164340"/>
                  </a:lnTo>
                  <a:lnTo>
                    <a:pt x="164338" y="132105"/>
                  </a:lnTo>
                  <a:lnTo>
                    <a:pt x="199360" y="102871"/>
                  </a:lnTo>
                  <a:lnTo>
                    <a:pt x="236959" y="76848"/>
                  </a:lnTo>
                  <a:lnTo>
                    <a:pt x="276923" y="54248"/>
                  </a:lnTo>
                  <a:lnTo>
                    <a:pt x="319040" y="35283"/>
                  </a:lnTo>
                  <a:lnTo>
                    <a:pt x="363099" y="20164"/>
                  </a:lnTo>
                  <a:lnTo>
                    <a:pt x="408888" y="9102"/>
                  </a:lnTo>
                  <a:lnTo>
                    <a:pt x="456197" y="2310"/>
                  </a:lnTo>
                  <a:lnTo>
                    <a:pt x="504812" y="0"/>
                  </a:lnTo>
                  <a:lnTo>
                    <a:pt x="553431" y="2310"/>
                  </a:lnTo>
                  <a:lnTo>
                    <a:pt x="600743" y="9102"/>
                  </a:lnTo>
                  <a:lnTo>
                    <a:pt x="646535" y="20164"/>
                  </a:lnTo>
                  <a:lnTo>
                    <a:pt x="690596" y="35283"/>
                  </a:lnTo>
                  <a:lnTo>
                    <a:pt x="732715" y="54248"/>
                  </a:lnTo>
                  <a:lnTo>
                    <a:pt x="772680" y="76848"/>
                  </a:lnTo>
                  <a:lnTo>
                    <a:pt x="810279" y="102871"/>
                  </a:lnTo>
                  <a:lnTo>
                    <a:pt x="845302" y="132105"/>
                  </a:lnTo>
                  <a:lnTo>
                    <a:pt x="877535" y="164340"/>
                  </a:lnTo>
                  <a:lnTo>
                    <a:pt x="906769" y="199363"/>
                  </a:lnTo>
                  <a:lnTo>
                    <a:pt x="932791" y="236962"/>
                  </a:lnTo>
                  <a:lnTo>
                    <a:pt x="955391" y="276927"/>
                  </a:lnTo>
                  <a:lnTo>
                    <a:pt x="974355" y="319045"/>
                  </a:lnTo>
                  <a:lnTo>
                    <a:pt x="989474" y="363106"/>
                  </a:lnTo>
                  <a:lnTo>
                    <a:pt x="1000534" y="408897"/>
                  </a:lnTo>
                  <a:lnTo>
                    <a:pt x="1007326" y="456207"/>
                  </a:lnTo>
                  <a:lnTo>
                    <a:pt x="1009637" y="504825"/>
                  </a:lnTo>
                  <a:close/>
                </a:path>
              </a:pathLst>
            </a:custGeom>
            <a:solidFill>
              <a:schemeClr val="bg1"/>
            </a:solidFill>
            <a:ln w="12700">
              <a:solidFill>
                <a:srgbClr val="0046BA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3B3B3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39" name="object 47">
              <a:extLst>
                <a:ext uri="{FF2B5EF4-FFF2-40B4-BE49-F238E27FC236}">
                  <a16:creationId xmlns:a16="http://schemas.microsoft.com/office/drawing/2014/main" id="{B5C934CC-BE9A-47FC-80BA-9E7FC344FDEB}"/>
                </a:ext>
              </a:extLst>
            </p:cNvPr>
            <p:cNvSpPr/>
            <p:nvPr/>
          </p:nvSpPr>
          <p:spPr>
            <a:xfrm>
              <a:off x="687940" y="1563967"/>
              <a:ext cx="648000" cy="648000"/>
            </a:xfrm>
            <a:custGeom>
              <a:avLst/>
              <a:gdLst/>
              <a:ahLst/>
              <a:cxnLst/>
              <a:rect l="l" t="t" r="r" b="b"/>
              <a:pathLst>
                <a:path w="836294" h="836294">
                  <a:moveTo>
                    <a:pt x="417944" y="0"/>
                  </a:moveTo>
                  <a:lnTo>
                    <a:pt x="369203" y="2811"/>
                  </a:lnTo>
                  <a:lnTo>
                    <a:pt x="322114" y="11038"/>
                  </a:lnTo>
                  <a:lnTo>
                    <a:pt x="276989" y="24365"/>
                  </a:lnTo>
                  <a:lnTo>
                    <a:pt x="234143" y="42480"/>
                  </a:lnTo>
                  <a:lnTo>
                    <a:pt x="193890" y="65069"/>
                  </a:lnTo>
                  <a:lnTo>
                    <a:pt x="156542" y="91818"/>
                  </a:lnTo>
                  <a:lnTo>
                    <a:pt x="122413" y="122413"/>
                  </a:lnTo>
                  <a:lnTo>
                    <a:pt x="91818" y="156542"/>
                  </a:lnTo>
                  <a:lnTo>
                    <a:pt x="65069" y="193890"/>
                  </a:lnTo>
                  <a:lnTo>
                    <a:pt x="42480" y="234143"/>
                  </a:lnTo>
                  <a:lnTo>
                    <a:pt x="24365" y="276989"/>
                  </a:lnTo>
                  <a:lnTo>
                    <a:pt x="11038" y="322114"/>
                  </a:lnTo>
                  <a:lnTo>
                    <a:pt x="2811" y="369203"/>
                  </a:lnTo>
                  <a:lnTo>
                    <a:pt x="0" y="417944"/>
                  </a:lnTo>
                  <a:lnTo>
                    <a:pt x="2811" y="466685"/>
                  </a:lnTo>
                  <a:lnTo>
                    <a:pt x="11038" y="513774"/>
                  </a:lnTo>
                  <a:lnTo>
                    <a:pt x="24365" y="558898"/>
                  </a:lnTo>
                  <a:lnTo>
                    <a:pt x="42480" y="601744"/>
                  </a:lnTo>
                  <a:lnTo>
                    <a:pt x="65069" y="641998"/>
                  </a:lnTo>
                  <a:lnTo>
                    <a:pt x="91818" y="679346"/>
                  </a:lnTo>
                  <a:lnTo>
                    <a:pt x="122413" y="713474"/>
                  </a:lnTo>
                  <a:lnTo>
                    <a:pt x="156542" y="744070"/>
                  </a:lnTo>
                  <a:lnTo>
                    <a:pt x="193890" y="770819"/>
                  </a:lnTo>
                  <a:lnTo>
                    <a:pt x="234143" y="793407"/>
                  </a:lnTo>
                  <a:lnTo>
                    <a:pt x="276989" y="811522"/>
                  </a:lnTo>
                  <a:lnTo>
                    <a:pt x="322114" y="824850"/>
                  </a:lnTo>
                  <a:lnTo>
                    <a:pt x="369203" y="833076"/>
                  </a:lnTo>
                  <a:lnTo>
                    <a:pt x="417944" y="835888"/>
                  </a:lnTo>
                  <a:lnTo>
                    <a:pt x="466685" y="833076"/>
                  </a:lnTo>
                  <a:lnTo>
                    <a:pt x="513774" y="824850"/>
                  </a:lnTo>
                  <a:lnTo>
                    <a:pt x="558898" y="811522"/>
                  </a:lnTo>
                  <a:lnTo>
                    <a:pt x="601744" y="793407"/>
                  </a:lnTo>
                  <a:lnTo>
                    <a:pt x="641998" y="770819"/>
                  </a:lnTo>
                  <a:lnTo>
                    <a:pt x="679346" y="744070"/>
                  </a:lnTo>
                  <a:lnTo>
                    <a:pt x="713474" y="713474"/>
                  </a:lnTo>
                  <a:lnTo>
                    <a:pt x="744070" y="679346"/>
                  </a:lnTo>
                  <a:lnTo>
                    <a:pt x="770819" y="641998"/>
                  </a:lnTo>
                  <a:lnTo>
                    <a:pt x="793407" y="601744"/>
                  </a:lnTo>
                  <a:lnTo>
                    <a:pt x="811522" y="558898"/>
                  </a:lnTo>
                  <a:lnTo>
                    <a:pt x="824850" y="513774"/>
                  </a:lnTo>
                  <a:lnTo>
                    <a:pt x="833076" y="466685"/>
                  </a:lnTo>
                  <a:lnTo>
                    <a:pt x="835888" y="417944"/>
                  </a:lnTo>
                  <a:lnTo>
                    <a:pt x="833076" y="369203"/>
                  </a:lnTo>
                  <a:lnTo>
                    <a:pt x="824850" y="322114"/>
                  </a:lnTo>
                  <a:lnTo>
                    <a:pt x="811522" y="276989"/>
                  </a:lnTo>
                  <a:lnTo>
                    <a:pt x="793407" y="234143"/>
                  </a:lnTo>
                  <a:lnTo>
                    <a:pt x="770819" y="193890"/>
                  </a:lnTo>
                  <a:lnTo>
                    <a:pt x="744070" y="156542"/>
                  </a:lnTo>
                  <a:lnTo>
                    <a:pt x="713474" y="122413"/>
                  </a:lnTo>
                  <a:lnTo>
                    <a:pt x="679346" y="91818"/>
                  </a:lnTo>
                  <a:lnTo>
                    <a:pt x="641998" y="65069"/>
                  </a:lnTo>
                  <a:lnTo>
                    <a:pt x="601744" y="42480"/>
                  </a:lnTo>
                  <a:lnTo>
                    <a:pt x="558898" y="24365"/>
                  </a:lnTo>
                  <a:lnTo>
                    <a:pt x="513774" y="11038"/>
                  </a:lnTo>
                  <a:lnTo>
                    <a:pt x="466685" y="2811"/>
                  </a:lnTo>
                  <a:lnTo>
                    <a:pt x="417944" y="0"/>
                  </a:lnTo>
                  <a:close/>
                </a:path>
              </a:pathLst>
            </a:custGeom>
            <a:solidFill>
              <a:srgbClr val="EEDC00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srgbClr val="3B3B3A"/>
                </a:solidFill>
                <a:effectLst/>
                <a:uLnTx/>
                <a:uFillTx/>
                <a:latin typeface="Avenir Next LT Pro" panose="020B0504020202020204" pitchFamily="34" charset="77"/>
                <a:ea typeface="+mn-ea"/>
                <a:cs typeface="+mn-cs"/>
              </a:endParaRPr>
            </a:p>
          </p:txBody>
        </p:sp>
      </p:grpSp>
      <p:cxnSp>
        <p:nvCxnSpPr>
          <p:cNvPr id="41" name="Connettore 1 46">
            <a:extLst>
              <a:ext uri="{FF2B5EF4-FFF2-40B4-BE49-F238E27FC236}">
                <a16:creationId xmlns:a16="http://schemas.microsoft.com/office/drawing/2014/main" id="{03956D96-28CC-49C4-A88E-667F0657136E}"/>
              </a:ext>
            </a:extLst>
          </p:cNvPr>
          <p:cNvCxnSpPr>
            <a:cxnSpLocks/>
          </p:cNvCxnSpPr>
          <p:nvPr/>
        </p:nvCxnSpPr>
        <p:spPr>
          <a:xfrm>
            <a:off x="1395006" y="1889852"/>
            <a:ext cx="4140000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Segnaposto testo 46">
            <a:extLst>
              <a:ext uri="{FF2B5EF4-FFF2-40B4-BE49-F238E27FC236}">
                <a16:creationId xmlns:a16="http://schemas.microsoft.com/office/drawing/2014/main" id="{00BC452B-C9F6-486C-8B6F-1CA1B2145E8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457282" y="1158675"/>
            <a:ext cx="4140000" cy="746498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 b="0" i="0">
                <a:solidFill>
                  <a:srgbClr val="0047BB"/>
                </a:solidFill>
                <a:latin typeface="Avenir Next LT Pro" panose="020B0504020202020204" pitchFamily="34" charset="77"/>
              </a:defRPr>
            </a:lvl1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27" name="Segnaposto grafico 26">
            <a:extLst>
              <a:ext uri="{FF2B5EF4-FFF2-40B4-BE49-F238E27FC236}">
                <a16:creationId xmlns:a16="http://schemas.microsoft.com/office/drawing/2014/main" id="{078758B7-5210-4D31-B07C-1E39894B360A}"/>
              </a:ext>
            </a:extLst>
          </p:cNvPr>
          <p:cNvSpPr>
            <a:spLocks noGrp="1"/>
          </p:cNvSpPr>
          <p:nvPr>
            <p:ph type="chart" sz="quarter" idx="15" hasCustomPrompt="1"/>
          </p:nvPr>
        </p:nvSpPr>
        <p:spPr>
          <a:xfrm>
            <a:off x="6096000" y="2355850"/>
            <a:ext cx="5545138" cy="3557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0" i="0" u="none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it-IT" i="1" dirty="0"/>
              <a:t>Inserimento grafico</a:t>
            </a:r>
            <a:endParaRPr lang="it-IT" dirty="0"/>
          </a:p>
        </p:txBody>
      </p:sp>
      <p:sp>
        <p:nvSpPr>
          <p:cNvPr id="33" name="Segnaposto grafico 26">
            <a:extLst>
              <a:ext uri="{FF2B5EF4-FFF2-40B4-BE49-F238E27FC236}">
                <a16:creationId xmlns:a16="http://schemas.microsoft.com/office/drawing/2014/main" id="{3778B67C-5C54-4ABD-B83B-7D04FAA81672}"/>
              </a:ext>
            </a:extLst>
          </p:cNvPr>
          <p:cNvSpPr>
            <a:spLocks noGrp="1"/>
          </p:cNvSpPr>
          <p:nvPr>
            <p:ph type="chart" sz="quarter" idx="16" hasCustomPrompt="1"/>
          </p:nvPr>
        </p:nvSpPr>
        <p:spPr>
          <a:xfrm>
            <a:off x="549834" y="2355850"/>
            <a:ext cx="5545138" cy="3557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0" i="0" u="none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it-IT" i="1" dirty="0"/>
              <a:t>Inserimento grafico</a:t>
            </a:r>
            <a:endParaRPr lang="it-IT" dirty="0"/>
          </a:p>
        </p:txBody>
      </p:sp>
      <p:sp>
        <p:nvSpPr>
          <p:cNvPr id="32" name="bg object 16">
            <a:extLst>
              <a:ext uri="{FF2B5EF4-FFF2-40B4-BE49-F238E27FC236}">
                <a16:creationId xmlns:a16="http://schemas.microsoft.com/office/drawing/2014/main" id="{1C60764C-7D6F-724C-B683-454601B10E17}"/>
              </a:ext>
            </a:extLst>
          </p:cNvPr>
          <p:cNvSpPr/>
          <p:nvPr/>
        </p:nvSpPr>
        <p:spPr>
          <a:xfrm>
            <a:off x="11330381" y="6448615"/>
            <a:ext cx="311785" cy="410845"/>
          </a:xfrm>
          <a:custGeom>
            <a:avLst/>
            <a:gdLst/>
            <a:ahLst/>
            <a:cxnLst/>
            <a:rect l="l" t="t" r="r" b="b"/>
            <a:pathLst>
              <a:path w="311784" h="410845">
                <a:moveTo>
                  <a:pt x="311645" y="0"/>
                </a:moveTo>
                <a:lnTo>
                  <a:pt x="0" y="0"/>
                </a:lnTo>
                <a:lnTo>
                  <a:pt x="0" y="410438"/>
                </a:lnTo>
                <a:lnTo>
                  <a:pt x="311645" y="410438"/>
                </a:lnTo>
                <a:lnTo>
                  <a:pt x="311645" y="0"/>
                </a:lnTo>
                <a:close/>
              </a:path>
            </a:pathLst>
          </a:custGeom>
          <a:solidFill>
            <a:srgbClr val="0047B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5" name="Holder 7">
            <a:extLst>
              <a:ext uri="{FF2B5EF4-FFF2-40B4-BE49-F238E27FC236}">
                <a16:creationId xmlns:a16="http://schemas.microsoft.com/office/drawing/2014/main" id="{5D276755-D122-0C4E-8A4A-6100710F8657}"/>
              </a:ext>
            </a:extLst>
          </p:cNvPr>
          <p:cNvSpPr txBox="1">
            <a:spLocks/>
          </p:cNvSpPr>
          <p:nvPr/>
        </p:nvSpPr>
        <p:spPr>
          <a:xfrm>
            <a:off x="11342726" y="6520516"/>
            <a:ext cx="256044" cy="16158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it-IT"/>
            </a:defPPr>
            <a:lvl1pPr marL="0" algn="l" defTabSz="914400" rtl="0" eaLnBrk="1" latinLnBrk="0" hangingPunct="1">
              <a:defRPr sz="850" b="1" i="0" kern="1200">
                <a:solidFill>
                  <a:schemeClr val="bg1"/>
                </a:solidFill>
                <a:latin typeface="Verdana"/>
                <a:ea typeface="+mn-ea"/>
                <a:cs typeface="Verdana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8100" algn="ctr">
              <a:spcBef>
                <a:spcPts val="105"/>
              </a:spcBef>
            </a:pPr>
            <a:fld id="{81D60167-4931-47E6-BA6A-407CBD079E47}" type="slidenum">
              <a:rPr lang="it-IT" sz="1050" b="0" i="0" spc="5" smtClean="0">
                <a:latin typeface="Avenir Next LT Pro" pitchFamily="2" charset="0"/>
              </a:rPr>
              <a:pPr marL="38100" algn="ctr">
                <a:spcBef>
                  <a:spcPts val="105"/>
                </a:spcBef>
              </a:pPr>
              <a:t>‹N›</a:t>
            </a:fld>
            <a:endParaRPr lang="it-IT" sz="1050" b="0" i="0" spc="5" dirty="0">
              <a:latin typeface="Avenir Next LT Pro" pitchFamily="2" charset="0"/>
            </a:endParaRPr>
          </a:p>
        </p:txBody>
      </p:sp>
      <p:sp>
        <p:nvSpPr>
          <p:cNvPr id="44" name="Triangolo isoscele 16">
            <a:extLst>
              <a:ext uri="{FF2B5EF4-FFF2-40B4-BE49-F238E27FC236}">
                <a16:creationId xmlns:a16="http://schemas.microsoft.com/office/drawing/2014/main" id="{3D88DEFF-DCE2-3849-8E30-05ED1818FD06}"/>
              </a:ext>
            </a:extLst>
          </p:cNvPr>
          <p:cNvSpPr/>
          <p:nvPr/>
        </p:nvSpPr>
        <p:spPr>
          <a:xfrm rot="10800000">
            <a:off x="303127" y="-324737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45" name="Triangolo isoscele 17">
            <a:extLst>
              <a:ext uri="{FF2B5EF4-FFF2-40B4-BE49-F238E27FC236}">
                <a16:creationId xmlns:a16="http://schemas.microsoft.com/office/drawing/2014/main" id="{B55C8439-FD54-1C4F-ACA5-CC6C0F48728C}"/>
              </a:ext>
            </a:extLst>
          </p:cNvPr>
          <p:cNvSpPr/>
          <p:nvPr/>
        </p:nvSpPr>
        <p:spPr>
          <a:xfrm rot="10800000">
            <a:off x="11756536" y="-324737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46" name="Triangolo isoscele 18">
            <a:extLst>
              <a:ext uri="{FF2B5EF4-FFF2-40B4-BE49-F238E27FC236}">
                <a16:creationId xmlns:a16="http://schemas.microsoft.com/office/drawing/2014/main" id="{D54EB677-97FD-F743-9D3D-CD500711D9FF}"/>
              </a:ext>
            </a:extLst>
          </p:cNvPr>
          <p:cNvSpPr/>
          <p:nvPr/>
        </p:nvSpPr>
        <p:spPr>
          <a:xfrm>
            <a:off x="303127" y="6950754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47" name="Triangolo isoscele 19">
            <a:extLst>
              <a:ext uri="{FF2B5EF4-FFF2-40B4-BE49-F238E27FC236}">
                <a16:creationId xmlns:a16="http://schemas.microsoft.com/office/drawing/2014/main" id="{E7F48C78-5D4E-C74E-A264-0AA7EDCA6EC4}"/>
              </a:ext>
            </a:extLst>
          </p:cNvPr>
          <p:cNvSpPr/>
          <p:nvPr/>
        </p:nvSpPr>
        <p:spPr>
          <a:xfrm>
            <a:off x="11756536" y="6950754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48" name="Triangolo isoscele 20">
            <a:extLst>
              <a:ext uri="{FF2B5EF4-FFF2-40B4-BE49-F238E27FC236}">
                <a16:creationId xmlns:a16="http://schemas.microsoft.com/office/drawing/2014/main" id="{2EA1158F-2651-C645-90E4-379CA5A7BA3A}"/>
              </a:ext>
            </a:extLst>
          </p:cNvPr>
          <p:cNvSpPr/>
          <p:nvPr/>
        </p:nvSpPr>
        <p:spPr>
          <a:xfrm rot="5400000">
            <a:off x="-276040" y="885372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49" name="Triangolo isoscele 21">
            <a:extLst>
              <a:ext uri="{FF2B5EF4-FFF2-40B4-BE49-F238E27FC236}">
                <a16:creationId xmlns:a16="http://schemas.microsoft.com/office/drawing/2014/main" id="{56076811-7453-3C4A-8181-F24AA4F078B8}"/>
              </a:ext>
            </a:extLst>
          </p:cNvPr>
          <p:cNvSpPr/>
          <p:nvPr/>
        </p:nvSpPr>
        <p:spPr>
          <a:xfrm rot="5400000">
            <a:off x="-276039" y="5982836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50" name="Triangolo isoscele 22">
            <a:extLst>
              <a:ext uri="{FF2B5EF4-FFF2-40B4-BE49-F238E27FC236}">
                <a16:creationId xmlns:a16="http://schemas.microsoft.com/office/drawing/2014/main" id="{682AA43D-CAB9-CA4F-83A0-049886152ADD}"/>
              </a:ext>
            </a:extLst>
          </p:cNvPr>
          <p:cNvSpPr/>
          <p:nvPr/>
        </p:nvSpPr>
        <p:spPr>
          <a:xfrm rot="16200000">
            <a:off x="12331119" y="885372"/>
            <a:ext cx="132336" cy="261257"/>
          </a:xfrm>
          <a:prstGeom prst="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51" name="Triangolo isoscele 23">
            <a:extLst>
              <a:ext uri="{FF2B5EF4-FFF2-40B4-BE49-F238E27FC236}">
                <a16:creationId xmlns:a16="http://schemas.microsoft.com/office/drawing/2014/main" id="{1708F8F8-FCA9-C848-9FC5-6FF13706B05F}"/>
              </a:ext>
            </a:extLst>
          </p:cNvPr>
          <p:cNvSpPr/>
          <p:nvPr/>
        </p:nvSpPr>
        <p:spPr>
          <a:xfrm rot="16200000">
            <a:off x="12331120" y="5982836"/>
            <a:ext cx="132336" cy="261257"/>
          </a:xfrm>
          <a:prstGeom prst="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52" name="Triangolo isoscele 31">
            <a:extLst>
              <a:ext uri="{FF2B5EF4-FFF2-40B4-BE49-F238E27FC236}">
                <a16:creationId xmlns:a16="http://schemas.microsoft.com/office/drawing/2014/main" id="{9B28D70A-69C8-5242-A2B0-3F5BCED24C2F}"/>
              </a:ext>
            </a:extLst>
          </p:cNvPr>
          <p:cNvSpPr/>
          <p:nvPr/>
        </p:nvSpPr>
        <p:spPr>
          <a:xfrm rot="10800000">
            <a:off x="303127" y="-324737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53" name="Triangolo isoscele 32">
            <a:extLst>
              <a:ext uri="{FF2B5EF4-FFF2-40B4-BE49-F238E27FC236}">
                <a16:creationId xmlns:a16="http://schemas.microsoft.com/office/drawing/2014/main" id="{76634F86-E7ED-574C-994D-FC124BB645B0}"/>
              </a:ext>
            </a:extLst>
          </p:cNvPr>
          <p:cNvSpPr/>
          <p:nvPr/>
        </p:nvSpPr>
        <p:spPr>
          <a:xfrm rot="10800000">
            <a:off x="11756536" y="-324737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54" name="Triangolo isoscele 33">
            <a:extLst>
              <a:ext uri="{FF2B5EF4-FFF2-40B4-BE49-F238E27FC236}">
                <a16:creationId xmlns:a16="http://schemas.microsoft.com/office/drawing/2014/main" id="{F0C239CC-3F01-8646-AFB8-32FAEEB5C7BD}"/>
              </a:ext>
            </a:extLst>
          </p:cNvPr>
          <p:cNvSpPr/>
          <p:nvPr/>
        </p:nvSpPr>
        <p:spPr>
          <a:xfrm>
            <a:off x="303127" y="6950754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55" name="Triangolo isoscele 34">
            <a:extLst>
              <a:ext uri="{FF2B5EF4-FFF2-40B4-BE49-F238E27FC236}">
                <a16:creationId xmlns:a16="http://schemas.microsoft.com/office/drawing/2014/main" id="{B9905A1F-19EC-F642-B4CF-506FCDC91984}"/>
              </a:ext>
            </a:extLst>
          </p:cNvPr>
          <p:cNvSpPr/>
          <p:nvPr/>
        </p:nvSpPr>
        <p:spPr>
          <a:xfrm>
            <a:off x="11756536" y="6950754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56" name="Triangolo isoscele 35">
            <a:extLst>
              <a:ext uri="{FF2B5EF4-FFF2-40B4-BE49-F238E27FC236}">
                <a16:creationId xmlns:a16="http://schemas.microsoft.com/office/drawing/2014/main" id="{23E32353-F772-DF4E-BDDD-A446A73317F4}"/>
              </a:ext>
            </a:extLst>
          </p:cNvPr>
          <p:cNvSpPr/>
          <p:nvPr/>
        </p:nvSpPr>
        <p:spPr>
          <a:xfrm rot="5400000">
            <a:off x="-276040" y="885372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57" name="Triangolo isoscele 36">
            <a:extLst>
              <a:ext uri="{FF2B5EF4-FFF2-40B4-BE49-F238E27FC236}">
                <a16:creationId xmlns:a16="http://schemas.microsoft.com/office/drawing/2014/main" id="{4EE0911A-F9A6-6B43-964F-FFADD14EEE26}"/>
              </a:ext>
            </a:extLst>
          </p:cNvPr>
          <p:cNvSpPr/>
          <p:nvPr/>
        </p:nvSpPr>
        <p:spPr>
          <a:xfrm rot="5400000">
            <a:off x="-276039" y="5982836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58" name="Triangolo isoscele 37">
            <a:extLst>
              <a:ext uri="{FF2B5EF4-FFF2-40B4-BE49-F238E27FC236}">
                <a16:creationId xmlns:a16="http://schemas.microsoft.com/office/drawing/2014/main" id="{2CD37047-E6A3-AE4F-A71C-B3919F92D833}"/>
              </a:ext>
            </a:extLst>
          </p:cNvPr>
          <p:cNvSpPr/>
          <p:nvPr/>
        </p:nvSpPr>
        <p:spPr>
          <a:xfrm rot="16200000">
            <a:off x="12331119" y="885372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59" name="Triangolo isoscele 38">
            <a:extLst>
              <a:ext uri="{FF2B5EF4-FFF2-40B4-BE49-F238E27FC236}">
                <a16:creationId xmlns:a16="http://schemas.microsoft.com/office/drawing/2014/main" id="{C6FE0B21-ADC5-034C-BB79-71BA437995AC}"/>
              </a:ext>
            </a:extLst>
          </p:cNvPr>
          <p:cNvSpPr/>
          <p:nvPr/>
        </p:nvSpPr>
        <p:spPr>
          <a:xfrm rot="16200000">
            <a:off x="12331120" y="5982836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pic>
        <p:nvPicPr>
          <p:cNvPr id="60" name="Elemento grafico 59">
            <a:extLst>
              <a:ext uri="{FF2B5EF4-FFF2-40B4-BE49-F238E27FC236}">
                <a16:creationId xmlns:a16="http://schemas.microsoft.com/office/drawing/2014/main" id="{B1272A90-AB49-9145-A7BA-0E3C11FF932E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081892" y="-5080"/>
            <a:ext cx="1560273" cy="309880"/>
          </a:xfrm>
          <a:prstGeom prst="rect">
            <a:avLst/>
          </a:prstGeom>
        </p:spPr>
      </p:pic>
      <p:sp>
        <p:nvSpPr>
          <p:cNvPr id="61" name="object 267">
            <a:extLst>
              <a:ext uri="{FF2B5EF4-FFF2-40B4-BE49-F238E27FC236}">
                <a16:creationId xmlns:a16="http://schemas.microsoft.com/office/drawing/2014/main" id="{DA845558-2BFB-1F47-AF9B-27F32116A9AE}"/>
              </a:ext>
            </a:extLst>
          </p:cNvPr>
          <p:cNvSpPr/>
          <p:nvPr/>
        </p:nvSpPr>
        <p:spPr>
          <a:xfrm>
            <a:off x="0" y="1251482"/>
            <a:ext cx="675518" cy="45719"/>
          </a:xfrm>
          <a:custGeom>
            <a:avLst/>
            <a:gdLst/>
            <a:ahLst/>
            <a:cxnLst/>
            <a:rect l="l" t="t" r="r" b="b"/>
            <a:pathLst>
              <a:path w="657225">
                <a:moveTo>
                  <a:pt x="0" y="0"/>
                </a:moveTo>
                <a:lnTo>
                  <a:pt x="656678" y="0"/>
                </a:lnTo>
              </a:path>
            </a:pathLst>
          </a:custGeom>
          <a:ln w="76200">
            <a:solidFill>
              <a:srgbClr val="EEDC00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JhengHei UI Light" panose="020B0304030504040204" pitchFamily="34" charset="-120"/>
              <a:ea typeface="Microsoft JhengHei UI Light" panose="020B0304030504040204" pitchFamily="34" charset="-120"/>
              <a:cs typeface="+mn-cs"/>
            </a:endParaRPr>
          </a:p>
        </p:txBody>
      </p:sp>
      <p:grpSp>
        <p:nvGrpSpPr>
          <p:cNvPr id="62" name="Gruppo 61">
            <a:extLst>
              <a:ext uri="{FF2B5EF4-FFF2-40B4-BE49-F238E27FC236}">
                <a16:creationId xmlns:a16="http://schemas.microsoft.com/office/drawing/2014/main" id="{6B809B67-CE76-D64B-87FA-9D98C0B46A2F}"/>
              </a:ext>
            </a:extLst>
          </p:cNvPr>
          <p:cNvGrpSpPr/>
          <p:nvPr/>
        </p:nvGrpSpPr>
        <p:grpSpPr>
          <a:xfrm>
            <a:off x="633940" y="1509967"/>
            <a:ext cx="756000" cy="756000"/>
            <a:chOff x="633940" y="1509967"/>
            <a:chExt cx="756000" cy="756000"/>
          </a:xfrm>
        </p:grpSpPr>
        <p:sp>
          <p:nvSpPr>
            <p:cNvPr id="63" name="object 46">
              <a:extLst>
                <a:ext uri="{FF2B5EF4-FFF2-40B4-BE49-F238E27FC236}">
                  <a16:creationId xmlns:a16="http://schemas.microsoft.com/office/drawing/2014/main" id="{96F19CDA-0952-6843-9B81-3A8FF4071F40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33940" y="1509967"/>
              <a:ext cx="756000" cy="756000"/>
            </a:xfrm>
            <a:custGeom>
              <a:avLst/>
              <a:gdLst/>
              <a:ahLst/>
              <a:cxnLst/>
              <a:rect l="l" t="t" r="r" b="b"/>
              <a:pathLst>
                <a:path w="1009650" h="1009650">
                  <a:moveTo>
                    <a:pt x="1009637" y="504825"/>
                  </a:moveTo>
                  <a:lnTo>
                    <a:pt x="1007326" y="553440"/>
                  </a:lnTo>
                  <a:lnTo>
                    <a:pt x="1000534" y="600748"/>
                  </a:lnTo>
                  <a:lnTo>
                    <a:pt x="989474" y="646537"/>
                  </a:lnTo>
                  <a:lnTo>
                    <a:pt x="974355" y="690596"/>
                  </a:lnTo>
                  <a:lnTo>
                    <a:pt x="955391" y="732714"/>
                  </a:lnTo>
                  <a:lnTo>
                    <a:pt x="932791" y="772678"/>
                  </a:lnTo>
                  <a:lnTo>
                    <a:pt x="906769" y="810276"/>
                  </a:lnTo>
                  <a:lnTo>
                    <a:pt x="877535" y="845298"/>
                  </a:lnTo>
                  <a:lnTo>
                    <a:pt x="845302" y="877532"/>
                  </a:lnTo>
                  <a:lnTo>
                    <a:pt x="810279" y="906766"/>
                  </a:lnTo>
                  <a:lnTo>
                    <a:pt x="772680" y="932789"/>
                  </a:lnTo>
                  <a:lnTo>
                    <a:pt x="732715" y="955389"/>
                  </a:lnTo>
                  <a:lnTo>
                    <a:pt x="690596" y="974354"/>
                  </a:lnTo>
                  <a:lnTo>
                    <a:pt x="646535" y="989473"/>
                  </a:lnTo>
                  <a:lnTo>
                    <a:pt x="600743" y="1000534"/>
                  </a:lnTo>
                  <a:lnTo>
                    <a:pt x="553431" y="1007326"/>
                  </a:lnTo>
                  <a:lnTo>
                    <a:pt x="504812" y="1009637"/>
                  </a:lnTo>
                  <a:lnTo>
                    <a:pt x="456197" y="1007326"/>
                  </a:lnTo>
                  <a:lnTo>
                    <a:pt x="408888" y="1000534"/>
                  </a:lnTo>
                  <a:lnTo>
                    <a:pt x="363099" y="989473"/>
                  </a:lnTo>
                  <a:lnTo>
                    <a:pt x="319040" y="974354"/>
                  </a:lnTo>
                  <a:lnTo>
                    <a:pt x="276923" y="955389"/>
                  </a:lnTo>
                  <a:lnTo>
                    <a:pt x="236959" y="932789"/>
                  </a:lnTo>
                  <a:lnTo>
                    <a:pt x="199360" y="906766"/>
                  </a:lnTo>
                  <a:lnTo>
                    <a:pt x="164338" y="877532"/>
                  </a:lnTo>
                  <a:lnTo>
                    <a:pt x="132104" y="845298"/>
                  </a:lnTo>
                  <a:lnTo>
                    <a:pt x="102870" y="810276"/>
                  </a:lnTo>
                  <a:lnTo>
                    <a:pt x="76847" y="772678"/>
                  </a:lnTo>
                  <a:lnTo>
                    <a:pt x="54248" y="732714"/>
                  </a:lnTo>
                  <a:lnTo>
                    <a:pt x="35283" y="690596"/>
                  </a:lnTo>
                  <a:lnTo>
                    <a:pt x="20164" y="646537"/>
                  </a:lnTo>
                  <a:lnTo>
                    <a:pt x="9102" y="600748"/>
                  </a:lnTo>
                  <a:lnTo>
                    <a:pt x="2310" y="553440"/>
                  </a:lnTo>
                  <a:lnTo>
                    <a:pt x="0" y="504825"/>
                  </a:lnTo>
                  <a:lnTo>
                    <a:pt x="2310" y="456207"/>
                  </a:lnTo>
                  <a:lnTo>
                    <a:pt x="9102" y="408897"/>
                  </a:lnTo>
                  <a:lnTo>
                    <a:pt x="20164" y="363106"/>
                  </a:lnTo>
                  <a:lnTo>
                    <a:pt x="35283" y="319045"/>
                  </a:lnTo>
                  <a:lnTo>
                    <a:pt x="54248" y="276927"/>
                  </a:lnTo>
                  <a:lnTo>
                    <a:pt x="76847" y="236962"/>
                  </a:lnTo>
                  <a:lnTo>
                    <a:pt x="102870" y="199363"/>
                  </a:lnTo>
                  <a:lnTo>
                    <a:pt x="132104" y="164340"/>
                  </a:lnTo>
                  <a:lnTo>
                    <a:pt x="164338" y="132105"/>
                  </a:lnTo>
                  <a:lnTo>
                    <a:pt x="199360" y="102871"/>
                  </a:lnTo>
                  <a:lnTo>
                    <a:pt x="236959" y="76848"/>
                  </a:lnTo>
                  <a:lnTo>
                    <a:pt x="276923" y="54248"/>
                  </a:lnTo>
                  <a:lnTo>
                    <a:pt x="319040" y="35283"/>
                  </a:lnTo>
                  <a:lnTo>
                    <a:pt x="363099" y="20164"/>
                  </a:lnTo>
                  <a:lnTo>
                    <a:pt x="408888" y="9102"/>
                  </a:lnTo>
                  <a:lnTo>
                    <a:pt x="456197" y="2310"/>
                  </a:lnTo>
                  <a:lnTo>
                    <a:pt x="504812" y="0"/>
                  </a:lnTo>
                  <a:lnTo>
                    <a:pt x="553431" y="2310"/>
                  </a:lnTo>
                  <a:lnTo>
                    <a:pt x="600743" y="9102"/>
                  </a:lnTo>
                  <a:lnTo>
                    <a:pt x="646535" y="20164"/>
                  </a:lnTo>
                  <a:lnTo>
                    <a:pt x="690596" y="35283"/>
                  </a:lnTo>
                  <a:lnTo>
                    <a:pt x="732715" y="54248"/>
                  </a:lnTo>
                  <a:lnTo>
                    <a:pt x="772680" y="76848"/>
                  </a:lnTo>
                  <a:lnTo>
                    <a:pt x="810279" y="102871"/>
                  </a:lnTo>
                  <a:lnTo>
                    <a:pt x="845302" y="132105"/>
                  </a:lnTo>
                  <a:lnTo>
                    <a:pt x="877535" y="164340"/>
                  </a:lnTo>
                  <a:lnTo>
                    <a:pt x="906769" y="199363"/>
                  </a:lnTo>
                  <a:lnTo>
                    <a:pt x="932791" y="236962"/>
                  </a:lnTo>
                  <a:lnTo>
                    <a:pt x="955391" y="276927"/>
                  </a:lnTo>
                  <a:lnTo>
                    <a:pt x="974355" y="319045"/>
                  </a:lnTo>
                  <a:lnTo>
                    <a:pt x="989474" y="363106"/>
                  </a:lnTo>
                  <a:lnTo>
                    <a:pt x="1000534" y="408897"/>
                  </a:lnTo>
                  <a:lnTo>
                    <a:pt x="1007326" y="456207"/>
                  </a:lnTo>
                  <a:lnTo>
                    <a:pt x="1009637" y="504825"/>
                  </a:lnTo>
                  <a:close/>
                </a:path>
              </a:pathLst>
            </a:custGeom>
            <a:solidFill>
              <a:schemeClr val="bg1"/>
            </a:solidFill>
            <a:ln w="12700">
              <a:solidFill>
                <a:srgbClr val="0046BA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3B3B3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64" name="object 47">
              <a:extLst>
                <a:ext uri="{FF2B5EF4-FFF2-40B4-BE49-F238E27FC236}">
                  <a16:creationId xmlns:a16="http://schemas.microsoft.com/office/drawing/2014/main" id="{648A8F46-8F0B-AA46-8556-B52CFDFB722D}"/>
                </a:ext>
              </a:extLst>
            </p:cNvPr>
            <p:cNvSpPr/>
            <p:nvPr userDrawn="1"/>
          </p:nvSpPr>
          <p:spPr>
            <a:xfrm>
              <a:off x="687940" y="1563967"/>
              <a:ext cx="648000" cy="648000"/>
            </a:xfrm>
            <a:custGeom>
              <a:avLst/>
              <a:gdLst/>
              <a:ahLst/>
              <a:cxnLst/>
              <a:rect l="l" t="t" r="r" b="b"/>
              <a:pathLst>
                <a:path w="836294" h="836294">
                  <a:moveTo>
                    <a:pt x="417944" y="0"/>
                  </a:moveTo>
                  <a:lnTo>
                    <a:pt x="369203" y="2811"/>
                  </a:lnTo>
                  <a:lnTo>
                    <a:pt x="322114" y="11038"/>
                  </a:lnTo>
                  <a:lnTo>
                    <a:pt x="276989" y="24365"/>
                  </a:lnTo>
                  <a:lnTo>
                    <a:pt x="234143" y="42480"/>
                  </a:lnTo>
                  <a:lnTo>
                    <a:pt x="193890" y="65069"/>
                  </a:lnTo>
                  <a:lnTo>
                    <a:pt x="156542" y="91818"/>
                  </a:lnTo>
                  <a:lnTo>
                    <a:pt x="122413" y="122413"/>
                  </a:lnTo>
                  <a:lnTo>
                    <a:pt x="91818" y="156542"/>
                  </a:lnTo>
                  <a:lnTo>
                    <a:pt x="65069" y="193890"/>
                  </a:lnTo>
                  <a:lnTo>
                    <a:pt x="42480" y="234143"/>
                  </a:lnTo>
                  <a:lnTo>
                    <a:pt x="24365" y="276989"/>
                  </a:lnTo>
                  <a:lnTo>
                    <a:pt x="11038" y="322114"/>
                  </a:lnTo>
                  <a:lnTo>
                    <a:pt x="2811" y="369203"/>
                  </a:lnTo>
                  <a:lnTo>
                    <a:pt x="0" y="417944"/>
                  </a:lnTo>
                  <a:lnTo>
                    <a:pt x="2811" y="466685"/>
                  </a:lnTo>
                  <a:lnTo>
                    <a:pt x="11038" y="513774"/>
                  </a:lnTo>
                  <a:lnTo>
                    <a:pt x="24365" y="558898"/>
                  </a:lnTo>
                  <a:lnTo>
                    <a:pt x="42480" y="601744"/>
                  </a:lnTo>
                  <a:lnTo>
                    <a:pt x="65069" y="641998"/>
                  </a:lnTo>
                  <a:lnTo>
                    <a:pt x="91818" y="679346"/>
                  </a:lnTo>
                  <a:lnTo>
                    <a:pt x="122413" y="713474"/>
                  </a:lnTo>
                  <a:lnTo>
                    <a:pt x="156542" y="744070"/>
                  </a:lnTo>
                  <a:lnTo>
                    <a:pt x="193890" y="770819"/>
                  </a:lnTo>
                  <a:lnTo>
                    <a:pt x="234143" y="793407"/>
                  </a:lnTo>
                  <a:lnTo>
                    <a:pt x="276989" y="811522"/>
                  </a:lnTo>
                  <a:lnTo>
                    <a:pt x="322114" y="824850"/>
                  </a:lnTo>
                  <a:lnTo>
                    <a:pt x="369203" y="833076"/>
                  </a:lnTo>
                  <a:lnTo>
                    <a:pt x="417944" y="835888"/>
                  </a:lnTo>
                  <a:lnTo>
                    <a:pt x="466685" y="833076"/>
                  </a:lnTo>
                  <a:lnTo>
                    <a:pt x="513774" y="824850"/>
                  </a:lnTo>
                  <a:lnTo>
                    <a:pt x="558898" y="811522"/>
                  </a:lnTo>
                  <a:lnTo>
                    <a:pt x="601744" y="793407"/>
                  </a:lnTo>
                  <a:lnTo>
                    <a:pt x="641998" y="770819"/>
                  </a:lnTo>
                  <a:lnTo>
                    <a:pt x="679346" y="744070"/>
                  </a:lnTo>
                  <a:lnTo>
                    <a:pt x="713474" y="713474"/>
                  </a:lnTo>
                  <a:lnTo>
                    <a:pt x="744070" y="679346"/>
                  </a:lnTo>
                  <a:lnTo>
                    <a:pt x="770819" y="641998"/>
                  </a:lnTo>
                  <a:lnTo>
                    <a:pt x="793407" y="601744"/>
                  </a:lnTo>
                  <a:lnTo>
                    <a:pt x="811522" y="558898"/>
                  </a:lnTo>
                  <a:lnTo>
                    <a:pt x="824850" y="513774"/>
                  </a:lnTo>
                  <a:lnTo>
                    <a:pt x="833076" y="466685"/>
                  </a:lnTo>
                  <a:lnTo>
                    <a:pt x="835888" y="417944"/>
                  </a:lnTo>
                  <a:lnTo>
                    <a:pt x="833076" y="369203"/>
                  </a:lnTo>
                  <a:lnTo>
                    <a:pt x="824850" y="322114"/>
                  </a:lnTo>
                  <a:lnTo>
                    <a:pt x="811522" y="276989"/>
                  </a:lnTo>
                  <a:lnTo>
                    <a:pt x="793407" y="234143"/>
                  </a:lnTo>
                  <a:lnTo>
                    <a:pt x="770819" y="193890"/>
                  </a:lnTo>
                  <a:lnTo>
                    <a:pt x="744070" y="156542"/>
                  </a:lnTo>
                  <a:lnTo>
                    <a:pt x="713474" y="122413"/>
                  </a:lnTo>
                  <a:lnTo>
                    <a:pt x="679346" y="91818"/>
                  </a:lnTo>
                  <a:lnTo>
                    <a:pt x="641998" y="65069"/>
                  </a:lnTo>
                  <a:lnTo>
                    <a:pt x="601744" y="42480"/>
                  </a:lnTo>
                  <a:lnTo>
                    <a:pt x="558898" y="24365"/>
                  </a:lnTo>
                  <a:lnTo>
                    <a:pt x="513774" y="11038"/>
                  </a:lnTo>
                  <a:lnTo>
                    <a:pt x="466685" y="2811"/>
                  </a:lnTo>
                  <a:lnTo>
                    <a:pt x="417944" y="0"/>
                  </a:lnTo>
                  <a:close/>
                </a:path>
              </a:pathLst>
            </a:custGeom>
            <a:solidFill>
              <a:srgbClr val="EEDC00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srgbClr val="3B3B3A"/>
                </a:solidFill>
                <a:effectLst/>
                <a:uLnTx/>
                <a:uFillTx/>
                <a:latin typeface="Avenir Next LT Pro" panose="020B0504020202020204" pitchFamily="34" charset="77"/>
                <a:ea typeface="+mn-ea"/>
                <a:cs typeface="+mn-cs"/>
              </a:endParaRPr>
            </a:p>
          </p:txBody>
        </p:sp>
      </p:grpSp>
      <p:cxnSp>
        <p:nvCxnSpPr>
          <p:cNvPr id="65" name="Connettore 1 46">
            <a:extLst>
              <a:ext uri="{FF2B5EF4-FFF2-40B4-BE49-F238E27FC236}">
                <a16:creationId xmlns:a16="http://schemas.microsoft.com/office/drawing/2014/main" id="{AF2BBACD-3DA2-234B-9A0D-F8F1F346743C}"/>
              </a:ext>
            </a:extLst>
          </p:cNvPr>
          <p:cNvCxnSpPr>
            <a:cxnSpLocks/>
          </p:cNvCxnSpPr>
          <p:nvPr/>
        </p:nvCxnSpPr>
        <p:spPr>
          <a:xfrm>
            <a:off x="1395006" y="1889852"/>
            <a:ext cx="4140000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CasellaDiTesto 1">
            <a:extLst>
              <a:ext uri="{FF2B5EF4-FFF2-40B4-BE49-F238E27FC236}">
                <a16:creationId xmlns:a16="http://schemas.microsoft.com/office/drawing/2014/main" id="{DE8FBAAF-B945-83EC-907D-476E7F21DF66}"/>
              </a:ext>
            </a:extLst>
          </p:cNvPr>
          <p:cNvSpPr txBox="1"/>
          <p:nvPr userDrawn="1"/>
        </p:nvSpPr>
        <p:spPr>
          <a:xfrm>
            <a:off x="3916392" y="6623540"/>
            <a:ext cx="739499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it-IT" sz="800" i="1" dirty="0"/>
              <a:t>Documento ad uso esclusivamente interno, da intendersi come strettamente riservato; non è autorizzata la trasmissione ad altri e la divulgazione all’esterno.</a:t>
            </a:r>
            <a:endParaRPr lang="en-US" sz="800" i="1" dirty="0"/>
          </a:p>
        </p:txBody>
      </p:sp>
    </p:spTree>
    <p:extLst>
      <p:ext uri="{BB962C8B-B14F-4D97-AF65-F5344CB8AC3E}">
        <p14:creationId xmlns:p14="http://schemas.microsoft.com/office/powerpoint/2010/main" val="2090064479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6" orient="horz" pos="3725">
          <p15:clr>
            <a:srgbClr val="FBAE40"/>
          </p15:clr>
        </p15:guide>
        <p15:guide id="7" pos="3840">
          <p15:clr>
            <a:srgbClr val="FBAE40"/>
          </p15:clr>
        </p15:guide>
        <p15:guide id="8" pos="325">
          <p15:clr>
            <a:srgbClr val="FBAE40"/>
          </p15:clr>
        </p15:guide>
        <p15:guide id="9" pos="7333">
          <p15:clr>
            <a:srgbClr val="FBAE40"/>
          </p15:clr>
        </p15:guide>
        <p15:guide id="10" orient="horz" pos="1480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Pagina 2 box DX + 1 box SX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bg object 16">
            <a:extLst>
              <a:ext uri="{FF2B5EF4-FFF2-40B4-BE49-F238E27FC236}">
                <a16:creationId xmlns:a16="http://schemas.microsoft.com/office/drawing/2014/main" id="{BCFAEBF8-790C-A54A-9E47-3E3639BCC461}"/>
              </a:ext>
            </a:extLst>
          </p:cNvPr>
          <p:cNvSpPr/>
          <p:nvPr/>
        </p:nvSpPr>
        <p:spPr>
          <a:xfrm>
            <a:off x="11330381" y="6448615"/>
            <a:ext cx="311785" cy="410845"/>
          </a:xfrm>
          <a:custGeom>
            <a:avLst/>
            <a:gdLst/>
            <a:ahLst/>
            <a:cxnLst/>
            <a:rect l="l" t="t" r="r" b="b"/>
            <a:pathLst>
              <a:path w="311784" h="410845">
                <a:moveTo>
                  <a:pt x="311645" y="0"/>
                </a:moveTo>
                <a:lnTo>
                  <a:pt x="0" y="0"/>
                </a:lnTo>
                <a:lnTo>
                  <a:pt x="0" y="410438"/>
                </a:lnTo>
                <a:lnTo>
                  <a:pt x="311645" y="410438"/>
                </a:lnTo>
                <a:lnTo>
                  <a:pt x="311645" y="0"/>
                </a:lnTo>
                <a:close/>
              </a:path>
            </a:pathLst>
          </a:custGeom>
          <a:solidFill>
            <a:srgbClr val="0047B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" name="Holder 7">
            <a:extLst>
              <a:ext uri="{FF2B5EF4-FFF2-40B4-BE49-F238E27FC236}">
                <a16:creationId xmlns:a16="http://schemas.microsoft.com/office/drawing/2014/main" id="{EADEFA5D-780C-4841-8968-F8DA8FB77458}"/>
              </a:ext>
            </a:extLst>
          </p:cNvPr>
          <p:cNvSpPr txBox="1">
            <a:spLocks/>
          </p:cNvSpPr>
          <p:nvPr/>
        </p:nvSpPr>
        <p:spPr>
          <a:xfrm>
            <a:off x="11342726" y="6520516"/>
            <a:ext cx="256044" cy="16158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it-IT"/>
            </a:defPPr>
            <a:lvl1pPr marL="0" algn="l" defTabSz="914400" rtl="0" eaLnBrk="1" latinLnBrk="0" hangingPunct="1">
              <a:defRPr sz="850" b="1" i="0" kern="1200">
                <a:solidFill>
                  <a:schemeClr val="bg1"/>
                </a:solidFill>
                <a:latin typeface="Verdana"/>
                <a:ea typeface="+mn-ea"/>
                <a:cs typeface="Verdana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8100" algn="ctr">
              <a:spcBef>
                <a:spcPts val="105"/>
              </a:spcBef>
            </a:pPr>
            <a:fld id="{81D60167-4931-47E6-BA6A-407CBD079E47}" type="slidenum">
              <a:rPr lang="it-IT" sz="1050" b="0" i="0" spc="5" smtClean="0">
                <a:latin typeface="Avenir Next LT Pro" pitchFamily="2" charset="0"/>
              </a:rPr>
              <a:pPr marL="38100" algn="ctr">
                <a:spcBef>
                  <a:spcPts val="105"/>
                </a:spcBef>
              </a:pPr>
              <a:t>‹N›</a:t>
            </a:fld>
            <a:endParaRPr lang="it-IT" sz="1050" b="0" i="0" spc="5" dirty="0">
              <a:latin typeface="Avenir Next LT Pro" pitchFamily="2" charset="0"/>
            </a:endParaRPr>
          </a:p>
        </p:txBody>
      </p:sp>
      <p:sp>
        <p:nvSpPr>
          <p:cNvPr id="6" name="Triangolo isoscele 16">
            <a:extLst>
              <a:ext uri="{FF2B5EF4-FFF2-40B4-BE49-F238E27FC236}">
                <a16:creationId xmlns:a16="http://schemas.microsoft.com/office/drawing/2014/main" id="{8A368720-335F-0F45-860A-0606EE42684C}"/>
              </a:ext>
            </a:extLst>
          </p:cNvPr>
          <p:cNvSpPr/>
          <p:nvPr/>
        </p:nvSpPr>
        <p:spPr>
          <a:xfrm rot="10800000">
            <a:off x="303127" y="-324737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7" name="Triangolo isoscele 17">
            <a:extLst>
              <a:ext uri="{FF2B5EF4-FFF2-40B4-BE49-F238E27FC236}">
                <a16:creationId xmlns:a16="http://schemas.microsoft.com/office/drawing/2014/main" id="{E2772AA6-60C9-0B42-835F-13797EE9ED3C}"/>
              </a:ext>
            </a:extLst>
          </p:cNvPr>
          <p:cNvSpPr/>
          <p:nvPr/>
        </p:nvSpPr>
        <p:spPr>
          <a:xfrm rot="10800000">
            <a:off x="11756536" y="-324737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8" name="Triangolo isoscele 18">
            <a:extLst>
              <a:ext uri="{FF2B5EF4-FFF2-40B4-BE49-F238E27FC236}">
                <a16:creationId xmlns:a16="http://schemas.microsoft.com/office/drawing/2014/main" id="{C7BF371F-A6F2-FD41-82B8-D9B554CACAF1}"/>
              </a:ext>
            </a:extLst>
          </p:cNvPr>
          <p:cNvSpPr/>
          <p:nvPr/>
        </p:nvSpPr>
        <p:spPr>
          <a:xfrm>
            <a:off x="303127" y="6950754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9" name="Triangolo isoscele 19">
            <a:extLst>
              <a:ext uri="{FF2B5EF4-FFF2-40B4-BE49-F238E27FC236}">
                <a16:creationId xmlns:a16="http://schemas.microsoft.com/office/drawing/2014/main" id="{FCEF8EFB-88B6-D747-9382-15136CFCC56E}"/>
              </a:ext>
            </a:extLst>
          </p:cNvPr>
          <p:cNvSpPr/>
          <p:nvPr/>
        </p:nvSpPr>
        <p:spPr>
          <a:xfrm>
            <a:off x="11756536" y="6950754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10" name="Triangolo isoscele 20">
            <a:extLst>
              <a:ext uri="{FF2B5EF4-FFF2-40B4-BE49-F238E27FC236}">
                <a16:creationId xmlns:a16="http://schemas.microsoft.com/office/drawing/2014/main" id="{47007676-0BFD-5F42-846B-AA823A1BFA60}"/>
              </a:ext>
            </a:extLst>
          </p:cNvPr>
          <p:cNvSpPr/>
          <p:nvPr/>
        </p:nvSpPr>
        <p:spPr>
          <a:xfrm rot="5400000">
            <a:off x="-276040" y="885372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11" name="Triangolo isoscele 21">
            <a:extLst>
              <a:ext uri="{FF2B5EF4-FFF2-40B4-BE49-F238E27FC236}">
                <a16:creationId xmlns:a16="http://schemas.microsoft.com/office/drawing/2014/main" id="{9F8B8967-D8B7-EF40-A160-9FD75894783B}"/>
              </a:ext>
            </a:extLst>
          </p:cNvPr>
          <p:cNvSpPr/>
          <p:nvPr/>
        </p:nvSpPr>
        <p:spPr>
          <a:xfrm rot="5400000">
            <a:off x="-276039" y="5982836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12" name="Triangolo isoscele 22">
            <a:extLst>
              <a:ext uri="{FF2B5EF4-FFF2-40B4-BE49-F238E27FC236}">
                <a16:creationId xmlns:a16="http://schemas.microsoft.com/office/drawing/2014/main" id="{58B46DE6-6338-7140-8CA8-25EC1DE4AEB7}"/>
              </a:ext>
            </a:extLst>
          </p:cNvPr>
          <p:cNvSpPr/>
          <p:nvPr/>
        </p:nvSpPr>
        <p:spPr>
          <a:xfrm rot="16200000">
            <a:off x="12331119" y="885372"/>
            <a:ext cx="132336" cy="261257"/>
          </a:xfrm>
          <a:prstGeom prst="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13" name="Triangolo isoscele 23">
            <a:extLst>
              <a:ext uri="{FF2B5EF4-FFF2-40B4-BE49-F238E27FC236}">
                <a16:creationId xmlns:a16="http://schemas.microsoft.com/office/drawing/2014/main" id="{BA951F18-3E6B-F245-B833-D4E6A22CAE34}"/>
              </a:ext>
            </a:extLst>
          </p:cNvPr>
          <p:cNvSpPr/>
          <p:nvPr/>
        </p:nvSpPr>
        <p:spPr>
          <a:xfrm rot="16200000">
            <a:off x="12331120" y="5982836"/>
            <a:ext cx="132336" cy="261257"/>
          </a:xfrm>
          <a:prstGeom prst="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14" name="Triangolo isoscele 31">
            <a:extLst>
              <a:ext uri="{FF2B5EF4-FFF2-40B4-BE49-F238E27FC236}">
                <a16:creationId xmlns:a16="http://schemas.microsoft.com/office/drawing/2014/main" id="{07246241-C678-DB48-84D0-2C7143C6A157}"/>
              </a:ext>
            </a:extLst>
          </p:cNvPr>
          <p:cNvSpPr/>
          <p:nvPr/>
        </p:nvSpPr>
        <p:spPr>
          <a:xfrm rot="10800000">
            <a:off x="303127" y="-324737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15" name="Triangolo isoscele 32">
            <a:extLst>
              <a:ext uri="{FF2B5EF4-FFF2-40B4-BE49-F238E27FC236}">
                <a16:creationId xmlns:a16="http://schemas.microsoft.com/office/drawing/2014/main" id="{A3BC8E3A-7E5D-BE49-8DBD-35856251134F}"/>
              </a:ext>
            </a:extLst>
          </p:cNvPr>
          <p:cNvSpPr/>
          <p:nvPr/>
        </p:nvSpPr>
        <p:spPr>
          <a:xfrm rot="10800000">
            <a:off x="11756536" y="-324737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16" name="Triangolo isoscele 33">
            <a:extLst>
              <a:ext uri="{FF2B5EF4-FFF2-40B4-BE49-F238E27FC236}">
                <a16:creationId xmlns:a16="http://schemas.microsoft.com/office/drawing/2014/main" id="{E9B5EA53-1DC4-1940-8594-3256ADD5AE0C}"/>
              </a:ext>
            </a:extLst>
          </p:cNvPr>
          <p:cNvSpPr/>
          <p:nvPr/>
        </p:nvSpPr>
        <p:spPr>
          <a:xfrm>
            <a:off x="303127" y="6950754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21" name="Triangolo isoscele 34">
            <a:extLst>
              <a:ext uri="{FF2B5EF4-FFF2-40B4-BE49-F238E27FC236}">
                <a16:creationId xmlns:a16="http://schemas.microsoft.com/office/drawing/2014/main" id="{749E0E17-FFD8-164C-B560-1DFF3FBB41DF}"/>
              </a:ext>
            </a:extLst>
          </p:cNvPr>
          <p:cNvSpPr/>
          <p:nvPr/>
        </p:nvSpPr>
        <p:spPr>
          <a:xfrm>
            <a:off x="11756536" y="6950754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22" name="Triangolo isoscele 35">
            <a:extLst>
              <a:ext uri="{FF2B5EF4-FFF2-40B4-BE49-F238E27FC236}">
                <a16:creationId xmlns:a16="http://schemas.microsoft.com/office/drawing/2014/main" id="{2449D32D-31E9-1E41-8135-CF757AF1ADCB}"/>
              </a:ext>
            </a:extLst>
          </p:cNvPr>
          <p:cNvSpPr/>
          <p:nvPr/>
        </p:nvSpPr>
        <p:spPr>
          <a:xfrm rot="5400000">
            <a:off x="-276040" y="885372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23" name="Triangolo isoscele 36">
            <a:extLst>
              <a:ext uri="{FF2B5EF4-FFF2-40B4-BE49-F238E27FC236}">
                <a16:creationId xmlns:a16="http://schemas.microsoft.com/office/drawing/2014/main" id="{92505FB0-1068-1143-AB9B-F5A849D826DE}"/>
              </a:ext>
            </a:extLst>
          </p:cNvPr>
          <p:cNvSpPr/>
          <p:nvPr/>
        </p:nvSpPr>
        <p:spPr>
          <a:xfrm rot="5400000">
            <a:off x="-276039" y="5982836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24" name="Triangolo isoscele 37">
            <a:extLst>
              <a:ext uri="{FF2B5EF4-FFF2-40B4-BE49-F238E27FC236}">
                <a16:creationId xmlns:a16="http://schemas.microsoft.com/office/drawing/2014/main" id="{D60FCBF0-3D48-CF40-ABA6-F53B703D88CA}"/>
              </a:ext>
            </a:extLst>
          </p:cNvPr>
          <p:cNvSpPr/>
          <p:nvPr/>
        </p:nvSpPr>
        <p:spPr>
          <a:xfrm rot="16200000">
            <a:off x="12331119" y="885372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25" name="Triangolo isoscele 38">
            <a:extLst>
              <a:ext uri="{FF2B5EF4-FFF2-40B4-BE49-F238E27FC236}">
                <a16:creationId xmlns:a16="http://schemas.microsoft.com/office/drawing/2014/main" id="{95E14022-E59F-9F4C-998B-8575096AA6A0}"/>
              </a:ext>
            </a:extLst>
          </p:cNvPr>
          <p:cNvSpPr/>
          <p:nvPr/>
        </p:nvSpPr>
        <p:spPr>
          <a:xfrm rot="16200000">
            <a:off x="12331120" y="5982836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pic>
        <p:nvPicPr>
          <p:cNvPr id="36" name="Elemento grafico 35">
            <a:extLst>
              <a:ext uri="{FF2B5EF4-FFF2-40B4-BE49-F238E27FC236}">
                <a16:creationId xmlns:a16="http://schemas.microsoft.com/office/drawing/2014/main" id="{9531B5A1-7BA2-E141-B54D-FEC62D4B762E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081892" y="-5080"/>
            <a:ext cx="1560273" cy="309880"/>
          </a:xfrm>
          <a:prstGeom prst="rect">
            <a:avLst/>
          </a:prstGeom>
        </p:spPr>
      </p:pic>
      <p:sp>
        <p:nvSpPr>
          <p:cNvPr id="37" name="object 267">
            <a:extLst>
              <a:ext uri="{FF2B5EF4-FFF2-40B4-BE49-F238E27FC236}">
                <a16:creationId xmlns:a16="http://schemas.microsoft.com/office/drawing/2014/main" id="{1A701277-6B82-924C-9434-545B7977906E}"/>
              </a:ext>
            </a:extLst>
          </p:cNvPr>
          <p:cNvSpPr/>
          <p:nvPr/>
        </p:nvSpPr>
        <p:spPr>
          <a:xfrm>
            <a:off x="0" y="1251482"/>
            <a:ext cx="675518" cy="45719"/>
          </a:xfrm>
          <a:custGeom>
            <a:avLst/>
            <a:gdLst/>
            <a:ahLst/>
            <a:cxnLst/>
            <a:rect l="l" t="t" r="r" b="b"/>
            <a:pathLst>
              <a:path w="657225">
                <a:moveTo>
                  <a:pt x="0" y="0"/>
                </a:moveTo>
                <a:lnTo>
                  <a:pt x="656678" y="0"/>
                </a:lnTo>
              </a:path>
            </a:pathLst>
          </a:custGeom>
          <a:ln w="76200">
            <a:solidFill>
              <a:srgbClr val="EEDC00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JhengHei UI Light" panose="020B0304030504040204" pitchFamily="34" charset="-120"/>
              <a:ea typeface="Microsoft JhengHei UI Light" panose="020B0304030504040204" pitchFamily="34" charset="-120"/>
              <a:cs typeface="+mn-cs"/>
            </a:endParaRPr>
          </a:p>
        </p:txBody>
      </p:sp>
      <p:sp>
        <p:nvSpPr>
          <p:cNvPr id="34" name="Segnaposto testo 2">
            <a:extLst>
              <a:ext uri="{FF2B5EF4-FFF2-40B4-BE49-F238E27FC236}">
                <a16:creationId xmlns:a16="http://schemas.microsoft.com/office/drawing/2014/main" id="{1B74C236-B652-4041-99ED-254A64385C7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49834" y="503037"/>
            <a:ext cx="10412412" cy="655637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 b="0" i="0">
                <a:solidFill>
                  <a:srgbClr val="0047BB"/>
                </a:solidFill>
                <a:latin typeface="Avenir Next LT Pro" panose="020B0504020202020204" pitchFamily="34" charset="77"/>
              </a:defRPr>
            </a:lvl1pPr>
            <a:lvl2pPr marL="457200" indent="0">
              <a:buNone/>
              <a:defRPr sz="4000" b="0" i="0">
                <a:latin typeface="Avenir Next LT Pro" panose="020B0504020202020204" pitchFamily="34" charset="77"/>
              </a:defRPr>
            </a:lvl2pPr>
            <a:lvl3pPr marL="914400" indent="0">
              <a:buNone/>
              <a:defRPr sz="4000" b="0" i="0">
                <a:latin typeface="Avenir Next LT Pro" panose="020B0504020202020204" pitchFamily="34" charset="77"/>
              </a:defRPr>
            </a:lvl3pPr>
            <a:lvl4pPr marL="1371600" indent="0">
              <a:buNone/>
              <a:defRPr sz="4000" b="0" i="0">
                <a:latin typeface="Avenir Next LT Pro" panose="020B0504020202020204" pitchFamily="34" charset="77"/>
              </a:defRPr>
            </a:lvl4pPr>
            <a:lvl5pPr marL="1828800" indent="0">
              <a:buNone/>
              <a:defRPr sz="4000" b="0" i="0">
                <a:latin typeface="Avenir Next LT Pro" panose="020B0504020202020204" pitchFamily="34" charset="77"/>
              </a:defRPr>
            </a:lvl5pPr>
          </a:lstStyle>
          <a:p>
            <a:pPr lvl="0"/>
            <a:r>
              <a:rPr lang="it-IT" dirty="0"/>
              <a:t>FARE CLIC PER MODIFICARE TITOLO DIAPOSITIVA</a:t>
            </a:r>
          </a:p>
        </p:txBody>
      </p:sp>
      <p:sp>
        <p:nvSpPr>
          <p:cNvPr id="40" name="Segnaposto testo 4">
            <a:extLst>
              <a:ext uri="{FF2B5EF4-FFF2-40B4-BE49-F238E27FC236}">
                <a16:creationId xmlns:a16="http://schemas.microsoft.com/office/drawing/2014/main" id="{597E06C8-CAFB-E24B-A154-8EA093E0C54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49834" y="5917932"/>
            <a:ext cx="9402763" cy="573088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900" b="0" i="0">
                <a:latin typeface="Avenir Next LT Pro" panose="020B0504020202020204" pitchFamily="34" charset="77"/>
              </a:defRPr>
            </a:lvl1pPr>
            <a:lvl2pPr marL="457200" indent="0">
              <a:buNone/>
              <a:defRPr sz="900" b="0" i="0">
                <a:latin typeface="Avenir Next LT Pro" panose="020B0504020202020204" pitchFamily="34" charset="77"/>
              </a:defRPr>
            </a:lvl2pPr>
            <a:lvl3pPr marL="914400" indent="0">
              <a:buNone/>
              <a:defRPr sz="900" b="0" i="0">
                <a:latin typeface="Avenir Next LT Pro" panose="020B0504020202020204" pitchFamily="34" charset="77"/>
              </a:defRPr>
            </a:lvl3pPr>
            <a:lvl4pPr marL="1371600" indent="0">
              <a:buNone/>
              <a:defRPr sz="900" b="0" i="0">
                <a:latin typeface="Avenir Next LT Pro" panose="020B0504020202020204" pitchFamily="34" charset="77"/>
              </a:defRPr>
            </a:lvl4pPr>
            <a:lvl5pPr marL="1828800" indent="0">
              <a:buNone/>
              <a:defRPr sz="900" b="0" i="0">
                <a:latin typeface="Avenir Next LT Pro" panose="020B0504020202020204" pitchFamily="34" charset="77"/>
              </a:defRPr>
            </a:lvl5pPr>
          </a:lstStyle>
          <a:p>
            <a:pPr lvl="0"/>
            <a:r>
              <a:rPr lang="it-IT" dirty="0"/>
              <a:t>1. Fare clic per modificare le note 2. Fare clic per modificare le note 3. Fare clic per modificare le note </a:t>
            </a:r>
          </a:p>
        </p:txBody>
      </p:sp>
      <p:sp>
        <p:nvSpPr>
          <p:cNvPr id="4" name="Segnaposto contenuto 3">
            <a:extLst>
              <a:ext uri="{FF2B5EF4-FFF2-40B4-BE49-F238E27FC236}">
                <a16:creationId xmlns:a16="http://schemas.microsoft.com/office/drawing/2014/main" id="{B72FE258-5D20-BA45-BACF-20ED1C313B4C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515938" y="2355296"/>
            <a:ext cx="5580062" cy="1579646"/>
          </a:xfrm>
          <a:prstGeom prst="rect">
            <a:avLst/>
          </a:prstGeom>
        </p:spPr>
        <p:txBody>
          <a:bodyPr lIns="144000" tIns="144000" rIns="144000" bIns="144000"/>
          <a:lstStyle>
            <a:lvl1pPr marL="228600" indent="-228600">
              <a:buClr>
                <a:schemeClr val="accent2"/>
              </a:buClr>
              <a:buFont typeface="Font di sistema regolare"/>
              <a:buChar char="●"/>
              <a:defRPr sz="1400">
                <a:solidFill>
                  <a:schemeClr val="tx1"/>
                </a:solidFill>
              </a:defRPr>
            </a:lvl1pPr>
            <a:lvl2pPr marL="685800" indent="-228600">
              <a:buClr>
                <a:schemeClr val="accent2"/>
              </a:buClr>
              <a:buFont typeface="Font di sistema regolare"/>
              <a:buChar char="●"/>
              <a:defRPr sz="1400">
                <a:solidFill>
                  <a:schemeClr val="tx1"/>
                </a:solidFill>
              </a:defRPr>
            </a:lvl2pPr>
            <a:lvl3pPr marL="1143000" indent="-228600">
              <a:buClr>
                <a:schemeClr val="accent2"/>
              </a:buClr>
              <a:buFont typeface="Font di sistema regolare"/>
              <a:buChar char="●"/>
              <a:defRPr sz="1400">
                <a:solidFill>
                  <a:schemeClr val="tx1"/>
                </a:solidFill>
              </a:defRPr>
            </a:lvl3pPr>
            <a:lvl4pPr marL="1600200" indent="-228600">
              <a:buClr>
                <a:schemeClr val="accent2"/>
              </a:buClr>
              <a:buFont typeface="Font di sistema regolare"/>
              <a:buChar char="●"/>
              <a:defRPr sz="1400">
                <a:solidFill>
                  <a:schemeClr val="tx1"/>
                </a:solidFill>
              </a:defRPr>
            </a:lvl4pPr>
            <a:lvl5pPr marL="2057400" indent="-228600">
              <a:buClr>
                <a:schemeClr val="accent2"/>
              </a:buClr>
              <a:buFont typeface="Font di sistema regolare"/>
              <a:buChar char="●"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it-IT" dirty="0"/>
          </a:p>
        </p:txBody>
      </p:sp>
      <p:sp>
        <p:nvSpPr>
          <p:cNvPr id="38" name="Estrai 37">
            <a:extLst>
              <a:ext uri="{FF2B5EF4-FFF2-40B4-BE49-F238E27FC236}">
                <a16:creationId xmlns:a16="http://schemas.microsoft.com/office/drawing/2014/main" id="{FEEBD974-110E-0D4D-932F-EA9CC93BD9ED}"/>
              </a:ext>
            </a:extLst>
          </p:cNvPr>
          <p:cNvSpPr/>
          <p:nvPr/>
        </p:nvSpPr>
        <p:spPr>
          <a:xfrm rot="5400000">
            <a:off x="5471797" y="3489972"/>
            <a:ext cx="1567955" cy="451172"/>
          </a:xfrm>
          <a:prstGeom prst="flowChartExtract">
            <a:avLst/>
          </a:prstGeom>
          <a:gradFill flip="none" rotWithShape="1">
            <a:gsLst>
              <a:gs pos="0">
                <a:srgbClr val="0047BB">
                  <a:alpha val="0"/>
                </a:srgbClr>
              </a:gs>
              <a:gs pos="90000">
                <a:srgbClr val="0047BB">
                  <a:alpha val="30000"/>
                </a:srgb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venir Next LT Pro" panose="020B0504020202020204" pitchFamily="34" charset="77"/>
              <a:ea typeface="+mn-ea"/>
              <a:cs typeface="+mn-cs"/>
            </a:endParaRPr>
          </a:p>
        </p:txBody>
      </p:sp>
      <p:sp>
        <p:nvSpPr>
          <p:cNvPr id="44" name="Segnaposto contenuto 3">
            <a:extLst>
              <a:ext uri="{FF2B5EF4-FFF2-40B4-BE49-F238E27FC236}">
                <a16:creationId xmlns:a16="http://schemas.microsoft.com/office/drawing/2014/main" id="{9A0953E8-917B-BA41-B29F-B2B74E2C1947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33448" y="5074391"/>
            <a:ext cx="5580062" cy="1105242"/>
          </a:xfrm>
          <a:prstGeom prst="rect">
            <a:avLst/>
          </a:prstGeom>
        </p:spPr>
        <p:txBody>
          <a:bodyPr lIns="144000" tIns="144000" rIns="144000" bIns="144000"/>
          <a:lstStyle>
            <a:lvl1pPr marL="228600" indent="-228600">
              <a:buClr>
                <a:schemeClr val="accent2"/>
              </a:buClr>
              <a:buFont typeface="Font di sistema regolare"/>
              <a:buChar char="●"/>
              <a:defRPr sz="1400">
                <a:solidFill>
                  <a:schemeClr val="tx1"/>
                </a:solidFill>
              </a:defRPr>
            </a:lvl1pPr>
            <a:lvl2pPr marL="685800" indent="-228600">
              <a:buClr>
                <a:schemeClr val="accent2"/>
              </a:buClr>
              <a:buFont typeface="Font di sistema regolare"/>
              <a:buChar char="●"/>
              <a:defRPr sz="1400">
                <a:solidFill>
                  <a:schemeClr val="tx1"/>
                </a:solidFill>
              </a:defRPr>
            </a:lvl2pPr>
            <a:lvl3pPr marL="1143000" indent="-228600">
              <a:buClr>
                <a:schemeClr val="accent2"/>
              </a:buClr>
              <a:buFont typeface="Font di sistema regolare"/>
              <a:buChar char="●"/>
              <a:defRPr sz="1400">
                <a:solidFill>
                  <a:schemeClr val="tx1"/>
                </a:solidFill>
              </a:defRPr>
            </a:lvl3pPr>
            <a:lvl4pPr marL="1600200" indent="-228600">
              <a:buClr>
                <a:schemeClr val="accent2"/>
              </a:buClr>
              <a:buFont typeface="Font di sistema regolare"/>
              <a:buChar char="●"/>
              <a:defRPr sz="1400">
                <a:solidFill>
                  <a:schemeClr val="tx1"/>
                </a:solidFill>
              </a:defRPr>
            </a:lvl4pPr>
            <a:lvl5pPr marL="2057400" indent="-228600">
              <a:buClr>
                <a:schemeClr val="accent2"/>
              </a:buClr>
              <a:buFont typeface="Font di sistema regolare"/>
              <a:buChar char="●"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</p:txBody>
      </p:sp>
      <p:sp>
        <p:nvSpPr>
          <p:cNvPr id="45" name="Segnaposto contenuto 3">
            <a:extLst>
              <a:ext uri="{FF2B5EF4-FFF2-40B4-BE49-F238E27FC236}">
                <a16:creationId xmlns:a16="http://schemas.microsoft.com/office/drawing/2014/main" id="{CF20747C-3A1B-0D4C-AA1C-8CF6BC2174F0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6445045" y="1251483"/>
            <a:ext cx="5177042" cy="4928150"/>
          </a:xfrm>
          <a:prstGeom prst="rect">
            <a:avLst/>
          </a:prstGeom>
        </p:spPr>
        <p:txBody>
          <a:bodyPr lIns="144000" tIns="144000" rIns="144000" bIns="144000"/>
          <a:lstStyle>
            <a:lvl1pPr marL="228600" indent="-228600">
              <a:buClr>
                <a:schemeClr val="accent2"/>
              </a:buClr>
              <a:buFont typeface="Font di sistema regolare"/>
              <a:buChar char="●"/>
              <a:defRPr sz="1400">
                <a:solidFill>
                  <a:schemeClr val="tx1"/>
                </a:solidFill>
              </a:defRPr>
            </a:lvl1pPr>
            <a:lvl2pPr marL="685800" indent="-228600">
              <a:buClr>
                <a:schemeClr val="accent2"/>
              </a:buClr>
              <a:buFont typeface="Font di sistema regolare"/>
              <a:buChar char="●"/>
              <a:defRPr sz="1400">
                <a:solidFill>
                  <a:schemeClr val="tx1"/>
                </a:solidFill>
              </a:defRPr>
            </a:lvl2pPr>
            <a:lvl3pPr marL="1143000" indent="-228600">
              <a:buClr>
                <a:schemeClr val="accent2"/>
              </a:buClr>
              <a:buFont typeface="Font di sistema regolare"/>
              <a:buChar char="●"/>
              <a:defRPr sz="1400">
                <a:solidFill>
                  <a:schemeClr val="tx1"/>
                </a:solidFill>
              </a:defRPr>
            </a:lvl3pPr>
            <a:lvl4pPr marL="1600200" indent="-228600">
              <a:buClr>
                <a:schemeClr val="accent2"/>
              </a:buClr>
              <a:buFont typeface="Font di sistema regolare"/>
              <a:buChar char="●"/>
              <a:defRPr sz="1400">
                <a:solidFill>
                  <a:schemeClr val="tx1"/>
                </a:solidFill>
              </a:defRPr>
            </a:lvl4pPr>
            <a:lvl5pPr marL="2057400" indent="-228600">
              <a:buClr>
                <a:schemeClr val="accent2"/>
              </a:buClr>
              <a:buFont typeface="Font di sistema regolare"/>
              <a:buChar char="●"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it-IT" dirty="0"/>
          </a:p>
        </p:txBody>
      </p:sp>
      <p:grpSp>
        <p:nvGrpSpPr>
          <p:cNvPr id="46" name="Gruppo 45">
            <a:extLst>
              <a:ext uri="{FF2B5EF4-FFF2-40B4-BE49-F238E27FC236}">
                <a16:creationId xmlns:a16="http://schemas.microsoft.com/office/drawing/2014/main" id="{BA666BCC-44DC-49B5-A071-F099B85EC93E}"/>
              </a:ext>
            </a:extLst>
          </p:cNvPr>
          <p:cNvGrpSpPr/>
          <p:nvPr/>
        </p:nvGrpSpPr>
        <p:grpSpPr>
          <a:xfrm>
            <a:off x="633940" y="1509967"/>
            <a:ext cx="756000" cy="756000"/>
            <a:chOff x="633940" y="1509967"/>
            <a:chExt cx="756000" cy="756000"/>
          </a:xfrm>
        </p:grpSpPr>
        <p:sp>
          <p:nvSpPr>
            <p:cNvPr id="48" name="object 46">
              <a:extLst>
                <a:ext uri="{FF2B5EF4-FFF2-40B4-BE49-F238E27FC236}">
                  <a16:creationId xmlns:a16="http://schemas.microsoft.com/office/drawing/2014/main" id="{90EB34BD-0C11-443C-BCCC-EE4265998C01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33940" y="1509967"/>
              <a:ext cx="756000" cy="756000"/>
            </a:xfrm>
            <a:custGeom>
              <a:avLst/>
              <a:gdLst/>
              <a:ahLst/>
              <a:cxnLst/>
              <a:rect l="l" t="t" r="r" b="b"/>
              <a:pathLst>
                <a:path w="1009650" h="1009650">
                  <a:moveTo>
                    <a:pt x="1009637" y="504825"/>
                  </a:moveTo>
                  <a:lnTo>
                    <a:pt x="1007326" y="553440"/>
                  </a:lnTo>
                  <a:lnTo>
                    <a:pt x="1000534" y="600748"/>
                  </a:lnTo>
                  <a:lnTo>
                    <a:pt x="989474" y="646537"/>
                  </a:lnTo>
                  <a:lnTo>
                    <a:pt x="974355" y="690596"/>
                  </a:lnTo>
                  <a:lnTo>
                    <a:pt x="955391" y="732714"/>
                  </a:lnTo>
                  <a:lnTo>
                    <a:pt x="932791" y="772678"/>
                  </a:lnTo>
                  <a:lnTo>
                    <a:pt x="906769" y="810276"/>
                  </a:lnTo>
                  <a:lnTo>
                    <a:pt x="877535" y="845298"/>
                  </a:lnTo>
                  <a:lnTo>
                    <a:pt x="845302" y="877532"/>
                  </a:lnTo>
                  <a:lnTo>
                    <a:pt x="810279" y="906766"/>
                  </a:lnTo>
                  <a:lnTo>
                    <a:pt x="772680" y="932789"/>
                  </a:lnTo>
                  <a:lnTo>
                    <a:pt x="732715" y="955389"/>
                  </a:lnTo>
                  <a:lnTo>
                    <a:pt x="690596" y="974354"/>
                  </a:lnTo>
                  <a:lnTo>
                    <a:pt x="646535" y="989473"/>
                  </a:lnTo>
                  <a:lnTo>
                    <a:pt x="600743" y="1000534"/>
                  </a:lnTo>
                  <a:lnTo>
                    <a:pt x="553431" y="1007326"/>
                  </a:lnTo>
                  <a:lnTo>
                    <a:pt x="504812" y="1009637"/>
                  </a:lnTo>
                  <a:lnTo>
                    <a:pt x="456197" y="1007326"/>
                  </a:lnTo>
                  <a:lnTo>
                    <a:pt x="408888" y="1000534"/>
                  </a:lnTo>
                  <a:lnTo>
                    <a:pt x="363099" y="989473"/>
                  </a:lnTo>
                  <a:lnTo>
                    <a:pt x="319040" y="974354"/>
                  </a:lnTo>
                  <a:lnTo>
                    <a:pt x="276923" y="955389"/>
                  </a:lnTo>
                  <a:lnTo>
                    <a:pt x="236959" y="932789"/>
                  </a:lnTo>
                  <a:lnTo>
                    <a:pt x="199360" y="906766"/>
                  </a:lnTo>
                  <a:lnTo>
                    <a:pt x="164338" y="877532"/>
                  </a:lnTo>
                  <a:lnTo>
                    <a:pt x="132104" y="845298"/>
                  </a:lnTo>
                  <a:lnTo>
                    <a:pt x="102870" y="810276"/>
                  </a:lnTo>
                  <a:lnTo>
                    <a:pt x="76847" y="772678"/>
                  </a:lnTo>
                  <a:lnTo>
                    <a:pt x="54248" y="732714"/>
                  </a:lnTo>
                  <a:lnTo>
                    <a:pt x="35283" y="690596"/>
                  </a:lnTo>
                  <a:lnTo>
                    <a:pt x="20164" y="646537"/>
                  </a:lnTo>
                  <a:lnTo>
                    <a:pt x="9102" y="600748"/>
                  </a:lnTo>
                  <a:lnTo>
                    <a:pt x="2310" y="553440"/>
                  </a:lnTo>
                  <a:lnTo>
                    <a:pt x="0" y="504825"/>
                  </a:lnTo>
                  <a:lnTo>
                    <a:pt x="2310" y="456207"/>
                  </a:lnTo>
                  <a:lnTo>
                    <a:pt x="9102" y="408897"/>
                  </a:lnTo>
                  <a:lnTo>
                    <a:pt x="20164" y="363106"/>
                  </a:lnTo>
                  <a:lnTo>
                    <a:pt x="35283" y="319045"/>
                  </a:lnTo>
                  <a:lnTo>
                    <a:pt x="54248" y="276927"/>
                  </a:lnTo>
                  <a:lnTo>
                    <a:pt x="76847" y="236962"/>
                  </a:lnTo>
                  <a:lnTo>
                    <a:pt x="102870" y="199363"/>
                  </a:lnTo>
                  <a:lnTo>
                    <a:pt x="132104" y="164340"/>
                  </a:lnTo>
                  <a:lnTo>
                    <a:pt x="164338" y="132105"/>
                  </a:lnTo>
                  <a:lnTo>
                    <a:pt x="199360" y="102871"/>
                  </a:lnTo>
                  <a:lnTo>
                    <a:pt x="236959" y="76848"/>
                  </a:lnTo>
                  <a:lnTo>
                    <a:pt x="276923" y="54248"/>
                  </a:lnTo>
                  <a:lnTo>
                    <a:pt x="319040" y="35283"/>
                  </a:lnTo>
                  <a:lnTo>
                    <a:pt x="363099" y="20164"/>
                  </a:lnTo>
                  <a:lnTo>
                    <a:pt x="408888" y="9102"/>
                  </a:lnTo>
                  <a:lnTo>
                    <a:pt x="456197" y="2310"/>
                  </a:lnTo>
                  <a:lnTo>
                    <a:pt x="504812" y="0"/>
                  </a:lnTo>
                  <a:lnTo>
                    <a:pt x="553431" y="2310"/>
                  </a:lnTo>
                  <a:lnTo>
                    <a:pt x="600743" y="9102"/>
                  </a:lnTo>
                  <a:lnTo>
                    <a:pt x="646535" y="20164"/>
                  </a:lnTo>
                  <a:lnTo>
                    <a:pt x="690596" y="35283"/>
                  </a:lnTo>
                  <a:lnTo>
                    <a:pt x="732715" y="54248"/>
                  </a:lnTo>
                  <a:lnTo>
                    <a:pt x="772680" y="76848"/>
                  </a:lnTo>
                  <a:lnTo>
                    <a:pt x="810279" y="102871"/>
                  </a:lnTo>
                  <a:lnTo>
                    <a:pt x="845302" y="132105"/>
                  </a:lnTo>
                  <a:lnTo>
                    <a:pt x="877535" y="164340"/>
                  </a:lnTo>
                  <a:lnTo>
                    <a:pt x="906769" y="199363"/>
                  </a:lnTo>
                  <a:lnTo>
                    <a:pt x="932791" y="236962"/>
                  </a:lnTo>
                  <a:lnTo>
                    <a:pt x="955391" y="276927"/>
                  </a:lnTo>
                  <a:lnTo>
                    <a:pt x="974355" y="319045"/>
                  </a:lnTo>
                  <a:lnTo>
                    <a:pt x="989474" y="363106"/>
                  </a:lnTo>
                  <a:lnTo>
                    <a:pt x="1000534" y="408897"/>
                  </a:lnTo>
                  <a:lnTo>
                    <a:pt x="1007326" y="456207"/>
                  </a:lnTo>
                  <a:lnTo>
                    <a:pt x="1009637" y="504825"/>
                  </a:lnTo>
                  <a:close/>
                </a:path>
              </a:pathLst>
            </a:custGeom>
            <a:solidFill>
              <a:schemeClr val="bg1"/>
            </a:solidFill>
            <a:ln w="12700">
              <a:solidFill>
                <a:srgbClr val="0046BA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3B3B3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49" name="object 47">
              <a:extLst>
                <a:ext uri="{FF2B5EF4-FFF2-40B4-BE49-F238E27FC236}">
                  <a16:creationId xmlns:a16="http://schemas.microsoft.com/office/drawing/2014/main" id="{8F331CB3-93E8-4732-9782-A87F582C3D6F}"/>
                </a:ext>
              </a:extLst>
            </p:cNvPr>
            <p:cNvSpPr/>
            <p:nvPr/>
          </p:nvSpPr>
          <p:spPr>
            <a:xfrm>
              <a:off x="687940" y="1563967"/>
              <a:ext cx="648000" cy="648000"/>
            </a:xfrm>
            <a:custGeom>
              <a:avLst/>
              <a:gdLst/>
              <a:ahLst/>
              <a:cxnLst/>
              <a:rect l="l" t="t" r="r" b="b"/>
              <a:pathLst>
                <a:path w="836294" h="836294">
                  <a:moveTo>
                    <a:pt x="417944" y="0"/>
                  </a:moveTo>
                  <a:lnTo>
                    <a:pt x="369203" y="2811"/>
                  </a:lnTo>
                  <a:lnTo>
                    <a:pt x="322114" y="11038"/>
                  </a:lnTo>
                  <a:lnTo>
                    <a:pt x="276989" y="24365"/>
                  </a:lnTo>
                  <a:lnTo>
                    <a:pt x="234143" y="42480"/>
                  </a:lnTo>
                  <a:lnTo>
                    <a:pt x="193890" y="65069"/>
                  </a:lnTo>
                  <a:lnTo>
                    <a:pt x="156542" y="91818"/>
                  </a:lnTo>
                  <a:lnTo>
                    <a:pt x="122413" y="122413"/>
                  </a:lnTo>
                  <a:lnTo>
                    <a:pt x="91818" y="156542"/>
                  </a:lnTo>
                  <a:lnTo>
                    <a:pt x="65069" y="193890"/>
                  </a:lnTo>
                  <a:lnTo>
                    <a:pt x="42480" y="234143"/>
                  </a:lnTo>
                  <a:lnTo>
                    <a:pt x="24365" y="276989"/>
                  </a:lnTo>
                  <a:lnTo>
                    <a:pt x="11038" y="322114"/>
                  </a:lnTo>
                  <a:lnTo>
                    <a:pt x="2811" y="369203"/>
                  </a:lnTo>
                  <a:lnTo>
                    <a:pt x="0" y="417944"/>
                  </a:lnTo>
                  <a:lnTo>
                    <a:pt x="2811" y="466685"/>
                  </a:lnTo>
                  <a:lnTo>
                    <a:pt x="11038" y="513774"/>
                  </a:lnTo>
                  <a:lnTo>
                    <a:pt x="24365" y="558898"/>
                  </a:lnTo>
                  <a:lnTo>
                    <a:pt x="42480" y="601744"/>
                  </a:lnTo>
                  <a:lnTo>
                    <a:pt x="65069" y="641998"/>
                  </a:lnTo>
                  <a:lnTo>
                    <a:pt x="91818" y="679346"/>
                  </a:lnTo>
                  <a:lnTo>
                    <a:pt x="122413" y="713474"/>
                  </a:lnTo>
                  <a:lnTo>
                    <a:pt x="156542" y="744070"/>
                  </a:lnTo>
                  <a:lnTo>
                    <a:pt x="193890" y="770819"/>
                  </a:lnTo>
                  <a:lnTo>
                    <a:pt x="234143" y="793407"/>
                  </a:lnTo>
                  <a:lnTo>
                    <a:pt x="276989" y="811522"/>
                  </a:lnTo>
                  <a:lnTo>
                    <a:pt x="322114" y="824850"/>
                  </a:lnTo>
                  <a:lnTo>
                    <a:pt x="369203" y="833076"/>
                  </a:lnTo>
                  <a:lnTo>
                    <a:pt x="417944" y="835888"/>
                  </a:lnTo>
                  <a:lnTo>
                    <a:pt x="466685" y="833076"/>
                  </a:lnTo>
                  <a:lnTo>
                    <a:pt x="513774" y="824850"/>
                  </a:lnTo>
                  <a:lnTo>
                    <a:pt x="558898" y="811522"/>
                  </a:lnTo>
                  <a:lnTo>
                    <a:pt x="601744" y="793407"/>
                  </a:lnTo>
                  <a:lnTo>
                    <a:pt x="641998" y="770819"/>
                  </a:lnTo>
                  <a:lnTo>
                    <a:pt x="679346" y="744070"/>
                  </a:lnTo>
                  <a:lnTo>
                    <a:pt x="713474" y="713474"/>
                  </a:lnTo>
                  <a:lnTo>
                    <a:pt x="744070" y="679346"/>
                  </a:lnTo>
                  <a:lnTo>
                    <a:pt x="770819" y="641998"/>
                  </a:lnTo>
                  <a:lnTo>
                    <a:pt x="793407" y="601744"/>
                  </a:lnTo>
                  <a:lnTo>
                    <a:pt x="811522" y="558898"/>
                  </a:lnTo>
                  <a:lnTo>
                    <a:pt x="824850" y="513774"/>
                  </a:lnTo>
                  <a:lnTo>
                    <a:pt x="833076" y="466685"/>
                  </a:lnTo>
                  <a:lnTo>
                    <a:pt x="835888" y="417944"/>
                  </a:lnTo>
                  <a:lnTo>
                    <a:pt x="833076" y="369203"/>
                  </a:lnTo>
                  <a:lnTo>
                    <a:pt x="824850" y="322114"/>
                  </a:lnTo>
                  <a:lnTo>
                    <a:pt x="811522" y="276989"/>
                  </a:lnTo>
                  <a:lnTo>
                    <a:pt x="793407" y="234143"/>
                  </a:lnTo>
                  <a:lnTo>
                    <a:pt x="770819" y="193890"/>
                  </a:lnTo>
                  <a:lnTo>
                    <a:pt x="744070" y="156542"/>
                  </a:lnTo>
                  <a:lnTo>
                    <a:pt x="713474" y="122413"/>
                  </a:lnTo>
                  <a:lnTo>
                    <a:pt x="679346" y="91818"/>
                  </a:lnTo>
                  <a:lnTo>
                    <a:pt x="641998" y="65069"/>
                  </a:lnTo>
                  <a:lnTo>
                    <a:pt x="601744" y="42480"/>
                  </a:lnTo>
                  <a:lnTo>
                    <a:pt x="558898" y="24365"/>
                  </a:lnTo>
                  <a:lnTo>
                    <a:pt x="513774" y="11038"/>
                  </a:lnTo>
                  <a:lnTo>
                    <a:pt x="466685" y="2811"/>
                  </a:lnTo>
                  <a:lnTo>
                    <a:pt x="417944" y="0"/>
                  </a:lnTo>
                  <a:close/>
                </a:path>
              </a:pathLst>
            </a:custGeom>
            <a:solidFill>
              <a:srgbClr val="EEDC00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srgbClr val="3B3B3A"/>
                </a:solidFill>
                <a:effectLst/>
                <a:uLnTx/>
                <a:uFillTx/>
                <a:latin typeface="Avenir Next LT Pro" panose="020B0504020202020204" pitchFamily="34" charset="77"/>
                <a:ea typeface="+mn-ea"/>
                <a:cs typeface="+mn-cs"/>
              </a:endParaRPr>
            </a:p>
          </p:txBody>
        </p:sp>
      </p:grpSp>
      <p:cxnSp>
        <p:nvCxnSpPr>
          <p:cNvPr id="50" name="Connettore 1 46">
            <a:extLst>
              <a:ext uri="{FF2B5EF4-FFF2-40B4-BE49-F238E27FC236}">
                <a16:creationId xmlns:a16="http://schemas.microsoft.com/office/drawing/2014/main" id="{85864B72-E701-4192-9B26-CFB79C43061B}"/>
              </a:ext>
            </a:extLst>
          </p:cNvPr>
          <p:cNvCxnSpPr>
            <a:cxnSpLocks/>
          </p:cNvCxnSpPr>
          <p:nvPr/>
        </p:nvCxnSpPr>
        <p:spPr>
          <a:xfrm>
            <a:off x="1395006" y="1889852"/>
            <a:ext cx="4140000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Segnaposto testo 46">
            <a:extLst>
              <a:ext uri="{FF2B5EF4-FFF2-40B4-BE49-F238E27FC236}">
                <a16:creationId xmlns:a16="http://schemas.microsoft.com/office/drawing/2014/main" id="{89CCFDCF-E1D4-4624-850B-95B324DCBB1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457282" y="1158675"/>
            <a:ext cx="4140000" cy="746498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 b="0" i="0">
                <a:solidFill>
                  <a:srgbClr val="0047BB"/>
                </a:solidFill>
                <a:latin typeface="Avenir Next LT Pro" panose="020B0504020202020204" pitchFamily="34" charset="77"/>
              </a:defRPr>
            </a:lvl1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grpSp>
        <p:nvGrpSpPr>
          <p:cNvPr id="52" name="Gruppo 51">
            <a:extLst>
              <a:ext uri="{FF2B5EF4-FFF2-40B4-BE49-F238E27FC236}">
                <a16:creationId xmlns:a16="http://schemas.microsoft.com/office/drawing/2014/main" id="{8D0F1046-FA1C-4EF3-A161-6FC5EA3F7CBD}"/>
              </a:ext>
            </a:extLst>
          </p:cNvPr>
          <p:cNvGrpSpPr/>
          <p:nvPr/>
        </p:nvGrpSpPr>
        <p:grpSpPr>
          <a:xfrm>
            <a:off x="629053" y="4156346"/>
            <a:ext cx="756000" cy="756000"/>
            <a:chOff x="633940" y="1509967"/>
            <a:chExt cx="756000" cy="756000"/>
          </a:xfrm>
        </p:grpSpPr>
        <p:sp>
          <p:nvSpPr>
            <p:cNvPr id="53" name="object 46">
              <a:extLst>
                <a:ext uri="{FF2B5EF4-FFF2-40B4-BE49-F238E27FC236}">
                  <a16:creationId xmlns:a16="http://schemas.microsoft.com/office/drawing/2014/main" id="{45B72BCD-97C7-4D74-9AC2-0F89A5683BBC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33940" y="1509967"/>
              <a:ext cx="756000" cy="756000"/>
            </a:xfrm>
            <a:custGeom>
              <a:avLst/>
              <a:gdLst/>
              <a:ahLst/>
              <a:cxnLst/>
              <a:rect l="l" t="t" r="r" b="b"/>
              <a:pathLst>
                <a:path w="1009650" h="1009650">
                  <a:moveTo>
                    <a:pt x="1009637" y="504825"/>
                  </a:moveTo>
                  <a:lnTo>
                    <a:pt x="1007326" y="553440"/>
                  </a:lnTo>
                  <a:lnTo>
                    <a:pt x="1000534" y="600748"/>
                  </a:lnTo>
                  <a:lnTo>
                    <a:pt x="989474" y="646537"/>
                  </a:lnTo>
                  <a:lnTo>
                    <a:pt x="974355" y="690596"/>
                  </a:lnTo>
                  <a:lnTo>
                    <a:pt x="955391" y="732714"/>
                  </a:lnTo>
                  <a:lnTo>
                    <a:pt x="932791" y="772678"/>
                  </a:lnTo>
                  <a:lnTo>
                    <a:pt x="906769" y="810276"/>
                  </a:lnTo>
                  <a:lnTo>
                    <a:pt x="877535" y="845298"/>
                  </a:lnTo>
                  <a:lnTo>
                    <a:pt x="845302" y="877532"/>
                  </a:lnTo>
                  <a:lnTo>
                    <a:pt x="810279" y="906766"/>
                  </a:lnTo>
                  <a:lnTo>
                    <a:pt x="772680" y="932789"/>
                  </a:lnTo>
                  <a:lnTo>
                    <a:pt x="732715" y="955389"/>
                  </a:lnTo>
                  <a:lnTo>
                    <a:pt x="690596" y="974354"/>
                  </a:lnTo>
                  <a:lnTo>
                    <a:pt x="646535" y="989473"/>
                  </a:lnTo>
                  <a:lnTo>
                    <a:pt x="600743" y="1000534"/>
                  </a:lnTo>
                  <a:lnTo>
                    <a:pt x="553431" y="1007326"/>
                  </a:lnTo>
                  <a:lnTo>
                    <a:pt x="504812" y="1009637"/>
                  </a:lnTo>
                  <a:lnTo>
                    <a:pt x="456197" y="1007326"/>
                  </a:lnTo>
                  <a:lnTo>
                    <a:pt x="408888" y="1000534"/>
                  </a:lnTo>
                  <a:lnTo>
                    <a:pt x="363099" y="989473"/>
                  </a:lnTo>
                  <a:lnTo>
                    <a:pt x="319040" y="974354"/>
                  </a:lnTo>
                  <a:lnTo>
                    <a:pt x="276923" y="955389"/>
                  </a:lnTo>
                  <a:lnTo>
                    <a:pt x="236959" y="932789"/>
                  </a:lnTo>
                  <a:lnTo>
                    <a:pt x="199360" y="906766"/>
                  </a:lnTo>
                  <a:lnTo>
                    <a:pt x="164338" y="877532"/>
                  </a:lnTo>
                  <a:lnTo>
                    <a:pt x="132104" y="845298"/>
                  </a:lnTo>
                  <a:lnTo>
                    <a:pt x="102870" y="810276"/>
                  </a:lnTo>
                  <a:lnTo>
                    <a:pt x="76847" y="772678"/>
                  </a:lnTo>
                  <a:lnTo>
                    <a:pt x="54248" y="732714"/>
                  </a:lnTo>
                  <a:lnTo>
                    <a:pt x="35283" y="690596"/>
                  </a:lnTo>
                  <a:lnTo>
                    <a:pt x="20164" y="646537"/>
                  </a:lnTo>
                  <a:lnTo>
                    <a:pt x="9102" y="600748"/>
                  </a:lnTo>
                  <a:lnTo>
                    <a:pt x="2310" y="553440"/>
                  </a:lnTo>
                  <a:lnTo>
                    <a:pt x="0" y="504825"/>
                  </a:lnTo>
                  <a:lnTo>
                    <a:pt x="2310" y="456207"/>
                  </a:lnTo>
                  <a:lnTo>
                    <a:pt x="9102" y="408897"/>
                  </a:lnTo>
                  <a:lnTo>
                    <a:pt x="20164" y="363106"/>
                  </a:lnTo>
                  <a:lnTo>
                    <a:pt x="35283" y="319045"/>
                  </a:lnTo>
                  <a:lnTo>
                    <a:pt x="54248" y="276927"/>
                  </a:lnTo>
                  <a:lnTo>
                    <a:pt x="76847" y="236962"/>
                  </a:lnTo>
                  <a:lnTo>
                    <a:pt x="102870" y="199363"/>
                  </a:lnTo>
                  <a:lnTo>
                    <a:pt x="132104" y="164340"/>
                  </a:lnTo>
                  <a:lnTo>
                    <a:pt x="164338" y="132105"/>
                  </a:lnTo>
                  <a:lnTo>
                    <a:pt x="199360" y="102871"/>
                  </a:lnTo>
                  <a:lnTo>
                    <a:pt x="236959" y="76848"/>
                  </a:lnTo>
                  <a:lnTo>
                    <a:pt x="276923" y="54248"/>
                  </a:lnTo>
                  <a:lnTo>
                    <a:pt x="319040" y="35283"/>
                  </a:lnTo>
                  <a:lnTo>
                    <a:pt x="363099" y="20164"/>
                  </a:lnTo>
                  <a:lnTo>
                    <a:pt x="408888" y="9102"/>
                  </a:lnTo>
                  <a:lnTo>
                    <a:pt x="456197" y="2310"/>
                  </a:lnTo>
                  <a:lnTo>
                    <a:pt x="504812" y="0"/>
                  </a:lnTo>
                  <a:lnTo>
                    <a:pt x="553431" y="2310"/>
                  </a:lnTo>
                  <a:lnTo>
                    <a:pt x="600743" y="9102"/>
                  </a:lnTo>
                  <a:lnTo>
                    <a:pt x="646535" y="20164"/>
                  </a:lnTo>
                  <a:lnTo>
                    <a:pt x="690596" y="35283"/>
                  </a:lnTo>
                  <a:lnTo>
                    <a:pt x="732715" y="54248"/>
                  </a:lnTo>
                  <a:lnTo>
                    <a:pt x="772680" y="76848"/>
                  </a:lnTo>
                  <a:lnTo>
                    <a:pt x="810279" y="102871"/>
                  </a:lnTo>
                  <a:lnTo>
                    <a:pt x="845302" y="132105"/>
                  </a:lnTo>
                  <a:lnTo>
                    <a:pt x="877535" y="164340"/>
                  </a:lnTo>
                  <a:lnTo>
                    <a:pt x="906769" y="199363"/>
                  </a:lnTo>
                  <a:lnTo>
                    <a:pt x="932791" y="236962"/>
                  </a:lnTo>
                  <a:lnTo>
                    <a:pt x="955391" y="276927"/>
                  </a:lnTo>
                  <a:lnTo>
                    <a:pt x="974355" y="319045"/>
                  </a:lnTo>
                  <a:lnTo>
                    <a:pt x="989474" y="363106"/>
                  </a:lnTo>
                  <a:lnTo>
                    <a:pt x="1000534" y="408897"/>
                  </a:lnTo>
                  <a:lnTo>
                    <a:pt x="1007326" y="456207"/>
                  </a:lnTo>
                  <a:lnTo>
                    <a:pt x="1009637" y="504825"/>
                  </a:lnTo>
                  <a:close/>
                </a:path>
              </a:pathLst>
            </a:custGeom>
            <a:solidFill>
              <a:schemeClr val="bg1"/>
            </a:solidFill>
            <a:ln w="12700">
              <a:solidFill>
                <a:srgbClr val="0046BA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3B3B3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54" name="object 47">
              <a:extLst>
                <a:ext uri="{FF2B5EF4-FFF2-40B4-BE49-F238E27FC236}">
                  <a16:creationId xmlns:a16="http://schemas.microsoft.com/office/drawing/2014/main" id="{912E4A23-8F3E-471D-A292-6B3544E02CFF}"/>
                </a:ext>
              </a:extLst>
            </p:cNvPr>
            <p:cNvSpPr/>
            <p:nvPr/>
          </p:nvSpPr>
          <p:spPr>
            <a:xfrm>
              <a:off x="687940" y="1563967"/>
              <a:ext cx="648000" cy="648000"/>
            </a:xfrm>
            <a:custGeom>
              <a:avLst/>
              <a:gdLst/>
              <a:ahLst/>
              <a:cxnLst/>
              <a:rect l="l" t="t" r="r" b="b"/>
              <a:pathLst>
                <a:path w="836294" h="836294">
                  <a:moveTo>
                    <a:pt x="417944" y="0"/>
                  </a:moveTo>
                  <a:lnTo>
                    <a:pt x="369203" y="2811"/>
                  </a:lnTo>
                  <a:lnTo>
                    <a:pt x="322114" y="11038"/>
                  </a:lnTo>
                  <a:lnTo>
                    <a:pt x="276989" y="24365"/>
                  </a:lnTo>
                  <a:lnTo>
                    <a:pt x="234143" y="42480"/>
                  </a:lnTo>
                  <a:lnTo>
                    <a:pt x="193890" y="65069"/>
                  </a:lnTo>
                  <a:lnTo>
                    <a:pt x="156542" y="91818"/>
                  </a:lnTo>
                  <a:lnTo>
                    <a:pt x="122413" y="122413"/>
                  </a:lnTo>
                  <a:lnTo>
                    <a:pt x="91818" y="156542"/>
                  </a:lnTo>
                  <a:lnTo>
                    <a:pt x="65069" y="193890"/>
                  </a:lnTo>
                  <a:lnTo>
                    <a:pt x="42480" y="234143"/>
                  </a:lnTo>
                  <a:lnTo>
                    <a:pt x="24365" y="276989"/>
                  </a:lnTo>
                  <a:lnTo>
                    <a:pt x="11038" y="322114"/>
                  </a:lnTo>
                  <a:lnTo>
                    <a:pt x="2811" y="369203"/>
                  </a:lnTo>
                  <a:lnTo>
                    <a:pt x="0" y="417944"/>
                  </a:lnTo>
                  <a:lnTo>
                    <a:pt x="2811" y="466685"/>
                  </a:lnTo>
                  <a:lnTo>
                    <a:pt x="11038" y="513774"/>
                  </a:lnTo>
                  <a:lnTo>
                    <a:pt x="24365" y="558898"/>
                  </a:lnTo>
                  <a:lnTo>
                    <a:pt x="42480" y="601744"/>
                  </a:lnTo>
                  <a:lnTo>
                    <a:pt x="65069" y="641998"/>
                  </a:lnTo>
                  <a:lnTo>
                    <a:pt x="91818" y="679346"/>
                  </a:lnTo>
                  <a:lnTo>
                    <a:pt x="122413" y="713474"/>
                  </a:lnTo>
                  <a:lnTo>
                    <a:pt x="156542" y="744070"/>
                  </a:lnTo>
                  <a:lnTo>
                    <a:pt x="193890" y="770819"/>
                  </a:lnTo>
                  <a:lnTo>
                    <a:pt x="234143" y="793407"/>
                  </a:lnTo>
                  <a:lnTo>
                    <a:pt x="276989" y="811522"/>
                  </a:lnTo>
                  <a:lnTo>
                    <a:pt x="322114" y="824850"/>
                  </a:lnTo>
                  <a:lnTo>
                    <a:pt x="369203" y="833076"/>
                  </a:lnTo>
                  <a:lnTo>
                    <a:pt x="417944" y="835888"/>
                  </a:lnTo>
                  <a:lnTo>
                    <a:pt x="466685" y="833076"/>
                  </a:lnTo>
                  <a:lnTo>
                    <a:pt x="513774" y="824850"/>
                  </a:lnTo>
                  <a:lnTo>
                    <a:pt x="558898" y="811522"/>
                  </a:lnTo>
                  <a:lnTo>
                    <a:pt x="601744" y="793407"/>
                  </a:lnTo>
                  <a:lnTo>
                    <a:pt x="641998" y="770819"/>
                  </a:lnTo>
                  <a:lnTo>
                    <a:pt x="679346" y="744070"/>
                  </a:lnTo>
                  <a:lnTo>
                    <a:pt x="713474" y="713474"/>
                  </a:lnTo>
                  <a:lnTo>
                    <a:pt x="744070" y="679346"/>
                  </a:lnTo>
                  <a:lnTo>
                    <a:pt x="770819" y="641998"/>
                  </a:lnTo>
                  <a:lnTo>
                    <a:pt x="793407" y="601744"/>
                  </a:lnTo>
                  <a:lnTo>
                    <a:pt x="811522" y="558898"/>
                  </a:lnTo>
                  <a:lnTo>
                    <a:pt x="824850" y="513774"/>
                  </a:lnTo>
                  <a:lnTo>
                    <a:pt x="833076" y="466685"/>
                  </a:lnTo>
                  <a:lnTo>
                    <a:pt x="835888" y="417944"/>
                  </a:lnTo>
                  <a:lnTo>
                    <a:pt x="833076" y="369203"/>
                  </a:lnTo>
                  <a:lnTo>
                    <a:pt x="824850" y="322114"/>
                  </a:lnTo>
                  <a:lnTo>
                    <a:pt x="811522" y="276989"/>
                  </a:lnTo>
                  <a:lnTo>
                    <a:pt x="793407" y="234143"/>
                  </a:lnTo>
                  <a:lnTo>
                    <a:pt x="770819" y="193890"/>
                  </a:lnTo>
                  <a:lnTo>
                    <a:pt x="744070" y="156542"/>
                  </a:lnTo>
                  <a:lnTo>
                    <a:pt x="713474" y="122413"/>
                  </a:lnTo>
                  <a:lnTo>
                    <a:pt x="679346" y="91818"/>
                  </a:lnTo>
                  <a:lnTo>
                    <a:pt x="641998" y="65069"/>
                  </a:lnTo>
                  <a:lnTo>
                    <a:pt x="601744" y="42480"/>
                  </a:lnTo>
                  <a:lnTo>
                    <a:pt x="558898" y="24365"/>
                  </a:lnTo>
                  <a:lnTo>
                    <a:pt x="513774" y="11038"/>
                  </a:lnTo>
                  <a:lnTo>
                    <a:pt x="466685" y="2811"/>
                  </a:lnTo>
                  <a:lnTo>
                    <a:pt x="417944" y="0"/>
                  </a:lnTo>
                  <a:close/>
                </a:path>
              </a:pathLst>
            </a:custGeom>
            <a:solidFill>
              <a:srgbClr val="EEDC00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srgbClr val="3B3B3A"/>
                </a:solidFill>
                <a:effectLst/>
                <a:uLnTx/>
                <a:uFillTx/>
                <a:latin typeface="Avenir Next LT Pro" panose="020B0504020202020204" pitchFamily="34" charset="77"/>
                <a:ea typeface="+mn-ea"/>
                <a:cs typeface="+mn-cs"/>
              </a:endParaRPr>
            </a:p>
          </p:txBody>
        </p:sp>
      </p:grpSp>
      <p:cxnSp>
        <p:nvCxnSpPr>
          <p:cNvPr id="55" name="Connettore 1 46">
            <a:extLst>
              <a:ext uri="{FF2B5EF4-FFF2-40B4-BE49-F238E27FC236}">
                <a16:creationId xmlns:a16="http://schemas.microsoft.com/office/drawing/2014/main" id="{174344DF-560C-4135-8F45-E083B518B087}"/>
              </a:ext>
            </a:extLst>
          </p:cNvPr>
          <p:cNvCxnSpPr>
            <a:cxnSpLocks/>
          </p:cNvCxnSpPr>
          <p:nvPr/>
        </p:nvCxnSpPr>
        <p:spPr>
          <a:xfrm>
            <a:off x="1390119" y="4536231"/>
            <a:ext cx="4140000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Segnaposto testo 46">
            <a:extLst>
              <a:ext uri="{FF2B5EF4-FFF2-40B4-BE49-F238E27FC236}">
                <a16:creationId xmlns:a16="http://schemas.microsoft.com/office/drawing/2014/main" id="{9F48E5E8-A0EF-4A33-8758-F3AE698D405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452395" y="3805054"/>
            <a:ext cx="4140000" cy="746498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 b="0" i="0">
                <a:solidFill>
                  <a:srgbClr val="0047BB"/>
                </a:solidFill>
                <a:latin typeface="Avenir Next LT Pro" panose="020B0504020202020204" pitchFamily="34" charset="77"/>
              </a:defRPr>
            </a:lvl1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39" name="bg object 16">
            <a:extLst>
              <a:ext uri="{FF2B5EF4-FFF2-40B4-BE49-F238E27FC236}">
                <a16:creationId xmlns:a16="http://schemas.microsoft.com/office/drawing/2014/main" id="{4AABB290-E287-AF4D-969B-AB0215E97E2F}"/>
              </a:ext>
            </a:extLst>
          </p:cNvPr>
          <p:cNvSpPr/>
          <p:nvPr/>
        </p:nvSpPr>
        <p:spPr>
          <a:xfrm>
            <a:off x="11330381" y="6448615"/>
            <a:ext cx="311785" cy="410845"/>
          </a:xfrm>
          <a:custGeom>
            <a:avLst/>
            <a:gdLst/>
            <a:ahLst/>
            <a:cxnLst/>
            <a:rect l="l" t="t" r="r" b="b"/>
            <a:pathLst>
              <a:path w="311784" h="410845">
                <a:moveTo>
                  <a:pt x="311645" y="0"/>
                </a:moveTo>
                <a:lnTo>
                  <a:pt x="0" y="0"/>
                </a:lnTo>
                <a:lnTo>
                  <a:pt x="0" y="410438"/>
                </a:lnTo>
                <a:lnTo>
                  <a:pt x="311645" y="410438"/>
                </a:lnTo>
                <a:lnTo>
                  <a:pt x="311645" y="0"/>
                </a:lnTo>
                <a:close/>
              </a:path>
            </a:pathLst>
          </a:custGeom>
          <a:solidFill>
            <a:srgbClr val="0047B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1" name="Holder 7">
            <a:extLst>
              <a:ext uri="{FF2B5EF4-FFF2-40B4-BE49-F238E27FC236}">
                <a16:creationId xmlns:a16="http://schemas.microsoft.com/office/drawing/2014/main" id="{E867D971-18BA-304C-8F6B-119956F49CB4}"/>
              </a:ext>
            </a:extLst>
          </p:cNvPr>
          <p:cNvSpPr txBox="1">
            <a:spLocks/>
          </p:cNvSpPr>
          <p:nvPr/>
        </p:nvSpPr>
        <p:spPr>
          <a:xfrm>
            <a:off x="11342726" y="6520516"/>
            <a:ext cx="256044" cy="16158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it-IT"/>
            </a:defPPr>
            <a:lvl1pPr marL="0" algn="l" defTabSz="914400" rtl="0" eaLnBrk="1" latinLnBrk="0" hangingPunct="1">
              <a:defRPr sz="850" b="1" i="0" kern="1200">
                <a:solidFill>
                  <a:schemeClr val="bg1"/>
                </a:solidFill>
                <a:latin typeface="Verdana"/>
                <a:ea typeface="+mn-ea"/>
                <a:cs typeface="Verdana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8100" algn="ctr">
              <a:spcBef>
                <a:spcPts val="105"/>
              </a:spcBef>
            </a:pPr>
            <a:fld id="{81D60167-4931-47E6-BA6A-407CBD079E47}" type="slidenum">
              <a:rPr lang="it-IT" sz="1050" b="0" i="0" spc="5" smtClean="0">
                <a:latin typeface="Avenir Next LT Pro" pitchFamily="2" charset="0"/>
              </a:rPr>
              <a:pPr marL="38100" algn="ctr">
                <a:spcBef>
                  <a:spcPts val="105"/>
                </a:spcBef>
              </a:pPr>
              <a:t>‹N›</a:t>
            </a:fld>
            <a:endParaRPr lang="it-IT" sz="1050" b="0" i="0" spc="5" dirty="0">
              <a:latin typeface="Avenir Next LT Pro" pitchFamily="2" charset="0"/>
            </a:endParaRPr>
          </a:p>
        </p:txBody>
      </p:sp>
      <p:sp>
        <p:nvSpPr>
          <p:cNvPr id="43" name="Triangolo isoscele 16">
            <a:extLst>
              <a:ext uri="{FF2B5EF4-FFF2-40B4-BE49-F238E27FC236}">
                <a16:creationId xmlns:a16="http://schemas.microsoft.com/office/drawing/2014/main" id="{423B432F-E34F-3F4A-88C6-7DA16DDB2FC4}"/>
              </a:ext>
            </a:extLst>
          </p:cNvPr>
          <p:cNvSpPr/>
          <p:nvPr/>
        </p:nvSpPr>
        <p:spPr>
          <a:xfrm rot="10800000">
            <a:off x="303127" y="-324737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47" name="Triangolo isoscele 17">
            <a:extLst>
              <a:ext uri="{FF2B5EF4-FFF2-40B4-BE49-F238E27FC236}">
                <a16:creationId xmlns:a16="http://schemas.microsoft.com/office/drawing/2014/main" id="{637F9E76-8384-9344-8544-0D55BCFD2EFF}"/>
              </a:ext>
            </a:extLst>
          </p:cNvPr>
          <p:cNvSpPr/>
          <p:nvPr/>
        </p:nvSpPr>
        <p:spPr>
          <a:xfrm rot="10800000">
            <a:off x="11756536" y="-324737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57" name="Triangolo isoscele 18">
            <a:extLst>
              <a:ext uri="{FF2B5EF4-FFF2-40B4-BE49-F238E27FC236}">
                <a16:creationId xmlns:a16="http://schemas.microsoft.com/office/drawing/2014/main" id="{B26CDDA2-7BFF-0A4F-B99B-3C86DD35CAF1}"/>
              </a:ext>
            </a:extLst>
          </p:cNvPr>
          <p:cNvSpPr/>
          <p:nvPr/>
        </p:nvSpPr>
        <p:spPr>
          <a:xfrm>
            <a:off x="303127" y="6950754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58" name="Triangolo isoscele 19">
            <a:extLst>
              <a:ext uri="{FF2B5EF4-FFF2-40B4-BE49-F238E27FC236}">
                <a16:creationId xmlns:a16="http://schemas.microsoft.com/office/drawing/2014/main" id="{5AF47AD9-EB55-204E-B0FC-82987479D5CE}"/>
              </a:ext>
            </a:extLst>
          </p:cNvPr>
          <p:cNvSpPr/>
          <p:nvPr/>
        </p:nvSpPr>
        <p:spPr>
          <a:xfrm>
            <a:off x="11756536" y="6950754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59" name="Triangolo isoscele 20">
            <a:extLst>
              <a:ext uri="{FF2B5EF4-FFF2-40B4-BE49-F238E27FC236}">
                <a16:creationId xmlns:a16="http://schemas.microsoft.com/office/drawing/2014/main" id="{A44CD567-D9F1-9347-8C52-B9E67B237BF0}"/>
              </a:ext>
            </a:extLst>
          </p:cNvPr>
          <p:cNvSpPr/>
          <p:nvPr/>
        </p:nvSpPr>
        <p:spPr>
          <a:xfrm rot="5400000">
            <a:off x="-276040" y="885372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60" name="Triangolo isoscele 21">
            <a:extLst>
              <a:ext uri="{FF2B5EF4-FFF2-40B4-BE49-F238E27FC236}">
                <a16:creationId xmlns:a16="http://schemas.microsoft.com/office/drawing/2014/main" id="{B6761352-BCEA-E44B-A4C7-803F8F76B3F7}"/>
              </a:ext>
            </a:extLst>
          </p:cNvPr>
          <p:cNvSpPr/>
          <p:nvPr/>
        </p:nvSpPr>
        <p:spPr>
          <a:xfrm rot="5400000">
            <a:off x="-276039" y="5982836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61" name="Triangolo isoscele 22">
            <a:extLst>
              <a:ext uri="{FF2B5EF4-FFF2-40B4-BE49-F238E27FC236}">
                <a16:creationId xmlns:a16="http://schemas.microsoft.com/office/drawing/2014/main" id="{C6399DC8-2F4D-D441-83D0-7F2A89A09EC2}"/>
              </a:ext>
            </a:extLst>
          </p:cNvPr>
          <p:cNvSpPr/>
          <p:nvPr/>
        </p:nvSpPr>
        <p:spPr>
          <a:xfrm rot="16200000">
            <a:off x="12331119" y="885372"/>
            <a:ext cx="132336" cy="261257"/>
          </a:xfrm>
          <a:prstGeom prst="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62" name="Triangolo isoscele 23">
            <a:extLst>
              <a:ext uri="{FF2B5EF4-FFF2-40B4-BE49-F238E27FC236}">
                <a16:creationId xmlns:a16="http://schemas.microsoft.com/office/drawing/2014/main" id="{0329F371-EC8E-3C4B-966D-2906497DC095}"/>
              </a:ext>
            </a:extLst>
          </p:cNvPr>
          <p:cNvSpPr/>
          <p:nvPr/>
        </p:nvSpPr>
        <p:spPr>
          <a:xfrm rot="16200000">
            <a:off x="12331120" y="5982836"/>
            <a:ext cx="132336" cy="261257"/>
          </a:xfrm>
          <a:prstGeom prst="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63" name="Triangolo isoscele 31">
            <a:extLst>
              <a:ext uri="{FF2B5EF4-FFF2-40B4-BE49-F238E27FC236}">
                <a16:creationId xmlns:a16="http://schemas.microsoft.com/office/drawing/2014/main" id="{63384D65-22B8-E24D-ADB9-E486C32519E6}"/>
              </a:ext>
            </a:extLst>
          </p:cNvPr>
          <p:cNvSpPr/>
          <p:nvPr/>
        </p:nvSpPr>
        <p:spPr>
          <a:xfrm rot="10800000">
            <a:off x="303127" y="-324737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64" name="Triangolo isoscele 32">
            <a:extLst>
              <a:ext uri="{FF2B5EF4-FFF2-40B4-BE49-F238E27FC236}">
                <a16:creationId xmlns:a16="http://schemas.microsoft.com/office/drawing/2014/main" id="{B1D20870-9EA8-BE47-ACAF-6C3DDC19F0E9}"/>
              </a:ext>
            </a:extLst>
          </p:cNvPr>
          <p:cNvSpPr/>
          <p:nvPr/>
        </p:nvSpPr>
        <p:spPr>
          <a:xfrm rot="10800000">
            <a:off x="11756536" y="-324737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65" name="Triangolo isoscele 33">
            <a:extLst>
              <a:ext uri="{FF2B5EF4-FFF2-40B4-BE49-F238E27FC236}">
                <a16:creationId xmlns:a16="http://schemas.microsoft.com/office/drawing/2014/main" id="{8FA28E8D-4E22-2A43-A0CA-0CBEA0E68DA0}"/>
              </a:ext>
            </a:extLst>
          </p:cNvPr>
          <p:cNvSpPr/>
          <p:nvPr/>
        </p:nvSpPr>
        <p:spPr>
          <a:xfrm>
            <a:off x="303127" y="6950754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66" name="Triangolo isoscele 34">
            <a:extLst>
              <a:ext uri="{FF2B5EF4-FFF2-40B4-BE49-F238E27FC236}">
                <a16:creationId xmlns:a16="http://schemas.microsoft.com/office/drawing/2014/main" id="{2FB63059-7910-1C4C-B84D-BB0A56F73CB3}"/>
              </a:ext>
            </a:extLst>
          </p:cNvPr>
          <p:cNvSpPr/>
          <p:nvPr/>
        </p:nvSpPr>
        <p:spPr>
          <a:xfrm>
            <a:off x="11756536" y="6950754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67" name="Triangolo isoscele 35">
            <a:extLst>
              <a:ext uri="{FF2B5EF4-FFF2-40B4-BE49-F238E27FC236}">
                <a16:creationId xmlns:a16="http://schemas.microsoft.com/office/drawing/2014/main" id="{4E3302DD-2E72-FF4F-B090-66F4E4172F59}"/>
              </a:ext>
            </a:extLst>
          </p:cNvPr>
          <p:cNvSpPr/>
          <p:nvPr/>
        </p:nvSpPr>
        <p:spPr>
          <a:xfrm rot="5400000">
            <a:off x="-276040" y="885372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68" name="Triangolo isoscele 36">
            <a:extLst>
              <a:ext uri="{FF2B5EF4-FFF2-40B4-BE49-F238E27FC236}">
                <a16:creationId xmlns:a16="http://schemas.microsoft.com/office/drawing/2014/main" id="{FFF548D1-E814-ED45-B13F-011F98993545}"/>
              </a:ext>
            </a:extLst>
          </p:cNvPr>
          <p:cNvSpPr/>
          <p:nvPr/>
        </p:nvSpPr>
        <p:spPr>
          <a:xfrm rot="5400000">
            <a:off x="-276039" y="5982836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69" name="Triangolo isoscele 37">
            <a:extLst>
              <a:ext uri="{FF2B5EF4-FFF2-40B4-BE49-F238E27FC236}">
                <a16:creationId xmlns:a16="http://schemas.microsoft.com/office/drawing/2014/main" id="{BBD06D14-4475-2D4B-858E-8CCBC69E29DE}"/>
              </a:ext>
            </a:extLst>
          </p:cNvPr>
          <p:cNvSpPr/>
          <p:nvPr/>
        </p:nvSpPr>
        <p:spPr>
          <a:xfrm rot="16200000">
            <a:off x="12331119" y="885372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70" name="Triangolo isoscele 38">
            <a:extLst>
              <a:ext uri="{FF2B5EF4-FFF2-40B4-BE49-F238E27FC236}">
                <a16:creationId xmlns:a16="http://schemas.microsoft.com/office/drawing/2014/main" id="{11F94D96-987E-8E4A-926C-AAECB6B55708}"/>
              </a:ext>
            </a:extLst>
          </p:cNvPr>
          <p:cNvSpPr/>
          <p:nvPr/>
        </p:nvSpPr>
        <p:spPr>
          <a:xfrm rot="16200000">
            <a:off x="12331120" y="5982836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pic>
        <p:nvPicPr>
          <p:cNvPr id="71" name="Elemento grafico 70">
            <a:extLst>
              <a:ext uri="{FF2B5EF4-FFF2-40B4-BE49-F238E27FC236}">
                <a16:creationId xmlns:a16="http://schemas.microsoft.com/office/drawing/2014/main" id="{D24B76CA-E254-4F46-A3E2-4AC75BF829EE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081892" y="-5080"/>
            <a:ext cx="1560273" cy="309880"/>
          </a:xfrm>
          <a:prstGeom prst="rect">
            <a:avLst/>
          </a:prstGeom>
        </p:spPr>
      </p:pic>
      <p:sp>
        <p:nvSpPr>
          <p:cNvPr id="72" name="object 267">
            <a:extLst>
              <a:ext uri="{FF2B5EF4-FFF2-40B4-BE49-F238E27FC236}">
                <a16:creationId xmlns:a16="http://schemas.microsoft.com/office/drawing/2014/main" id="{1B1F0D68-9E91-FA49-BA43-DBE4F30B0332}"/>
              </a:ext>
            </a:extLst>
          </p:cNvPr>
          <p:cNvSpPr/>
          <p:nvPr/>
        </p:nvSpPr>
        <p:spPr>
          <a:xfrm>
            <a:off x="0" y="1251482"/>
            <a:ext cx="675518" cy="45719"/>
          </a:xfrm>
          <a:custGeom>
            <a:avLst/>
            <a:gdLst/>
            <a:ahLst/>
            <a:cxnLst/>
            <a:rect l="l" t="t" r="r" b="b"/>
            <a:pathLst>
              <a:path w="657225">
                <a:moveTo>
                  <a:pt x="0" y="0"/>
                </a:moveTo>
                <a:lnTo>
                  <a:pt x="656678" y="0"/>
                </a:lnTo>
              </a:path>
            </a:pathLst>
          </a:custGeom>
          <a:ln w="76200">
            <a:solidFill>
              <a:srgbClr val="EEDC00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JhengHei UI Light" panose="020B0304030504040204" pitchFamily="34" charset="-120"/>
              <a:ea typeface="Microsoft JhengHei UI Light" panose="020B0304030504040204" pitchFamily="34" charset="-120"/>
              <a:cs typeface="+mn-cs"/>
            </a:endParaRPr>
          </a:p>
        </p:txBody>
      </p:sp>
      <p:sp>
        <p:nvSpPr>
          <p:cNvPr id="73" name="Estrai 72">
            <a:extLst>
              <a:ext uri="{FF2B5EF4-FFF2-40B4-BE49-F238E27FC236}">
                <a16:creationId xmlns:a16="http://schemas.microsoft.com/office/drawing/2014/main" id="{F5F1EC3C-A95B-E243-B9D1-1689DCB785E2}"/>
              </a:ext>
            </a:extLst>
          </p:cNvPr>
          <p:cNvSpPr/>
          <p:nvPr/>
        </p:nvSpPr>
        <p:spPr>
          <a:xfrm rot="5400000">
            <a:off x="5471797" y="3489972"/>
            <a:ext cx="1567955" cy="451172"/>
          </a:xfrm>
          <a:prstGeom prst="flowChartExtract">
            <a:avLst/>
          </a:prstGeom>
          <a:gradFill flip="none" rotWithShape="1">
            <a:gsLst>
              <a:gs pos="0">
                <a:srgbClr val="0047BB">
                  <a:alpha val="0"/>
                </a:srgbClr>
              </a:gs>
              <a:gs pos="90000">
                <a:srgbClr val="0047BB">
                  <a:alpha val="30000"/>
                </a:srgb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venir Next LT Pro" panose="020B0504020202020204" pitchFamily="34" charset="77"/>
              <a:ea typeface="+mn-ea"/>
              <a:cs typeface="+mn-cs"/>
            </a:endParaRPr>
          </a:p>
        </p:txBody>
      </p:sp>
      <p:grpSp>
        <p:nvGrpSpPr>
          <p:cNvPr id="74" name="Gruppo 73">
            <a:extLst>
              <a:ext uri="{FF2B5EF4-FFF2-40B4-BE49-F238E27FC236}">
                <a16:creationId xmlns:a16="http://schemas.microsoft.com/office/drawing/2014/main" id="{0892F0E9-E272-DA4D-B9AC-8A766720A3AA}"/>
              </a:ext>
            </a:extLst>
          </p:cNvPr>
          <p:cNvGrpSpPr/>
          <p:nvPr/>
        </p:nvGrpSpPr>
        <p:grpSpPr>
          <a:xfrm>
            <a:off x="633940" y="1509967"/>
            <a:ext cx="756000" cy="756000"/>
            <a:chOff x="633940" y="1509967"/>
            <a:chExt cx="756000" cy="756000"/>
          </a:xfrm>
        </p:grpSpPr>
        <p:sp>
          <p:nvSpPr>
            <p:cNvPr id="75" name="object 46">
              <a:extLst>
                <a:ext uri="{FF2B5EF4-FFF2-40B4-BE49-F238E27FC236}">
                  <a16:creationId xmlns:a16="http://schemas.microsoft.com/office/drawing/2014/main" id="{132D278B-6098-484C-BC7B-F1B369A6C22B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33940" y="1509967"/>
              <a:ext cx="756000" cy="756000"/>
            </a:xfrm>
            <a:custGeom>
              <a:avLst/>
              <a:gdLst/>
              <a:ahLst/>
              <a:cxnLst/>
              <a:rect l="l" t="t" r="r" b="b"/>
              <a:pathLst>
                <a:path w="1009650" h="1009650">
                  <a:moveTo>
                    <a:pt x="1009637" y="504825"/>
                  </a:moveTo>
                  <a:lnTo>
                    <a:pt x="1007326" y="553440"/>
                  </a:lnTo>
                  <a:lnTo>
                    <a:pt x="1000534" y="600748"/>
                  </a:lnTo>
                  <a:lnTo>
                    <a:pt x="989474" y="646537"/>
                  </a:lnTo>
                  <a:lnTo>
                    <a:pt x="974355" y="690596"/>
                  </a:lnTo>
                  <a:lnTo>
                    <a:pt x="955391" y="732714"/>
                  </a:lnTo>
                  <a:lnTo>
                    <a:pt x="932791" y="772678"/>
                  </a:lnTo>
                  <a:lnTo>
                    <a:pt x="906769" y="810276"/>
                  </a:lnTo>
                  <a:lnTo>
                    <a:pt x="877535" y="845298"/>
                  </a:lnTo>
                  <a:lnTo>
                    <a:pt x="845302" y="877532"/>
                  </a:lnTo>
                  <a:lnTo>
                    <a:pt x="810279" y="906766"/>
                  </a:lnTo>
                  <a:lnTo>
                    <a:pt x="772680" y="932789"/>
                  </a:lnTo>
                  <a:lnTo>
                    <a:pt x="732715" y="955389"/>
                  </a:lnTo>
                  <a:lnTo>
                    <a:pt x="690596" y="974354"/>
                  </a:lnTo>
                  <a:lnTo>
                    <a:pt x="646535" y="989473"/>
                  </a:lnTo>
                  <a:lnTo>
                    <a:pt x="600743" y="1000534"/>
                  </a:lnTo>
                  <a:lnTo>
                    <a:pt x="553431" y="1007326"/>
                  </a:lnTo>
                  <a:lnTo>
                    <a:pt x="504812" y="1009637"/>
                  </a:lnTo>
                  <a:lnTo>
                    <a:pt x="456197" y="1007326"/>
                  </a:lnTo>
                  <a:lnTo>
                    <a:pt x="408888" y="1000534"/>
                  </a:lnTo>
                  <a:lnTo>
                    <a:pt x="363099" y="989473"/>
                  </a:lnTo>
                  <a:lnTo>
                    <a:pt x="319040" y="974354"/>
                  </a:lnTo>
                  <a:lnTo>
                    <a:pt x="276923" y="955389"/>
                  </a:lnTo>
                  <a:lnTo>
                    <a:pt x="236959" y="932789"/>
                  </a:lnTo>
                  <a:lnTo>
                    <a:pt x="199360" y="906766"/>
                  </a:lnTo>
                  <a:lnTo>
                    <a:pt x="164338" y="877532"/>
                  </a:lnTo>
                  <a:lnTo>
                    <a:pt x="132104" y="845298"/>
                  </a:lnTo>
                  <a:lnTo>
                    <a:pt x="102870" y="810276"/>
                  </a:lnTo>
                  <a:lnTo>
                    <a:pt x="76847" y="772678"/>
                  </a:lnTo>
                  <a:lnTo>
                    <a:pt x="54248" y="732714"/>
                  </a:lnTo>
                  <a:lnTo>
                    <a:pt x="35283" y="690596"/>
                  </a:lnTo>
                  <a:lnTo>
                    <a:pt x="20164" y="646537"/>
                  </a:lnTo>
                  <a:lnTo>
                    <a:pt x="9102" y="600748"/>
                  </a:lnTo>
                  <a:lnTo>
                    <a:pt x="2310" y="553440"/>
                  </a:lnTo>
                  <a:lnTo>
                    <a:pt x="0" y="504825"/>
                  </a:lnTo>
                  <a:lnTo>
                    <a:pt x="2310" y="456207"/>
                  </a:lnTo>
                  <a:lnTo>
                    <a:pt x="9102" y="408897"/>
                  </a:lnTo>
                  <a:lnTo>
                    <a:pt x="20164" y="363106"/>
                  </a:lnTo>
                  <a:lnTo>
                    <a:pt x="35283" y="319045"/>
                  </a:lnTo>
                  <a:lnTo>
                    <a:pt x="54248" y="276927"/>
                  </a:lnTo>
                  <a:lnTo>
                    <a:pt x="76847" y="236962"/>
                  </a:lnTo>
                  <a:lnTo>
                    <a:pt x="102870" y="199363"/>
                  </a:lnTo>
                  <a:lnTo>
                    <a:pt x="132104" y="164340"/>
                  </a:lnTo>
                  <a:lnTo>
                    <a:pt x="164338" y="132105"/>
                  </a:lnTo>
                  <a:lnTo>
                    <a:pt x="199360" y="102871"/>
                  </a:lnTo>
                  <a:lnTo>
                    <a:pt x="236959" y="76848"/>
                  </a:lnTo>
                  <a:lnTo>
                    <a:pt x="276923" y="54248"/>
                  </a:lnTo>
                  <a:lnTo>
                    <a:pt x="319040" y="35283"/>
                  </a:lnTo>
                  <a:lnTo>
                    <a:pt x="363099" y="20164"/>
                  </a:lnTo>
                  <a:lnTo>
                    <a:pt x="408888" y="9102"/>
                  </a:lnTo>
                  <a:lnTo>
                    <a:pt x="456197" y="2310"/>
                  </a:lnTo>
                  <a:lnTo>
                    <a:pt x="504812" y="0"/>
                  </a:lnTo>
                  <a:lnTo>
                    <a:pt x="553431" y="2310"/>
                  </a:lnTo>
                  <a:lnTo>
                    <a:pt x="600743" y="9102"/>
                  </a:lnTo>
                  <a:lnTo>
                    <a:pt x="646535" y="20164"/>
                  </a:lnTo>
                  <a:lnTo>
                    <a:pt x="690596" y="35283"/>
                  </a:lnTo>
                  <a:lnTo>
                    <a:pt x="732715" y="54248"/>
                  </a:lnTo>
                  <a:lnTo>
                    <a:pt x="772680" y="76848"/>
                  </a:lnTo>
                  <a:lnTo>
                    <a:pt x="810279" y="102871"/>
                  </a:lnTo>
                  <a:lnTo>
                    <a:pt x="845302" y="132105"/>
                  </a:lnTo>
                  <a:lnTo>
                    <a:pt x="877535" y="164340"/>
                  </a:lnTo>
                  <a:lnTo>
                    <a:pt x="906769" y="199363"/>
                  </a:lnTo>
                  <a:lnTo>
                    <a:pt x="932791" y="236962"/>
                  </a:lnTo>
                  <a:lnTo>
                    <a:pt x="955391" y="276927"/>
                  </a:lnTo>
                  <a:lnTo>
                    <a:pt x="974355" y="319045"/>
                  </a:lnTo>
                  <a:lnTo>
                    <a:pt x="989474" y="363106"/>
                  </a:lnTo>
                  <a:lnTo>
                    <a:pt x="1000534" y="408897"/>
                  </a:lnTo>
                  <a:lnTo>
                    <a:pt x="1007326" y="456207"/>
                  </a:lnTo>
                  <a:lnTo>
                    <a:pt x="1009637" y="504825"/>
                  </a:lnTo>
                  <a:close/>
                </a:path>
              </a:pathLst>
            </a:custGeom>
            <a:solidFill>
              <a:schemeClr val="bg1"/>
            </a:solidFill>
            <a:ln w="12700">
              <a:solidFill>
                <a:srgbClr val="0046BA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3B3B3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76" name="object 47">
              <a:extLst>
                <a:ext uri="{FF2B5EF4-FFF2-40B4-BE49-F238E27FC236}">
                  <a16:creationId xmlns:a16="http://schemas.microsoft.com/office/drawing/2014/main" id="{66E9A941-73FB-C940-A108-9A51D7B4D583}"/>
                </a:ext>
              </a:extLst>
            </p:cNvPr>
            <p:cNvSpPr/>
            <p:nvPr userDrawn="1"/>
          </p:nvSpPr>
          <p:spPr>
            <a:xfrm>
              <a:off x="687940" y="1563967"/>
              <a:ext cx="648000" cy="648000"/>
            </a:xfrm>
            <a:custGeom>
              <a:avLst/>
              <a:gdLst/>
              <a:ahLst/>
              <a:cxnLst/>
              <a:rect l="l" t="t" r="r" b="b"/>
              <a:pathLst>
                <a:path w="836294" h="836294">
                  <a:moveTo>
                    <a:pt x="417944" y="0"/>
                  </a:moveTo>
                  <a:lnTo>
                    <a:pt x="369203" y="2811"/>
                  </a:lnTo>
                  <a:lnTo>
                    <a:pt x="322114" y="11038"/>
                  </a:lnTo>
                  <a:lnTo>
                    <a:pt x="276989" y="24365"/>
                  </a:lnTo>
                  <a:lnTo>
                    <a:pt x="234143" y="42480"/>
                  </a:lnTo>
                  <a:lnTo>
                    <a:pt x="193890" y="65069"/>
                  </a:lnTo>
                  <a:lnTo>
                    <a:pt x="156542" y="91818"/>
                  </a:lnTo>
                  <a:lnTo>
                    <a:pt x="122413" y="122413"/>
                  </a:lnTo>
                  <a:lnTo>
                    <a:pt x="91818" y="156542"/>
                  </a:lnTo>
                  <a:lnTo>
                    <a:pt x="65069" y="193890"/>
                  </a:lnTo>
                  <a:lnTo>
                    <a:pt x="42480" y="234143"/>
                  </a:lnTo>
                  <a:lnTo>
                    <a:pt x="24365" y="276989"/>
                  </a:lnTo>
                  <a:lnTo>
                    <a:pt x="11038" y="322114"/>
                  </a:lnTo>
                  <a:lnTo>
                    <a:pt x="2811" y="369203"/>
                  </a:lnTo>
                  <a:lnTo>
                    <a:pt x="0" y="417944"/>
                  </a:lnTo>
                  <a:lnTo>
                    <a:pt x="2811" y="466685"/>
                  </a:lnTo>
                  <a:lnTo>
                    <a:pt x="11038" y="513774"/>
                  </a:lnTo>
                  <a:lnTo>
                    <a:pt x="24365" y="558898"/>
                  </a:lnTo>
                  <a:lnTo>
                    <a:pt x="42480" y="601744"/>
                  </a:lnTo>
                  <a:lnTo>
                    <a:pt x="65069" y="641998"/>
                  </a:lnTo>
                  <a:lnTo>
                    <a:pt x="91818" y="679346"/>
                  </a:lnTo>
                  <a:lnTo>
                    <a:pt x="122413" y="713474"/>
                  </a:lnTo>
                  <a:lnTo>
                    <a:pt x="156542" y="744070"/>
                  </a:lnTo>
                  <a:lnTo>
                    <a:pt x="193890" y="770819"/>
                  </a:lnTo>
                  <a:lnTo>
                    <a:pt x="234143" y="793407"/>
                  </a:lnTo>
                  <a:lnTo>
                    <a:pt x="276989" y="811522"/>
                  </a:lnTo>
                  <a:lnTo>
                    <a:pt x="322114" y="824850"/>
                  </a:lnTo>
                  <a:lnTo>
                    <a:pt x="369203" y="833076"/>
                  </a:lnTo>
                  <a:lnTo>
                    <a:pt x="417944" y="835888"/>
                  </a:lnTo>
                  <a:lnTo>
                    <a:pt x="466685" y="833076"/>
                  </a:lnTo>
                  <a:lnTo>
                    <a:pt x="513774" y="824850"/>
                  </a:lnTo>
                  <a:lnTo>
                    <a:pt x="558898" y="811522"/>
                  </a:lnTo>
                  <a:lnTo>
                    <a:pt x="601744" y="793407"/>
                  </a:lnTo>
                  <a:lnTo>
                    <a:pt x="641998" y="770819"/>
                  </a:lnTo>
                  <a:lnTo>
                    <a:pt x="679346" y="744070"/>
                  </a:lnTo>
                  <a:lnTo>
                    <a:pt x="713474" y="713474"/>
                  </a:lnTo>
                  <a:lnTo>
                    <a:pt x="744070" y="679346"/>
                  </a:lnTo>
                  <a:lnTo>
                    <a:pt x="770819" y="641998"/>
                  </a:lnTo>
                  <a:lnTo>
                    <a:pt x="793407" y="601744"/>
                  </a:lnTo>
                  <a:lnTo>
                    <a:pt x="811522" y="558898"/>
                  </a:lnTo>
                  <a:lnTo>
                    <a:pt x="824850" y="513774"/>
                  </a:lnTo>
                  <a:lnTo>
                    <a:pt x="833076" y="466685"/>
                  </a:lnTo>
                  <a:lnTo>
                    <a:pt x="835888" y="417944"/>
                  </a:lnTo>
                  <a:lnTo>
                    <a:pt x="833076" y="369203"/>
                  </a:lnTo>
                  <a:lnTo>
                    <a:pt x="824850" y="322114"/>
                  </a:lnTo>
                  <a:lnTo>
                    <a:pt x="811522" y="276989"/>
                  </a:lnTo>
                  <a:lnTo>
                    <a:pt x="793407" y="234143"/>
                  </a:lnTo>
                  <a:lnTo>
                    <a:pt x="770819" y="193890"/>
                  </a:lnTo>
                  <a:lnTo>
                    <a:pt x="744070" y="156542"/>
                  </a:lnTo>
                  <a:lnTo>
                    <a:pt x="713474" y="122413"/>
                  </a:lnTo>
                  <a:lnTo>
                    <a:pt x="679346" y="91818"/>
                  </a:lnTo>
                  <a:lnTo>
                    <a:pt x="641998" y="65069"/>
                  </a:lnTo>
                  <a:lnTo>
                    <a:pt x="601744" y="42480"/>
                  </a:lnTo>
                  <a:lnTo>
                    <a:pt x="558898" y="24365"/>
                  </a:lnTo>
                  <a:lnTo>
                    <a:pt x="513774" y="11038"/>
                  </a:lnTo>
                  <a:lnTo>
                    <a:pt x="466685" y="2811"/>
                  </a:lnTo>
                  <a:lnTo>
                    <a:pt x="417944" y="0"/>
                  </a:lnTo>
                  <a:close/>
                </a:path>
              </a:pathLst>
            </a:custGeom>
            <a:solidFill>
              <a:srgbClr val="EEDC00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srgbClr val="3B3B3A"/>
                </a:solidFill>
                <a:effectLst/>
                <a:uLnTx/>
                <a:uFillTx/>
                <a:latin typeface="Avenir Next LT Pro" panose="020B0504020202020204" pitchFamily="34" charset="77"/>
                <a:ea typeface="+mn-ea"/>
                <a:cs typeface="+mn-cs"/>
              </a:endParaRPr>
            </a:p>
          </p:txBody>
        </p:sp>
      </p:grpSp>
      <p:cxnSp>
        <p:nvCxnSpPr>
          <p:cNvPr id="77" name="Connettore 1 46">
            <a:extLst>
              <a:ext uri="{FF2B5EF4-FFF2-40B4-BE49-F238E27FC236}">
                <a16:creationId xmlns:a16="http://schemas.microsoft.com/office/drawing/2014/main" id="{F4EA321C-5927-C044-998E-D94077234B74}"/>
              </a:ext>
            </a:extLst>
          </p:cNvPr>
          <p:cNvCxnSpPr>
            <a:cxnSpLocks/>
          </p:cNvCxnSpPr>
          <p:nvPr/>
        </p:nvCxnSpPr>
        <p:spPr>
          <a:xfrm>
            <a:off x="1395006" y="1889852"/>
            <a:ext cx="4140000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8" name="Gruppo 77">
            <a:extLst>
              <a:ext uri="{FF2B5EF4-FFF2-40B4-BE49-F238E27FC236}">
                <a16:creationId xmlns:a16="http://schemas.microsoft.com/office/drawing/2014/main" id="{364C0991-A5CD-024E-B8E0-551125589E03}"/>
              </a:ext>
            </a:extLst>
          </p:cNvPr>
          <p:cNvGrpSpPr/>
          <p:nvPr/>
        </p:nvGrpSpPr>
        <p:grpSpPr>
          <a:xfrm>
            <a:off x="629053" y="4156346"/>
            <a:ext cx="756000" cy="756000"/>
            <a:chOff x="633940" y="1509967"/>
            <a:chExt cx="756000" cy="756000"/>
          </a:xfrm>
        </p:grpSpPr>
        <p:sp>
          <p:nvSpPr>
            <p:cNvPr id="79" name="object 46">
              <a:extLst>
                <a:ext uri="{FF2B5EF4-FFF2-40B4-BE49-F238E27FC236}">
                  <a16:creationId xmlns:a16="http://schemas.microsoft.com/office/drawing/2014/main" id="{BE4A79C2-8592-5F48-809B-5FFFAEB0505E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33940" y="1509967"/>
              <a:ext cx="756000" cy="756000"/>
            </a:xfrm>
            <a:custGeom>
              <a:avLst/>
              <a:gdLst/>
              <a:ahLst/>
              <a:cxnLst/>
              <a:rect l="l" t="t" r="r" b="b"/>
              <a:pathLst>
                <a:path w="1009650" h="1009650">
                  <a:moveTo>
                    <a:pt x="1009637" y="504825"/>
                  </a:moveTo>
                  <a:lnTo>
                    <a:pt x="1007326" y="553440"/>
                  </a:lnTo>
                  <a:lnTo>
                    <a:pt x="1000534" y="600748"/>
                  </a:lnTo>
                  <a:lnTo>
                    <a:pt x="989474" y="646537"/>
                  </a:lnTo>
                  <a:lnTo>
                    <a:pt x="974355" y="690596"/>
                  </a:lnTo>
                  <a:lnTo>
                    <a:pt x="955391" y="732714"/>
                  </a:lnTo>
                  <a:lnTo>
                    <a:pt x="932791" y="772678"/>
                  </a:lnTo>
                  <a:lnTo>
                    <a:pt x="906769" y="810276"/>
                  </a:lnTo>
                  <a:lnTo>
                    <a:pt x="877535" y="845298"/>
                  </a:lnTo>
                  <a:lnTo>
                    <a:pt x="845302" y="877532"/>
                  </a:lnTo>
                  <a:lnTo>
                    <a:pt x="810279" y="906766"/>
                  </a:lnTo>
                  <a:lnTo>
                    <a:pt x="772680" y="932789"/>
                  </a:lnTo>
                  <a:lnTo>
                    <a:pt x="732715" y="955389"/>
                  </a:lnTo>
                  <a:lnTo>
                    <a:pt x="690596" y="974354"/>
                  </a:lnTo>
                  <a:lnTo>
                    <a:pt x="646535" y="989473"/>
                  </a:lnTo>
                  <a:lnTo>
                    <a:pt x="600743" y="1000534"/>
                  </a:lnTo>
                  <a:lnTo>
                    <a:pt x="553431" y="1007326"/>
                  </a:lnTo>
                  <a:lnTo>
                    <a:pt x="504812" y="1009637"/>
                  </a:lnTo>
                  <a:lnTo>
                    <a:pt x="456197" y="1007326"/>
                  </a:lnTo>
                  <a:lnTo>
                    <a:pt x="408888" y="1000534"/>
                  </a:lnTo>
                  <a:lnTo>
                    <a:pt x="363099" y="989473"/>
                  </a:lnTo>
                  <a:lnTo>
                    <a:pt x="319040" y="974354"/>
                  </a:lnTo>
                  <a:lnTo>
                    <a:pt x="276923" y="955389"/>
                  </a:lnTo>
                  <a:lnTo>
                    <a:pt x="236959" y="932789"/>
                  </a:lnTo>
                  <a:lnTo>
                    <a:pt x="199360" y="906766"/>
                  </a:lnTo>
                  <a:lnTo>
                    <a:pt x="164338" y="877532"/>
                  </a:lnTo>
                  <a:lnTo>
                    <a:pt x="132104" y="845298"/>
                  </a:lnTo>
                  <a:lnTo>
                    <a:pt x="102870" y="810276"/>
                  </a:lnTo>
                  <a:lnTo>
                    <a:pt x="76847" y="772678"/>
                  </a:lnTo>
                  <a:lnTo>
                    <a:pt x="54248" y="732714"/>
                  </a:lnTo>
                  <a:lnTo>
                    <a:pt x="35283" y="690596"/>
                  </a:lnTo>
                  <a:lnTo>
                    <a:pt x="20164" y="646537"/>
                  </a:lnTo>
                  <a:lnTo>
                    <a:pt x="9102" y="600748"/>
                  </a:lnTo>
                  <a:lnTo>
                    <a:pt x="2310" y="553440"/>
                  </a:lnTo>
                  <a:lnTo>
                    <a:pt x="0" y="504825"/>
                  </a:lnTo>
                  <a:lnTo>
                    <a:pt x="2310" y="456207"/>
                  </a:lnTo>
                  <a:lnTo>
                    <a:pt x="9102" y="408897"/>
                  </a:lnTo>
                  <a:lnTo>
                    <a:pt x="20164" y="363106"/>
                  </a:lnTo>
                  <a:lnTo>
                    <a:pt x="35283" y="319045"/>
                  </a:lnTo>
                  <a:lnTo>
                    <a:pt x="54248" y="276927"/>
                  </a:lnTo>
                  <a:lnTo>
                    <a:pt x="76847" y="236962"/>
                  </a:lnTo>
                  <a:lnTo>
                    <a:pt x="102870" y="199363"/>
                  </a:lnTo>
                  <a:lnTo>
                    <a:pt x="132104" y="164340"/>
                  </a:lnTo>
                  <a:lnTo>
                    <a:pt x="164338" y="132105"/>
                  </a:lnTo>
                  <a:lnTo>
                    <a:pt x="199360" y="102871"/>
                  </a:lnTo>
                  <a:lnTo>
                    <a:pt x="236959" y="76848"/>
                  </a:lnTo>
                  <a:lnTo>
                    <a:pt x="276923" y="54248"/>
                  </a:lnTo>
                  <a:lnTo>
                    <a:pt x="319040" y="35283"/>
                  </a:lnTo>
                  <a:lnTo>
                    <a:pt x="363099" y="20164"/>
                  </a:lnTo>
                  <a:lnTo>
                    <a:pt x="408888" y="9102"/>
                  </a:lnTo>
                  <a:lnTo>
                    <a:pt x="456197" y="2310"/>
                  </a:lnTo>
                  <a:lnTo>
                    <a:pt x="504812" y="0"/>
                  </a:lnTo>
                  <a:lnTo>
                    <a:pt x="553431" y="2310"/>
                  </a:lnTo>
                  <a:lnTo>
                    <a:pt x="600743" y="9102"/>
                  </a:lnTo>
                  <a:lnTo>
                    <a:pt x="646535" y="20164"/>
                  </a:lnTo>
                  <a:lnTo>
                    <a:pt x="690596" y="35283"/>
                  </a:lnTo>
                  <a:lnTo>
                    <a:pt x="732715" y="54248"/>
                  </a:lnTo>
                  <a:lnTo>
                    <a:pt x="772680" y="76848"/>
                  </a:lnTo>
                  <a:lnTo>
                    <a:pt x="810279" y="102871"/>
                  </a:lnTo>
                  <a:lnTo>
                    <a:pt x="845302" y="132105"/>
                  </a:lnTo>
                  <a:lnTo>
                    <a:pt x="877535" y="164340"/>
                  </a:lnTo>
                  <a:lnTo>
                    <a:pt x="906769" y="199363"/>
                  </a:lnTo>
                  <a:lnTo>
                    <a:pt x="932791" y="236962"/>
                  </a:lnTo>
                  <a:lnTo>
                    <a:pt x="955391" y="276927"/>
                  </a:lnTo>
                  <a:lnTo>
                    <a:pt x="974355" y="319045"/>
                  </a:lnTo>
                  <a:lnTo>
                    <a:pt x="989474" y="363106"/>
                  </a:lnTo>
                  <a:lnTo>
                    <a:pt x="1000534" y="408897"/>
                  </a:lnTo>
                  <a:lnTo>
                    <a:pt x="1007326" y="456207"/>
                  </a:lnTo>
                  <a:lnTo>
                    <a:pt x="1009637" y="504825"/>
                  </a:lnTo>
                  <a:close/>
                </a:path>
              </a:pathLst>
            </a:custGeom>
            <a:solidFill>
              <a:schemeClr val="bg1"/>
            </a:solidFill>
            <a:ln w="12700">
              <a:solidFill>
                <a:srgbClr val="0046BA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3B3B3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80" name="object 47">
              <a:extLst>
                <a:ext uri="{FF2B5EF4-FFF2-40B4-BE49-F238E27FC236}">
                  <a16:creationId xmlns:a16="http://schemas.microsoft.com/office/drawing/2014/main" id="{96375D70-9925-4F42-AEAE-8DCCCB01BD51}"/>
                </a:ext>
              </a:extLst>
            </p:cNvPr>
            <p:cNvSpPr/>
            <p:nvPr userDrawn="1"/>
          </p:nvSpPr>
          <p:spPr>
            <a:xfrm>
              <a:off x="687940" y="1563967"/>
              <a:ext cx="648000" cy="648000"/>
            </a:xfrm>
            <a:custGeom>
              <a:avLst/>
              <a:gdLst/>
              <a:ahLst/>
              <a:cxnLst/>
              <a:rect l="l" t="t" r="r" b="b"/>
              <a:pathLst>
                <a:path w="836294" h="836294">
                  <a:moveTo>
                    <a:pt x="417944" y="0"/>
                  </a:moveTo>
                  <a:lnTo>
                    <a:pt x="369203" y="2811"/>
                  </a:lnTo>
                  <a:lnTo>
                    <a:pt x="322114" y="11038"/>
                  </a:lnTo>
                  <a:lnTo>
                    <a:pt x="276989" y="24365"/>
                  </a:lnTo>
                  <a:lnTo>
                    <a:pt x="234143" y="42480"/>
                  </a:lnTo>
                  <a:lnTo>
                    <a:pt x="193890" y="65069"/>
                  </a:lnTo>
                  <a:lnTo>
                    <a:pt x="156542" y="91818"/>
                  </a:lnTo>
                  <a:lnTo>
                    <a:pt x="122413" y="122413"/>
                  </a:lnTo>
                  <a:lnTo>
                    <a:pt x="91818" y="156542"/>
                  </a:lnTo>
                  <a:lnTo>
                    <a:pt x="65069" y="193890"/>
                  </a:lnTo>
                  <a:lnTo>
                    <a:pt x="42480" y="234143"/>
                  </a:lnTo>
                  <a:lnTo>
                    <a:pt x="24365" y="276989"/>
                  </a:lnTo>
                  <a:lnTo>
                    <a:pt x="11038" y="322114"/>
                  </a:lnTo>
                  <a:lnTo>
                    <a:pt x="2811" y="369203"/>
                  </a:lnTo>
                  <a:lnTo>
                    <a:pt x="0" y="417944"/>
                  </a:lnTo>
                  <a:lnTo>
                    <a:pt x="2811" y="466685"/>
                  </a:lnTo>
                  <a:lnTo>
                    <a:pt x="11038" y="513774"/>
                  </a:lnTo>
                  <a:lnTo>
                    <a:pt x="24365" y="558898"/>
                  </a:lnTo>
                  <a:lnTo>
                    <a:pt x="42480" y="601744"/>
                  </a:lnTo>
                  <a:lnTo>
                    <a:pt x="65069" y="641998"/>
                  </a:lnTo>
                  <a:lnTo>
                    <a:pt x="91818" y="679346"/>
                  </a:lnTo>
                  <a:lnTo>
                    <a:pt x="122413" y="713474"/>
                  </a:lnTo>
                  <a:lnTo>
                    <a:pt x="156542" y="744070"/>
                  </a:lnTo>
                  <a:lnTo>
                    <a:pt x="193890" y="770819"/>
                  </a:lnTo>
                  <a:lnTo>
                    <a:pt x="234143" y="793407"/>
                  </a:lnTo>
                  <a:lnTo>
                    <a:pt x="276989" y="811522"/>
                  </a:lnTo>
                  <a:lnTo>
                    <a:pt x="322114" y="824850"/>
                  </a:lnTo>
                  <a:lnTo>
                    <a:pt x="369203" y="833076"/>
                  </a:lnTo>
                  <a:lnTo>
                    <a:pt x="417944" y="835888"/>
                  </a:lnTo>
                  <a:lnTo>
                    <a:pt x="466685" y="833076"/>
                  </a:lnTo>
                  <a:lnTo>
                    <a:pt x="513774" y="824850"/>
                  </a:lnTo>
                  <a:lnTo>
                    <a:pt x="558898" y="811522"/>
                  </a:lnTo>
                  <a:lnTo>
                    <a:pt x="601744" y="793407"/>
                  </a:lnTo>
                  <a:lnTo>
                    <a:pt x="641998" y="770819"/>
                  </a:lnTo>
                  <a:lnTo>
                    <a:pt x="679346" y="744070"/>
                  </a:lnTo>
                  <a:lnTo>
                    <a:pt x="713474" y="713474"/>
                  </a:lnTo>
                  <a:lnTo>
                    <a:pt x="744070" y="679346"/>
                  </a:lnTo>
                  <a:lnTo>
                    <a:pt x="770819" y="641998"/>
                  </a:lnTo>
                  <a:lnTo>
                    <a:pt x="793407" y="601744"/>
                  </a:lnTo>
                  <a:lnTo>
                    <a:pt x="811522" y="558898"/>
                  </a:lnTo>
                  <a:lnTo>
                    <a:pt x="824850" y="513774"/>
                  </a:lnTo>
                  <a:lnTo>
                    <a:pt x="833076" y="466685"/>
                  </a:lnTo>
                  <a:lnTo>
                    <a:pt x="835888" y="417944"/>
                  </a:lnTo>
                  <a:lnTo>
                    <a:pt x="833076" y="369203"/>
                  </a:lnTo>
                  <a:lnTo>
                    <a:pt x="824850" y="322114"/>
                  </a:lnTo>
                  <a:lnTo>
                    <a:pt x="811522" y="276989"/>
                  </a:lnTo>
                  <a:lnTo>
                    <a:pt x="793407" y="234143"/>
                  </a:lnTo>
                  <a:lnTo>
                    <a:pt x="770819" y="193890"/>
                  </a:lnTo>
                  <a:lnTo>
                    <a:pt x="744070" y="156542"/>
                  </a:lnTo>
                  <a:lnTo>
                    <a:pt x="713474" y="122413"/>
                  </a:lnTo>
                  <a:lnTo>
                    <a:pt x="679346" y="91818"/>
                  </a:lnTo>
                  <a:lnTo>
                    <a:pt x="641998" y="65069"/>
                  </a:lnTo>
                  <a:lnTo>
                    <a:pt x="601744" y="42480"/>
                  </a:lnTo>
                  <a:lnTo>
                    <a:pt x="558898" y="24365"/>
                  </a:lnTo>
                  <a:lnTo>
                    <a:pt x="513774" y="11038"/>
                  </a:lnTo>
                  <a:lnTo>
                    <a:pt x="466685" y="2811"/>
                  </a:lnTo>
                  <a:lnTo>
                    <a:pt x="417944" y="0"/>
                  </a:lnTo>
                  <a:close/>
                </a:path>
              </a:pathLst>
            </a:custGeom>
            <a:solidFill>
              <a:srgbClr val="EEDC00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srgbClr val="3B3B3A"/>
                </a:solidFill>
                <a:effectLst/>
                <a:uLnTx/>
                <a:uFillTx/>
                <a:latin typeface="Avenir Next LT Pro" panose="020B0504020202020204" pitchFamily="34" charset="77"/>
                <a:ea typeface="+mn-ea"/>
                <a:cs typeface="+mn-cs"/>
              </a:endParaRPr>
            </a:p>
          </p:txBody>
        </p:sp>
      </p:grpSp>
      <p:cxnSp>
        <p:nvCxnSpPr>
          <p:cNvPr id="81" name="Connettore 1 46">
            <a:extLst>
              <a:ext uri="{FF2B5EF4-FFF2-40B4-BE49-F238E27FC236}">
                <a16:creationId xmlns:a16="http://schemas.microsoft.com/office/drawing/2014/main" id="{6C47996B-507E-1D4F-9901-B49634A11943}"/>
              </a:ext>
            </a:extLst>
          </p:cNvPr>
          <p:cNvCxnSpPr>
            <a:cxnSpLocks/>
          </p:cNvCxnSpPr>
          <p:nvPr/>
        </p:nvCxnSpPr>
        <p:spPr>
          <a:xfrm>
            <a:off x="1390119" y="4536231"/>
            <a:ext cx="4140000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CasellaDiTesto 1">
            <a:extLst>
              <a:ext uri="{FF2B5EF4-FFF2-40B4-BE49-F238E27FC236}">
                <a16:creationId xmlns:a16="http://schemas.microsoft.com/office/drawing/2014/main" id="{08F00F2D-E0F8-C67F-4429-7EA743BCE285}"/>
              </a:ext>
            </a:extLst>
          </p:cNvPr>
          <p:cNvSpPr txBox="1"/>
          <p:nvPr userDrawn="1"/>
        </p:nvSpPr>
        <p:spPr>
          <a:xfrm>
            <a:off x="3916392" y="6623540"/>
            <a:ext cx="739499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it-IT" sz="800" i="1" dirty="0"/>
              <a:t>Documento ad uso esclusivamente interno, da intendersi come strettamente riservato; non è autorizzata la trasmissione ad altri e la divulgazione all’esterno.</a:t>
            </a:r>
            <a:endParaRPr lang="en-US" sz="800" i="1" dirty="0"/>
          </a:p>
        </p:txBody>
      </p:sp>
    </p:spTree>
    <p:extLst>
      <p:ext uri="{BB962C8B-B14F-4D97-AF65-F5344CB8AC3E}">
        <p14:creationId xmlns:p14="http://schemas.microsoft.com/office/powerpoint/2010/main" val="41823663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6" orient="horz" pos="3725">
          <p15:clr>
            <a:srgbClr val="FBAE40"/>
          </p15:clr>
        </p15:guide>
        <p15:guide id="7" pos="3840">
          <p15:clr>
            <a:srgbClr val="FBAE40"/>
          </p15:clr>
        </p15:guide>
        <p15:guide id="8" pos="325">
          <p15:clr>
            <a:srgbClr val="FBAE40"/>
          </p15:clr>
        </p15:guide>
        <p15:guide id="9" pos="7333">
          <p15:clr>
            <a:srgbClr val="FBAE40"/>
          </p15:clr>
        </p15:guide>
        <p15:guide id="10" orient="horz" pos="1480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Pagina 2 box DX + 2 box SX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Segnaposto testo 4">
            <a:extLst>
              <a:ext uri="{FF2B5EF4-FFF2-40B4-BE49-F238E27FC236}">
                <a16:creationId xmlns:a16="http://schemas.microsoft.com/office/drawing/2014/main" id="{597E06C8-CAFB-E24B-A154-8EA093E0C54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49834" y="5917932"/>
            <a:ext cx="9402763" cy="573088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900" b="0" i="0">
                <a:latin typeface="Avenir Next LT Pro" panose="020B0504020202020204" pitchFamily="34" charset="77"/>
              </a:defRPr>
            </a:lvl1pPr>
            <a:lvl2pPr marL="457200" indent="0">
              <a:buNone/>
              <a:defRPr sz="900" b="0" i="0">
                <a:latin typeface="Avenir Next LT Pro" panose="020B0504020202020204" pitchFamily="34" charset="77"/>
              </a:defRPr>
            </a:lvl2pPr>
            <a:lvl3pPr marL="914400" indent="0">
              <a:buNone/>
              <a:defRPr sz="900" b="0" i="0">
                <a:latin typeface="Avenir Next LT Pro" panose="020B0504020202020204" pitchFamily="34" charset="77"/>
              </a:defRPr>
            </a:lvl3pPr>
            <a:lvl4pPr marL="1371600" indent="0">
              <a:buNone/>
              <a:defRPr sz="900" b="0" i="0">
                <a:latin typeface="Avenir Next LT Pro" panose="020B0504020202020204" pitchFamily="34" charset="77"/>
              </a:defRPr>
            </a:lvl4pPr>
            <a:lvl5pPr marL="1828800" indent="0">
              <a:buNone/>
              <a:defRPr sz="900" b="0" i="0">
                <a:latin typeface="Avenir Next LT Pro" panose="020B0504020202020204" pitchFamily="34" charset="77"/>
              </a:defRPr>
            </a:lvl5pPr>
          </a:lstStyle>
          <a:p>
            <a:pPr lvl="0"/>
            <a:r>
              <a:rPr lang="it-IT" dirty="0"/>
              <a:t>1. Fare clic per modificare le note 2. Fare clic per modificare le note 3. Fare clic per modificare le note </a:t>
            </a:r>
          </a:p>
        </p:txBody>
      </p:sp>
      <p:sp>
        <p:nvSpPr>
          <p:cNvPr id="4" name="Segnaposto contenuto 3">
            <a:extLst>
              <a:ext uri="{FF2B5EF4-FFF2-40B4-BE49-F238E27FC236}">
                <a16:creationId xmlns:a16="http://schemas.microsoft.com/office/drawing/2014/main" id="{B72FE258-5D20-BA45-BACF-20ED1C313B4C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515938" y="2355296"/>
            <a:ext cx="5580062" cy="1493281"/>
          </a:xfrm>
          <a:prstGeom prst="rect">
            <a:avLst/>
          </a:prstGeom>
        </p:spPr>
        <p:txBody>
          <a:bodyPr lIns="144000" tIns="144000" rIns="144000" bIns="144000"/>
          <a:lstStyle>
            <a:lvl1pPr marL="228600" indent="-228600">
              <a:buClr>
                <a:schemeClr val="accent2"/>
              </a:buClr>
              <a:buFont typeface="Font di sistema regolare"/>
              <a:buChar char="●"/>
              <a:defRPr sz="1400">
                <a:solidFill>
                  <a:schemeClr val="tx1"/>
                </a:solidFill>
              </a:defRPr>
            </a:lvl1pPr>
            <a:lvl2pPr marL="685800" indent="-228600">
              <a:buClr>
                <a:schemeClr val="accent2"/>
              </a:buClr>
              <a:buFont typeface="Font di sistema regolare"/>
              <a:buChar char="●"/>
              <a:defRPr sz="1400">
                <a:solidFill>
                  <a:schemeClr val="tx1"/>
                </a:solidFill>
              </a:defRPr>
            </a:lvl2pPr>
            <a:lvl3pPr marL="1143000" indent="-228600">
              <a:buClr>
                <a:schemeClr val="accent2"/>
              </a:buClr>
              <a:buFont typeface="Font di sistema regolare"/>
              <a:buChar char="●"/>
              <a:defRPr sz="1400">
                <a:solidFill>
                  <a:schemeClr val="tx1"/>
                </a:solidFill>
              </a:defRPr>
            </a:lvl3pPr>
            <a:lvl4pPr marL="1600200" indent="-228600">
              <a:buClr>
                <a:schemeClr val="accent2"/>
              </a:buClr>
              <a:buFont typeface="Font di sistema regolare"/>
              <a:buChar char="●"/>
              <a:defRPr sz="1400">
                <a:solidFill>
                  <a:schemeClr val="tx1"/>
                </a:solidFill>
              </a:defRPr>
            </a:lvl4pPr>
            <a:lvl5pPr marL="2057400" indent="-228600">
              <a:buClr>
                <a:schemeClr val="accent2"/>
              </a:buClr>
              <a:buFont typeface="Font di sistema regolare"/>
              <a:buChar char="●"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</p:txBody>
      </p:sp>
      <p:sp>
        <p:nvSpPr>
          <p:cNvPr id="44" name="Segnaposto contenuto 3">
            <a:extLst>
              <a:ext uri="{FF2B5EF4-FFF2-40B4-BE49-F238E27FC236}">
                <a16:creationId xmlns:a16="http://schemas.microsoft.com/office/drawing/2014/main" id="{9A0953E8-917B-BA41-B29F-B2B74E2C1947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33448" y="5074391"/>
            <a:ext cx="5580062" cy="1206913"/>
          </a:xfrm>
          <a:prstGeom prst="rect">
            <a:avLst/>
          </a:prstGeom>
        </p:spPr>
        <p:txBody>
          <a:bodyPr lIns="144000" tIns="144000" rIns="144000" bIns="144000"/>
          <a:lstStyle>
            <a:lvl1pPr marL="228600" indent="-228600">
              <a:buClr>
                <a:schemeClr val="accent2"/>
              </a:buClr>
              <a:buFont typeface="Font di sistema regolare"/>
              <a:buChar char="●"/>
              <a:defRPr sz="1400">
                <a:solidFill>
                  <a:schemeClr val="tx1"/>
                </a:solidFill>
              </a:defRPr>
            </a:lvl1pPr>
            <a:lvl2pPr marL="685800" indent="-228600">
              <a:buClr>
                <a:schemeClr val="accent2"/>
              </a:buClr>
              <a:buFont typeface="Font di sistema regolare"/>
              <a:buChar char="●"/>
              <a:defRPr sz="1400">
                <a:solidFill>
                  <a:schemeClr val="tx1"/>
                </a:solidFill>
              </a:defRPr>
            </a:lvl2pPr>
            <a:lvl3pPr marL="1143000" indent="-228600">
              <a:buClr>
                <a:schemeClr val="accent2"/>
              </a:buClr>
              <a:buFont typeface="Font di sistema regolare"/>
              <a:buChar char="●"/>
              <a:defRPr sz="1400">
                <a:solidFill>
                  <a:schemeClr val="tx1"/>
                </a:solidFill>
              </a:defRPr>
            </a:lvl3pPr>
            <a:lvl4pPr marL="1600200" indent="-228600">
              <a:buClr>
                <a:schemeClr val="accent2"/>
              </a:buClr>
              <a:buFont typeface="Font di sistema regolare"/>
              <a:buChar char="●"/>
              <a:defRPr sz="1400">
                <a:solidFill>
                  <a:schemeClr val="tx1"/>
                </a:solidFill>
              </a:defRPr>
            </a:lvl4pPr>
            <a:lvl5pPr marL="2057400" indent="-228600">
              <a:buClr>
                <a:schemeClr val="accent2"/>
              </a:buClr>
              <a:buFont typeface="Font di sistema regolare"/>
              <a:buChar char="●"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</p:txBody>
      </p:sp>
      <p:sp>
        <p:nvSpPr>
          <p:cNvPr id="64" name="Segnaposto contenuto 3">
            <a:extLst>
              <a:ext uri="{FF2B5EF4-FFF2-40B4-BE49-F238E27FC236}">
                <a16:creationId xmlns:a16="http://schemas.microsoft.com/office/drawing/2014/main" id="{49639FD2-98D1-B247-950E-6A99B36E9E38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6079614" y="2339975"/>
            <a:ext cx="5580062" cy="1477962"/>
          </a:xfrm>
          <a:prstGeom prst="rect">
            <a:avLst/>
          </a:prstGeom>
        </p:spPr>
        <p:txBody>
          <a:bodyPr lIns="144000" tIns="144000" rIns="144000" bIns="144000"/>
          <a:lstStyle>
            <a:lvl1pPr marL="228600" indent="-228600">
              <a:buClr>
                <a:schemeClr val="accent2"/>
              </a:buClr>
              <a:buFont typeface="Font di sistema regolare"/>
              <a:buChar char="●"/>
              <a:defRPr sz="1400">
                <a:solidFill>
                  <a:schemeClr val="tx1"/>
                </a:solidFill>
              </a:defRPr>
            </a:lvl1pPr>
            <a:lvl2pPr marL="685800" indent="-228600">
              <a:buClr>
                <a:schemeClr val="accent2"/>
              </a:buClr>
              <a:buFont typeface="Font di sistema regolare"/>
              <a:buChar char="●"/>
              <a:defRPr sz="1400">
                <a:solidFill>
                  <a:schemeClr val="tx1"/>
                </a:solidFill>
              </a:defRPr>
            </a:lvl2pPr>
            <a:lvl3pPr marL="1143000" indent="-228600">
              <a:buClr>
                <a:schemeClr val="accent2"/>
              </a:buClr>
              <a:buFont typeface="Font di sistema regolare"/>
              <a:buChar char="●"/>
              <a:defRPr sz="1400">
                <a:solidFill>
                  <a:schemeClr val="tx1"/>
                </a:solidFill>
              </a:defRPr>
            </a:lvl3pPr>
            <a:lvl4pPr marL="1600200" indent="-228600">
              <a:buClr>
                <a:schemeClr val="accent2"/>
              </a:buClr>
              <a:buFont typeface="Font di sistema regolare"/>
              <a:buChar char="●"/>
              <a:defRPr sz="1400">
                <a:solidFill>
                  <a:schemeClr val="tx1"/>
                </a:solidFill>
              </a:defRPr>
            </a:lvl4pPr>
            <a:lvl5pPr marL="2057400" indent="-228600">
              <a:buClr>
                <a:schemeClr val="accent2"/>
              </a:buClr>
              <a:buFont typeface="Font di sistema regolare"/>
              <a:buChar char="●"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</p:txBody>
      </p:sp>
      <p:sp>
        <p:nvSpPr>
          <p:cNvPr id="70" name="Segnaposto contenuto 3">
            <a:extLst>
              <a:ext uri="{FF2B5EF4-FFF2-40B4-BE49-F238E27FC236}">
                <a16:creationId xmlns:a16="http://schemas.microsoft.com/office/drawing/2014/main" id="{CCF10811-6CE1-8D4A-8F47-9D4BC08F3084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6097124" y="5059070"/>
            <a:ext cx="5580062" cy="1222234"/>
          </a:xfrm>
          <a:prstGeom prst="rect">
            <a:avLst/>
          </a:prstGeom>
        </p:spPr>
        <p:txBody>
          <a:bodyPr lIns="144000" tIns="144000" rIns="144000" bIns="144000"/>
          <a:lstStyle>
            <a:lvl1pPr marL="228600" indent="-228600">
              <a:buClr>
                <a:schemeClr val="accent2"/>
              </a:buClr>
              <a:buFont typeface="Font di sistema regolare"/>
              <a:buChar char="●"/>
              <a:defRPr sz="1400">
                <a:solidFill>
                  <a:schemeClr val="tx1"/>
                </a:solidFill>
              </a:defRPr>
            </a:lvl1pPr>
            <a:lvl2pPr marL="685800" indent="-228600">
              <a:buClr>
                <a:schemeClr val="accent2"/>
              </a:buClr>
              <a:buFont typeface="Font di sistema regolare"/>
              <a:buChar char="●"/>
              <a:defRPr sz="1400">
                <a:solidFill>
                  <a:schemeClr val="tx1"/>
                </a:solidFill>
              </a:defRPr>
            </a:lvl2pPr>
            <a:lvl3pPr marL="1143000" indent="-228600">
              <a:buClr>
                <a:schemeClr val="accent2"/>
              </a:buClr>
              <a:buFont typeface="Font di sistema regolare"/>
              <a:buChar char="●"/>
              <a:defRPr sz="1400">
                <a:solidFill>
                  <a:schemeClr val="tx1"/>
                </a:solidFill>
              </a:defRPr>
            </a:lvl3pPr>
            <a:lvl4pPr marL="1600200" indent="-228600">
              <a:buClr>
                <a:schemeClr val="accent2"/>
              </a:buClr>
              <a:buFont typeface="Font di sistema regolare"/>
              <a:buChar char="●"/>
              <a:defRPr sz="1400">
                <a:solidFill>
                  <a:schemeClr val="tx1"/>
                </a:solidFill>
              </a:defRPr>
            </a:lvl4pPr>
            <a:lvl5pPr marL="2057400" indent="-228600">
              <a:buClr>
                <a:schemeClr val="accent2"/>
              </a:buClr>
              <a:buFont typeface="Font di sistema regolare"/>
              <a:buChar char="●"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</p:txBody>
      </p:sp>
      <p:sp>
        <p:nvSpPr>
          <p:cNvPr id="51" name="Segnaposto testo 46">
            <a:extLst>
              <a:ext uri="{FF2B5EF4-FFF2-40B4-BE49-F238E27FC236}">
                <a16:creationId xmlns:a16="http://schemas.microsoft.com/office/drawing/2014/main" id="{53CF265E-3947-425A-AA96-0C9E05FBE40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457282" y="1158675"/>
            <a:ext cx="4140000" cy="746498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 b="0" i="0">
                <a:solidFill>
                  <a:srgbClr val="0047BB"/>
                </a:solidFill>
                <a:latin typeface="Avenir Next LT Pro" panose="020B0504020202020204" pitchFamily="34" charset="77"/>
              </a:defRPr>
            </a:lvl1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56" name="Segnaposto testo 46">
            <a:extLst>
              <a:ext uri="{FF2B5EF4-FFF2-40B4-BE49-F238E27FC236}">
                <a16:creationId xmlns:a16="http://schemas.microsoft.com/office/drawing/2014/main" id="{00298619-C142-468C-9C96-5EBD5D148BBE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1452395" y="3805054"/>
            <a:ext cx="4140000" cy="746498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 b="0" i="0">
                <a:solidFill>
                  <a:srgbClr val="0047BB"/>
                </a:solidFill>
                <a:latin typeface="Avenir Next LT Pro" panose="020B0504020202020204" pitchFamily="34" charset="77"/>
              </a:defRPr>
            </a:lvl1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72" name="Segnaposto testo 46">
            <a:extLst>
              <a:ext uri="{FF2B5EF4-FFF2-40B4-BE49-F238E27FC236}">
                <a16:creationId xmlns:a16="http://schemas.microsoft.com/office/drawing/2014/main" id="{450C851E-A631-49F5-804D-DCDB96603988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749601" y="3807875"/>
            <a:ext cx="4117982" cy="746498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 b="0" i="0">
                <a:solidFill>
                  <a:srgbClr val="0047BB"/>
                </a:solidFill>
                <a:latin typeface="Avenir Next LT Pro" panose="020B0504020202020204" pitchFamily="34" charset="77"/>
              </a:defRPr>
            </a:lvl1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82" name="Segnaposto testo 46">
            <a:extLst>
              <a:ext uri="{FF2B5EF4-FFF2-40B4-BE49-F238E27FC236}">
                <a16:creationId xmlns:a16="http://schemas.microsoft.com/office/drawing/2014/main" id="{4A06C908-F7C4-4047-B2B1-B65242ADB4B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749601" y="1159611"/>
            <a:ext cx="4117982" cy="746498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 b="0" i="0">
                <a:solidFill>
                  <a:srgbClr val="0047BB"/>
                </a:solidFill>
                <a:latin typeface="Avenir Next LT Pro" panose="020B0504020202020204" pitchFamily="34" charset="77"/>
              </a:defRPr>
            </a:lvl1pPr>
          </a:lstStyle>
          <a:p>
            <a:pPr lvl="0"/>
            <a:r>
              <a:rPr lang="it-IT"/>
              <a:t>Fare clic per modificare gli stili del testo dello schema</a:t>
            </a:r>
          </a:p>
        </p:txBody>
      </p:sp>
      <p:sp>
        <p:nvSpPr>
          <p:cNvPr id="60" name="bg object 16">
            <a:extLst>
              <a:ext uri="{FF2B5EF4-FFF2-40B4-BE49-F238E27FC236}">
                <a16:creationId xmlns:a16="http://schemas.microsoft.com/office/drawing/2014/main" id="{052C3956-3A3F-CE4D-A0FF-415397935402}"/>
              </a:ext>
            </a:extLst>
          </p:cNvPr>
          <p:cNvSpPr/>
          <p:nvPr/>
        </p:nvSpPr>
        <p:spPr>
          <a:xfrm>
            <a:off x="11330381" y="6448615"/>
            <a:ext cx="311785" cy="410845"/>
          </a:xfrm>
          <a:custGeom>
            <a:avLst/>
            <a:gdLst/>
            <a:ahLst/>
            <a:cxnLst/>
            <a:rect l="l" t="t" r="r" b="b"/>
            <a:pathLst>
              <a:path w="311784" h="410845">
                <a:moveTo>
                  <a:pt x="311645" y="0"/>
                </a:moveTo>
                <a:lnTo>
                  <a:pt x="0" y="0"/>
                </a:lnTo>
                <a:lnTo>
                  <a:pt x="0" y="410438"/>
                </a:lnTo>
                <a:lnTo>
                  <a:pt x="311645" y="410438"/>
                </a:lnTo>
                <a:lnTo>
                  <a:pt x="311645" y="0"/>
                </a:lnTo>
                <a:close/>
              </a:path>
            </a:pathLst>
          </a:custGeom>
          <a:solidFill>
            <a:srgbClr val="0047B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1" name="Holder 7">
            <a:extLst>
              <a:ext uri="{FF2B5EF4-FFF2-40B4-BE49-F238E27FC236}">
                <a16:creationId xmlns:a16="http://schemas.microsoft.com/office/drawing/2014/main" id="{9B132B12-5D70-C54E-9F67-574B0F5C5C27}"/>
              </a:ext>
            </a:extLst>
          </p:cNvPr>
          <p:cNvSpPr txBox="1">
            <a:spLocks/>
          </p:cNvSpPr>
          <p:nvPr/>
        </p:nvSpPr>
        <p:spPr>
          <a:xfrm>
            <a:off x="11342726" y="6520516"/>
            <a:ext cx="256044" cy="16158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it-IT"/>
            </a:defPPr>
            <a:lvl1pPr marL="0" algn="l" defTabSz="914400" rtl="0" eaLnBrk="1" latinLnBrk="0" hangingPunct="1">
              <a:defRPr sz="850" b="1" i="0" kern="1200">
                <a:solidFill>
                  <a:schemeClr val="bg1"/>
                </a:solidFill>
                <a:latin typeface="Verdana"/>
                <a:ea typeface="+mn-ea"/>
                <a:cs typeface="Verdana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8100" algn="ctr">
              <a:spcBef>
                <a:spcPts val="105"/>
              </a:spcBef>
            </a:pPr>
            <a:fld id="{81D60167-4931-47E6-BA6A-407CBD079E47}" type="slidenum">
              <a:rPr lang="it-IT" sz="1050" b="0" i="0" spc="5" smtClean="0">
                <a:latin typeface="Avenir Next LT Pro" pitchFamily="2" charset="0"/>
              </a:rPr>
              <a:pPr marL="38100" algn="ctr">
                <a:spcBef>
                  <a:spcPts val="105"/>
                </a:spcBef>
              </a:pPr>
              <a:t>‹N›</a:t>
            </a:fld>
            <a:endParaRPr lang="it-IT" sz="1050" b="0" i="0" spc="5" dirty="0">
              <a:latin typeface="Avenir Next LT Pro" pitchFamily="2" charset="0"/>
            </a:endParaRPr>
          </a:p>
        </p:txBody>
      </p:sp>
      <p:sp>
        <p:nvSpPr>
          <p:cNvPr id="63" name="Triangolo isoscele 16">
            <a:extLst>
              <a:ext uri="{FF2B5EF4-FFF2-40B4-BE49-F238E27FC236}">
                <a16:creationId xmlns:a16="http://schemas.microsoft.com/office/drawing/2014/main" id="{FC7DA696-F3EF-8A4D-AEF5-9A80CB68A22E}"/>
              </a:ext>
            </a:extLst>
          </p:cNvPr>
          <p:cNvSpPr/>
          <p:nvPr/>
        </p:nvSpPr>
        <p:spPr>
          <a:xfrm rot="10800000">
            <a:off x="303127" y="-324737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66" name="Triangolo isoscele 17">
            <a:extLst>
              <a:ext uri="{FF2B5EF4-FFF2-40B4-BE49-F238E27FC236}">
                <a16:creationId xmlns:a16="http://schemas.microsoft.com/office/drawing/2014/main" id="{A1456D50-290C-7940-B0A3-5F8B542DD060}"/>
              </a:ext>
            </a:extLst>
          </p:cNvPr>
          <p:cNvSpPr/>
          <p:nvPr/>
        </p:nvSpPr>
        <p:spPr>
          <a:xfrm rot="10800000">
            <a:off x="11756536" y="-324737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67" name="Triangolo isoscele 18">
            <a:extLst>
              <a:ext uri="{FF2B5EF4-FFF2-40B4-BE49-F238E27FC236}">
                <a16:creationId xmlns:a16="http://schemas.microsoft.com/office/drawing/2014/main" id="{FD786137-4ECB-FB4F-B231-EC2BB644716A}"/>
              </a:ext>
            </a:extLst>
          </p:cNvPr>
          <p:cNvSpPr/>
          <p:nvPr/>
        </p:nvSpPr>
        <p:spPr>
          <a:xfrm>
            <a:off x="303127" y="6950754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68" name="Triangolo isoscele 19">
            <a:extLst>
              <a:ext uri="{FF2B5EF4-FFF2-40B4-BE49-F238E27FC236}">
                <a16:creationId xmlns:a16="http://schemas.microsoft.com/office/drawing/2014/main" id="{93F9841D-4B7C-8149-B1FE-B63FA0329113}"/>
              </a:ext>
            </a:extLst>
          </p:cNvPr>
          <p:cNvSpPr/>
          <p:nvPr/>
        </p:nvSpPr>
        <p:spPr>
          <a:xfrm>
            <a:off x="11756536" y="6950754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69" name="Triangolo isoscele 20">
            <a:extLst>
              <a:ext uri="{FF2B5EF4-FFF2-40B4-BE49-F238E27FC236}">
                <a16:creationId xmlns:a16="http://schemas.microsoft.com/office/drawing/2014/main" id="{630C74CA-A41F-D847-BF39-B5E2F55B65F4}"/>
              </a:ext>
            </a:extLst>
          </p:cNvPr>
          <p:cNvSpPr/>
          <p:nvPr/>
        </p:nvSpPr>
        <p:spPr>
          <a:xfrm rot="5400000">
            <a:off x="-276040" y="885372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73" name="Triangolo isoscele 21">
            <a:extLst>
              <a:ext uri="{FF2B5EF4-FFF2-40B4-BE49-F238E27FC236}">
                <a16:creationId xmlns:a16="http://schemas.microsoft.com/office/drawing/2014/main" id="{647214B7-946E-5649-BA64-B2C601D59C7E}"/>
              </a:ext>
            </a:extLst>
          </p:cNvPr>
          <p:cNvSpPr/>
          <p:nvPr/>
        </p:nvSpPr>
        <p:spPr>
          <a:xfrm rot="5400000">
            <a:off x="-276039" y="5982836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74" name="Triangolo isoscele 22">
            <a:extLst>
              <a:ext uri="{FF2B5EF4-FFF2-40B4-BE49-F238E27FC236}">
                <a16:creationId xmlns:a16="http://schemas.microsoft.com/office/drawing/2014/main" id="{AA5E7346-4EDD-EF44-A9CD-52B62DBD01D8}"/>
              </a:ext>
            </a:extLst>
          </p:cNvPr>
          <p:cNvSpPr/>
          <p:nvPr/>
        </p:nvSpPr>
        <p:spPr>
          <a:xfrm rot="16200000">
            <a:off x="12331119" y="885372"/>
            <a:ext cx="132336" cy="261257"/>
          </a:xfrm>
          <a:prstGeom prst="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75" name="Triangolo isoscele 23">
            <a:extLst>
              <a:ext uri="{FF2B5EF4-FFF2-40B4-BE49-F238E27FC236}">
                <a16:creationId xmlns:a16="http://schemas.microsoft.com/office/drawing/2014/main" id="{FC4C19FF-9C40-8642-BD50-3A2F406E614A}"/>
              </a:ext>
            </a:extLst>
          </p:cNvPr>
          <p:cNvSpPr/>
          <p:nvPr/>
        </p:nvSpPr>
        <p:spPr>
          <a:xfrm rot="16200000">
            <a:off x="12331120" y="5982836"/>
            <a:ext cx="132336" cy="261257"/>
          </a:xfrm>
          <a:prstGeom prst="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76" name="Triangolo isoscele 31">
            <a:extLst>
              <a:ext uri="{FF2B5EF4-FFF2-40B4-BE49-F238E27FC236}">
                <a16:creationId xmlns:a16="http://schemas.microsoft.com/office/drawing/2014/main" id="{27EC9E48-1353-6144-BEB8-BBD16387549C}"/>
              </a:ext>
            </a:extLst>
          </p:cNvPr>
          <p:cNvSpPr/>
          <p:nvPr/>
        </p:nvSpPr>
        <p:spPr>
          <a:xfrm rot="10800000">
            <a:off x="303127" y="-324737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77" name="Triangolo isoscele 32">
            <a:extLst>
              <a:ext uri="{FF2B5EF4-FFF2-40B4-BE49-F238E27FC236}">
                <a16:creationId xmlns:a16="http://schemas.microsoft.com/office/drawing/2014/main" id="{FF98C1B3-2C23-D244-AEF9-970C546E2758}"/>
              </a:ext>
            </a:extLst>
          </p:cNvPr>
          <p:cNvSpPr/>
          <p:nvPr/>
        </p:nvSpPr>
        <p:spPr>
          <a:xfrm rot="10800000">
            <a:off x="11756536" y="-324737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83" name="Triangolo isoscele 33">
            <a:extLst>
              <a:ext uri="{FF2B5EF4-FFF2-40B4-BE49-F238E27FC236}">
                <a16:creationId xmlns:a16="http://schemas.microsoft.com/office/drawing/2014/main" id="{64A80733-F1BB-B24D-A22D-A742D0D9F1E1}"/>
              </a:ext>
            </a:extLst>
          </p:cNvPr>
          <p:cNvSpPr/>
          <p:nvPr/>
        </p:nvSpPr>
        <p:spPr>
          <a:xfrm>
            <a:off x="303127" y="6950754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84" name="Triangolo isoscele 34">
            <a:extLst>
              <a:ext uri="{FF2B5EF4-FFF2-40B4-BE49-F238E27FC236}">
                <a16:creationId xmlns:a16="http://schemas.microsoft.com/office/drawing/2014/main" id="{F9104502-34D6-E342-83C4-05EE6E837163}"/>
              </a:ext>
            </a:extLst>
          </p:cNvPr>
          <p:cNvSpPr/>
          <p:nvPr/>
        </p:nvSpPr>
        <p:spPr>
          <a:xfrm>
            <a:off x="11756536" y="6950754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85" name="Triangolo isoscele 35">
            <a:extLst>
              <a:ext uri="{FF2B5EF4-FFF2-40B4-BE49-F238E27FC236}">
                <a16:creationId xmlns:a16="http://schemas.microsoft.com/office/drawing/2014/main" id="{3036AF87-6A99-FC49-BA22-B792C85B81A7}"/>
              </a:ext>
            </a:extLst>
          </p:cNvPr>
          <p:cNvSpPr/>
          <p:nvPr/>
        </p:nvSpPr>
        <p:spPr>
          <a:xfrm rot="5400000">
            <a:off x="-276040" y="885372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86" name="Triangolo isoscele 36">
            <a:extLst>
              <a:ext uri="{FF2B5EF4-FFF2-40B4-BE49-F238E27FC236}">
                <a16:creationId xmlns:a16="http://schemas.microsoft.com/office/drawing/2014/main" id="{0FDF55DE-3FE7-234A-8A50-17212B8BA8ED}"/>
              </a:ext>
            </a:extLst>
          </p:cNvPr>
          <p:cNvSpPr/>
          <p:nvPr/>
        </p:nvSpPr>
        <p:spPr>
          <a:xfrm rot="5400000">
            <a:off x="-276039" y="5982836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87" name="Triangolo isoscele 37">
            <a:extLst>
              <a:ext uri="{FF2B5EF4-FFF2-40B4-BE49-F238E27FC236}">
                <a16:creationId xmlns:a16="http://schemas.microsoft.com/office/drawing/2014/main" id="{BF16E90B-BB93-5E43-9686-440A90AB65AD}"/>
              </a:ext>
            </a:extLst>
          </p:cNvPr>
          <p:cNvSpPr/>
          <p:nvPr/>
        </p:nvSpPr>
        <p:spPr>
          <a:xfrm rot="16200000">
            <a:off x="12331119" y="885372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88" name="Triangolo isoscele 38">
            <a:extLst>
              <a:ext uri="{FF2B5EF4-FFF2-40B4-BE49-F238E27FC236}">
                <a16:creationId xmlns:a16="http://schemas.microsoft.com/office/drawing/2014/main" id="{93137501-4C2E-9F49-A49F-FA2A5C123457}"/>
              </a:ext>
            </a:extLst>
          </p:cNvPr>
          <p:cNvSpPr/>
          <p:nvPr/>
        </p:nvSpPr>
        <p:spPr>
          <a:xfrm rot="16200000">
            <a:off x="12331120" y="5982836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pic>
        <p:nvPicPr>
          <p:cNvPr id="89" name="Elemento grafico 88">
            <a:extLst>
              <a:ext uri="{FF2B5EF4-FFF2-40B4-BE49-F238E27FC236}">
                <a16:creationId xmlns:a16="http://schemas.microsoft.com/office/drawing/2014/main" id="{6FAF2D5F-30F6-C340-970C-208EA90F02C5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081892" y="-5080"/>
            <a:ext cx="1560273" cy="309880"/>
          </a:xfrm>
          <a:prstGeom prst="rect">
            <a:avLst/>
          </a:prstGeom>
        </p:spPr>
      </p:pic>
      <p:sp>
        <p:nvSpPr>
          <p:cNvPr id="90" name="object 267">
            <a:extLst>
              <a:ext uri="{FF2B5EF4-FFF2-40B4-BE49-F238E27FC236}">
                <a16:creationId xmlns:a16="http://schemas.microsoft.com/office/drawing/2014/main" id="{00E22457-EC80-4A42-990A-6602829AC5BB}"/>
              </a:ext>
            </a:extLst>
          </p:cNvPr>
          <p:cNvSpPr/>
          <p:nvPr/>
        </p:nvSpPr>
        <p:spPr>
          <a:xfrm>
            <a:off x="0" y="1251482"/>
            <a:ext cx="675518" cy="45719"/>
          </a:xfrm>
          <a:custGeom>
            <a:avLst/>
            <a:gdLst/>
            <a:ahLst/>
            <a:cxnLst/>
            <a:rect l="l" t="t" r="r" b="b"/>
            <a:pathLst>
              <a:path w="657225">
                <a:moveTo>
                  <a:pt x="0" y="0"/>
                </a:moveTo>
                <a:lnTo>
                  <a:pt x="656678" y="0"/>
                </a:lnTo>
              </a:path>
            </a:pathLst>
          </a:custGeom>
          <a:ln w="76200">
            <a:solidFill>
              <a:srgbClr val="EEDC00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JhengHei UI Light" panose="020B0304030504040204" pitchFamily="34" charset="-120"/>
              <a:ea typeface="Microsoft JhengHei UI Light" panose="020B0304030504040204" pitchFamily="34" charset="-120"/>
              <a:cs typeface="+mn-cs"/>
            </a:endParaRPr>
          </a:p>
        </p:txBody>
      </p:sp>
      <p:sp>
        <p:nvSpPr>
          <p:cNvPr id="91" name="Triangolo isoscele 33">
            <a:extLst>
              <a:ext uri="{FF2B5EF4-FFF2-40B4-BE49-F238E27FC236}">
                <a16:creationId xmlns:a16="http://schemas.microsoft.com/office/drawing/2014/main" id="{31E9879F-AE2A-FA40-8B4E-1D8379E8702E}"/>
              </a:ext>
            </a:extLst>
          </p:cNvPr>
          <p:cNvSpPr/>
          <p:nvPr/>
        </p:nvSpPr>
        <p:spPr>
          <a:xfrm>
            <a:off x="5866803" y="6935433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grpSp>
        <p:nvGrpSpPr>
          <p:cNvPr id="92" name="Gruppo 91">
            <a:extLst>
              <a:ext uri="{FF2B5EF4-FFF2-40B4-BE49-F238E27FC236}">
                <a16:creationId xmlns:a16="http://schemas.microsoft.com/office/drawing/2014/main" id="{DA48A3D0-F0A4-1C44-B213-B03896BBCAE7}"/>
              </a:ext>
            </a:extLst>
          </p:cNvPr>
          <p:cNvGrpSpPr/>
          <p:nvPr/>
        </p:nvGrpSpPr>
        <p:grpSpPr>
          <a:xfrm>
            <a:off x="633940" y="1509967"/>
            <a:ext cx="756000" cy="756000"/>
            <a:chOff x="633940" y="1509967"/>
            <a:chExt cx="756000" cy="756000"/>
          </a:xfrm>
        </p:grpSpPr>
        <p:sp>
          <p:nvSpPr>
            <p:cNvPr id="93" name="object 46">
              <a:extLst>
                <a:ext uri="{FF2B5EF4-FFF2-40B4-BE49-F238E27FC236}">
                  <a16:creationId xmlns:a16="http://schemas.microsoft.com/office/drawing/2014/main" id="{EFE8E64A-0FF8-5F46-8C32-EA6B9E266262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33940" y="1509967"/>
              <a:ext cx="756000" cy="756000"/>
            </a:xfrm>
            <a:custGeom>
              <a:avLst/>
              <a:gdLst/>
              <a:ahLst/>
              <a:cxnLst/>
              <a:rect l="l" t="t" r="r" b="b"/>
              <a:pathLst>
                <a:path w="1009650" h="1009650">
                  <a:moveTo>
                    <a:pt x="1009637" y="504825"/>
                  </a:moveTo>
                  <a:lnTo>
                    <a:pt x="1007326" y="553440"/>
                  </a:lnTo>
                  <a:lnTo>
                    <a:pt x="1000534" y="600748"/>
                  </a:lnTo>
                  <a:lnTo>
                    <a:pt x="989474" y="646537"/>
                  </a:lnTo>
                  <a:lnTo>
                    <a:pt x="974355" y="690596"/>
                  </a:lnTo>
                  <a:lnTo>
                    <a:pt x="955391" y="732714"/>
                  </a:lnTo>
                  <a:lnTo>
                    <a:pt x="932791" y="772678"/>
                  </a:lnTo>
                  <a:lnTo>
                    <a:pt x="906769" y="810276"/>
                  </a:lnTo>
                  <a:lnTo>
                    <a:pt x="877535" y="845298"/>
                  </a:lnTo>
                  <a:lnTo>
                    <a:pt x="845302" y="877532"/>
                  </a:lnTo>
                  <a:lnTo>
                    <a:pt x="810279" y="906766"/>
                  </a:lnTo>
                  <a:lnTo>
                    <a:pt x="772680" y="932789"/>
                  </a:lnTo>
                  <a:lnTo>
                    <a:pt x="732715" y="955389"/>
                  </a:lnTo>
                  <a:lnTo>
                    <a:pt x="690596" y="974354"/>
                  </a:lnTo>
                  <a:lnTo>
                    <a:pt x="646535" y="989473"/>
                  </a:lnTo>
                  <a:lnTo>
                    <a:pt x="600743" y="1000534"/>
                  </a:lnTo>
                  <a:lnTo>
                    <a:pt x="553431" y="1007326"/>
                  </a:lnTo>
                  <a:lnTo>
                    <a:pt x="504812" y="1009637"/>
                  </a:lnTo>
                  <a:lnTo>
                    <a:pt x="456197" y="1007326"/>
                  </a:lnTo>
                  <a:lnTo>
                    <a:pt x="408888" y="1000534"/>
                  </a:lnTo>
                  <a:lnTo>
                    <a:pt x="363099" y="989473"/>
                  </a:lnTo>
                  <a:lnTo>
                    <a:pt x="319040" y="974354"/>
                  </a:lnTo>
                  <a:lnTo>
                    <a:pt x="276923" y="955389"/>
                  </a:lnTo>
                  <a:lnTo>
                    <a:pt x="236959" y="932789"/>
                  </a:lnTo>
                  <a:lnTo>
                    <a:pt x="199360" y="906766"/>
                  </a:lnTo>
                  <a:lnTo>
                    <a:pt x="164338" y="877532"/>
                  </a:lnTo>
                  <a:lnTo>
                    <a:pt x="132104" y="845298"/>
                  </a:lnTo>
                  <a:lnTo>
                    <a:pt x="102870" y="810276"/>
                  </a:lnTo>
                  <a:lnTo>
                    <a:pt x="76847" y="772678"/>
                  </a:lnTo>
                  <a:lnTo>
                    <a:pt x="54248" y="732714"/>
                  </a:lnTo>
                  <a:lnTo>
                    <a:pt x="35283" y="690596"/>
                  </a:lnTo>
                  <a:lnTo>
                    <a:pt x="20164" y="646537"/>
                  </a:lnTo>
                  <a:lnTo>
                    <a:pt x="9102" y="600748"/>
                  </a:lnTo>
                  <a:lnTo>
                    <a:pt x="2310" y="553440"/>
                  </a:lnTo>
                  <a:lnTo>
                    <a:pt x="0" y="504825"/>
                  </a:lnTo>
                  <a:lnTo>
                    <a:pt x="2310" y="456207"/>
                  </a:lnTo>
                  <a:lnTo>
                    <a:pt x="9102" y="408897"/>
                  </a:lnTo>
                  <a:lnTo>
                    <a:pt x="20164" y="363106"/>
                  </a:lnTo>
                  <a:lnTo>
                    <a:pt x="35283" y="319045"/>
                  </a:lnTo>
                  <a:lnTo>
                    <a:pt x="54248" y="276927"/>
                  </a:lnTo>
                  <a:lnTo>
                    <a:pt x="76847" y="236962"/>
                  </a:lnTo>
                  <a:lnTo>
                    <a:pt x="102870" y="199363"/>
                  </a:lnTo>
                  <a:lnTo>
                    <a:pt x="132104" y="164340"/>
                  </a:lnTo>
                  <a:lnTo>
                    <a:pt x="164338" y="132105"/>
                  </a:lnTo>
                  <a:lnTo>
                    <a:pt x="199360" y="102871"/>
                  </a:lnTo>
                  <a:lnTo>
                    <a:pt x="236959" y="76848"/>
                  </a:lnTo>
                  <a:lnTo>
                    <a:pt x="276923" y="54248"/>
                  </a:lnTo>
                  <a:lnTo>
                    <a:pt x="319040" y="35283"/>
                  </a:lnTo>
                  <a:lnTo>
                    <a:pt x="363099" y="20164"/>
                  </a:lnTo>
                  <a:lnTo>
                    <a:pt x="408888" y="9102"/>
                  </a:lnTo>
                  <a:lnTo>
                    <a:pt x="456197" y="2310"/>
                  </a:lnTo>
                  <a:lnTo>
                    <a:pt x="504812" y="0"/>
                  </a:lnTo>
                  <a:lnTo>
                    <a:pt x="553431" y="2310"/>
                  </a:lnTo>
                  <a:lnTo>
                    <a:pt x="600743" y="9102"/>
                  </a:lnTo>
                  <a:lnTo>
                    <a:pt x="646535" y="20164"/>
                  </a:lnTo>
                  <a:lnTo>
                    <a:pt x="690596" y="35283"/>
                  </a:lnTo>
                  <a:lnTo>
                    <a:pt x="732715" y="54248"/>
                  </a:lnTo>
                  <a:lnTo>
                    <a:pt x="772680" y="76848"/>
                  </a:lnTo>
                  <a:lnTo>
                    <a:pt x="810279" y="102871"/>
                  </a:lnTo>
                  <a:lnTo>
                    <a:pt x="845302" y="132105"/>
                  </a:lnTo>
                  <a:lnTo>
                    <a:pt x="877535" y="164340"/>
                  </a:lnTo>
                  <a:lnTo>
                    <a:pt x="906769" y="199363"/>
                  </a:lnTo>
                  <a:lnTo>
                    <a:pt x="932791" y="236962"/>
                  </a:lnTo>
                  <a:lnTo>
                    <a:pt x="955391" y="276927"/>
                  </a:lnTo>
                  <a:lnTo>
                    <a:pt x="974355" y="319045"/>
                  </a:lnTo>
                  <a:lnTo>
                    <a:pt x="989474" y="363106"/>
                  </a:lnTo>
                  <a:lnTo>
                    <a:pt x="1000534" y="408897"/>
                  </a:lnTo>
                  <a:lnTo>
                    <a:pt x="1007326" y="456207"/>
                  </a:lnTo>
                  <a:lnTo>
                    <a:pt x="1009637" y="504825"/>
                  </a:lnTo>
                  <a:close/>
                </a:path>
              </a:pathLst>
            </a:custGeom>
            <a:solidFill>
              <a:schemeClr val="bg1"/>
            </a:solidFill>
            <a:ln w="12700">
              <a:solidFill>
                <a:srgbClr val="0046BA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3B3B3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94" name="object 47">
              <a:extLst>
                <a:ext uri="{FF2B5EF4-FFF2-40B4-BE49-F238E27FC236}">
                  <a16:creationId xmlns:a16="http://schemas.microsoft.com/office/drawing/2014/main" id="{D529256A-FE0E-D14B-9F72-A8892ECBED09}"/>
                </a:ext>
              </a:extLst>
            </p:cNvPr>
            <p:cNvSpPr/>
            <p:nvPr userDrawn="1"/>
          </p:nvSpPr>
          <p:spPr>
            <a:xfrm>
              <a:off x="687940" y="1563967"/>
              <a:ext cx="648000" cy="648000"/>
            </a:xfrm>
            <a:custGeom>
              <a:avLst/>
              <a:gdLst/>
              <a:ahLst/>
              <a:cxnLst/>
              <a:rect l="l" t="t" r="r" b="b"/>
              <a:pathLst>
                <a:path w="836294" h="836294">
                  <a:moveTo>
                    <a:pt x="417944" y="0"/>
                  </a:moveTo>
                  <a:lnTo>
                    <a:pt x="369203" y="2811"/>
                  </a:lnTo>
                  <a:lnTo>
                    <a:pt x="322114" y="11038"/>
                  </a:lnTo>
                  <a:lnTo>
                    <a:pt x="276989" y="24365"/>
                  </a:lnTo>
                  <a:lnTo>
                    <a:pt x="234143" y="42480"/>
                  </a:lnTo>
                  <a:lnTo>
                    <a:pt x="193890" y="65069"/>
                  </a:lnTo>
                  <a:lnTo>
                    <a:pt x="156542" y="91818"/>
                  </a:lnTo>
                  <a:lnTo>
                    <a:pt x="122413" y="122413"/>
                  </a:lnTo>
                  <a:lnTo>
                    <a:pt x="91818" y="156542"/>
                  </a:lnTo>
                  <a:lnTo>
                    <a:pt x="65069" y="193890"/>
                  </a:lnTo>
                  <a:lnTo>
                    <a:pt x="42480" y="234143"/>
                  </a:lnTo>
                  <a:lnTo>
                    <a:pt x="24365" y="276989"/>
                  </a:lnTo>
                  <a:lnTo>
                    <a:pt x="11038" y="322114"/>
                  </a:lnTo>
                  <a:lnTo>
                    <a:pt x="2811" y="369203"/>
                  </a:lnTo>
                  <a:lnTo>
                    <a:pt x="0" y="417944"/>
                  </a:lnTo>
                  <a:lnTo>
                    <a:pt x="2811" y="466685"/>
                  </a:lnTo>
                  <a:lnTo>
                    <a:pt x="11038" y="513774"/>
                  </a:lnTo>
                  <a:lnTo>
                    <a:pt x="24365" y="558898"/>
                  </a:lnTo>
                  <a:lnTo>
                    <a:pt x="42480" y="601744"/>
                  </a:lnTo>
                  <a:lnTo>
                    <a:pt x="65069" y="641998"/>
                  </a:lnTo>
                  <a:lnTo>
                    <a:pt x="91818" y="679346"/>
                  </a:lnTo>
                  <a:lnTo>
                    <a:pt x="122413" y="713474"/>
                  </a:lnTo>
                  <a:lnTo>
                    <a:pt x="156542" y="744070"/>
                  </a:lnTo>
                  <a:lnTo>
                    <a:pt x="193890" y="770819"/>
                  </a:lnTo>
                  <a:lnTo>
                    <a:pt x="234143" y="793407"/>
                  </a:lnTo>
                  <a:lnTo>
                    <a:pt x="276989" y="811522"/>
                  </a:lnTo>
                  <a:lnTo>
                    <a:pt x="322114" y="824850"/>
                  </a:lnTo>
                  <a:lnTo>
                    <a:pt x="369203" y="833076"/>
                  </a:lnTo>
                  <a:lnTo>
                    <a:pt x="417944" y="835888"/>
                  </a:lnTo>
                  <a:lnTo>
                    <a:pt x="466685" y="833076"/>
                  </a:lnTo>
                  <a:lnTo>
                    <a:pt x="513774" y="824850"/>
                  </a:lnTo>
                  <a:lnTo>
                    <a:pt x="558898" y="811522"/>
                  </a:lnTo>
                  <a:lnTo>
                    <a:pt x="601744" y="793407"/>
                  </a:lnTo>
                  <a:lnTo>
                    <a:pt x="641998" y="770819"/>
                  </a:lnTo>
                  <a:lnTo>
                    <a:pt x="679346" y="744070"/>
                  </a:lnTo>
                  <a:lnTo>
                    <a:pt x="713474" y="713474"/>
                  </a:lnTo>
                  <a:lnTo>
                    <a:pt x="744070" y="679346"/>
                  </a:lnTo>
                  <a:lnTo>
                    <a:pt x="770819" y="641998"/>
                  </a:lnTo>
                  <a:lnTo>
                    <a:pt x="793407" y="601744"/>
                  </a:lnTo>
                  <a:lnTo>
                    <a:pt x="811522" y="558898"/>
                  </a:lnTo>
                  <a:lnTo>
                    <a:pt x="824850" y="513774"/>
                  </a:lnTo>
                  <a:lnTo>
                    <a:pt x="833076" y="466685"/>
                  </a:lnTo>
                  <a:lnTo>
                    <a:pt x="835888" y="417944"/>
                  </a:lnTo>
                  <a:lnTo>
                    <a:pt x="833076" y="369203"/>
                  </a:lnTo>
                  <a:lnTo>
                    <a:pt x="824850" y="322114"/>
                  </a:lnTo>
                  <a:lnTo>
                    <a:pt x="811522" y="276989"/>
                  </a:lnTo>
                  <a:lnTo>
                    <a:pt x="793407" y="234143"/>
                  </a:lnTo>
                  <a:lnTo>
                    <a:pt x="770819" y="193890"/>
                  </a:lnTo>
                  <a:lnTo>
                    <a:pt x="744070" y="156542"/>
                  </a:lnTo>
                  <a:lnTo>
                    <a:pt x="713474" y="122413"/>
                  </a:lnTo>
                  <a:lnTo>
                    <a:pt x="679346" y="91818"/>
                  </a:lnTo>
                  <a:lnTo>
                    <a:pt x="641998" y="65069"/>
                  </a:lnTo>
                  <a:lnTo>
                    <a:pt x="601744" y="42480"/>
                  </a:lnTo>
                  <a:lnTo>
                    <a:pt x="558898" y="24365"/>
                  </a:lnTo>
                  <a:lnTo>
                    <a:pt x="513774" y="11038"/>
                  </a:lnTo>
                  <a:lnTo>
                    <a:pt x="466685" y="2811"/>
                  </a:lnTo>
                  <a:lnTo>
                    <a:pt x="417944" y="0"/>
                  </a:lnTo>
                  <a:close/>
                </a:path>
              </a:pathLst>
            </a:custGeom>
            <a:solidFill>
              <a:srgbClr val="EEDC00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srgbClr val="3B3B3A"/>
                </a:solidFill>
                <a:effectLst/>
                <a:uLnTx/>
                <a:uFillTx/>
                <a:latin typeface="Avenir Next LT Pro" panose="020B0504020202020204" pitchFamily="34" charset="77"/>
                <a:ea typeface="+mn-ea"/>
                <a:cs typeface="+mn-cs"/>
              </a:endParaRPr>
            </a:p>
          </p:txBody>
        </p:sp>
      </p:grpSp>
      <p:cxnSp>
        <p:nvCxnSpPr>
          <p:cNvPr id="95" name="Connettore 1 46">
            <a:extLst>
              <a:ext uri="{FF2B5EF4-FFF2-40B4-BE49-F238E27FC236}">
                <a16:creationId xmlns:a16="http://schemas.microsoft.com/office/drawing/2014/main" id="{AFBB7BC9-1E88-EA41-9673-207ABF265147}"/>
              </a:ext>
            </a:extLst>
          </p:cNvPr>
          <p:cNvCxnSpPr>
            <a:cxnSpLocks/>
          </p:cNvCxnSpPr>
          <p:nvPr/>
        </p:nvCxnSpPr>
        <p:spPr>
          <a:xfrm>
            <a:off x="1395006" y="1889852"/>
            <a:ext cx="4140000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6" name="Gruppo 95">
            <a:extLst>
              <a:ext uri="{FF2B5EF4-FFF2-40B4-BE49-F238E27FC236}">
                <a16:creationId xmlns:a16="http://schemas.microsoft.com/office/drawing/2014/main" id="{DEA6A261-DB18-EF4E-85A1-7C98903C9504}"/>
              </a:ext>
            </a:extLst>
          </p:cNvPr>
          <p:cNvGrpSpPr/>
          <p:nvPr/>
        </p:nvGrpSpPr>
        <p:grpSpPr>
          <a:xfrm>
            <a:off x="629053" y="4156346"/>
            <a:ext cx="756000" cy="756000"/>
            <a:chOff x="633940" y="1509967"/>
            <a:chExt cx="756000" cy="756000"/>
          </a:xfrm>
        </p:grpSpPr>
        <p:sp>
          <p:nvSpPr>
            <p:cNvPr id="97" name="object 46">
              <a:extLst>
                <a:ext uri="{FF2B5EF4-FFF2-40B4-BE49-F238E27FC236}">
                  <a16:creationId xmlns:a16="http://schemas.microsoft.com/office/drawing/2014/main" id="{42CE056C-FC76-1B47-8C71-20178CC46481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633940" y="1509967"/>
              <a:ext cx="756000" cy="756000"/>
            </a:xfrm>
            <a:custGeom>
              <a:avLst/>
              <a:gdLst/>
              <a:ahLst/>
              <a:cxnLst/>
              <a:rect l="l" t="t" r="r" b="b"/>
              <a:pathLst>
                <a:path w="1009650" h="1009650">
                  <a:moveTo>
                    <a:pt x="1009637" y="504825"/>
                  </a:moveTo>
                  <a:lnTo>
                    <a:pt x="1007326" y="553440"/>
                  </a:lnTo>
                  <a:lnTo>
                    <a:pt x="1000534" y="600748"/>
                  </a:lnTo>
                  <a:lnTo>
                    <a:pt x="989474" y="646537"/>
                  </a:lnTo>
                  <a:lnTo>
                    <a:pt x="974355" y="690596"/>
                  </a:lnTo>
                  <a:lnTo>
                    <a:pt x="955391" y="732714"/>
                  </a:lnTo>
                  <a:lnTo>
                    <a:pt x="932791" y="772678"/>
                  </a:lnTo>
                  <a:lnTo>
                    <a:pt x="906769" y="810276"/>
                  </a:lnTo>
                  <a:lnTo>
                    <a:pt x="877535" y="845298"/>
                  </a:lnTo>
                  <a:lnTo>
                    <a:pt x="845302" y="877532"/>
                  </a:lnTo>
                  <a:lnTo>
                    <a:pt x="810279" y="906766"/>
                  </a:lnTo>
                  <a:lnTo>
                    <a:pt x="772680" y="932789"/>
                  </a:lnTo>
                  <a:lnTo>
                    <a:pt x="732715" y="955389"/>
                  </a:lnTo>
                  <a:lnTo>
                    <a:pt x="690596" y="974354"/>
                  </a:lnTo>
                  <a:lnTo>
                    <a:pt x="646535" y="989473"/>
                  </a:lnTo>
                  <a:lnTo>
                    <a:pt x="600743" y="1000534"/>
                  </a:lnTo>
                  <a:lnTo>
                    <a:pt x="553431" y="1007326"/>
                  </a:lnTo>
                  <a:lnTo>
                    <a:pt x="504812" y="1009637"/>
                  </a:lnTo>
                  <a:lnTo>
                    <a:pt x="456197" y="1007326"/>
                  </a:lnTo>
                  <a:lnTo>
                    <a:pt x="408888" y="1000534"/>
                  </a:lnTo>
                  <a:lnTo>
                    <a:pt x="363099" y="989473"/>
                  </a:lnTo>
                  <a:lnTo>
                    <a:pt x="319040" y="974354"/>
                  </a:lnTo>
                  <a:lnTo>
                    <a:pt x="276923" y="955389"/>
                  </a:lnTo>
                  <a:lnTo>
                    <a:pt x="236959" y="932789"/>
                  </a:lnTo>
                  <a:lnTo>
                    <a:pt x="199360" y="906766"/>
                  </a:lnTo>
                  <a:lnTo>
                    <a:pt x="164338" y="877532"/>
                  </a:lnTo>
                  <a:lnTo>
                    <a:pt x="132104" y="845298"/>
                  </a:lnTo>
                  <a:lnTo>
                    <a:pt x="102870" y="810276"/>
                  </a:lnTo>
                  <a:lnTo>
                    <a:pt x="76847" y="772678"/>
                  </a:lnTo>
                  <a:lnTo>
                    <a:pt x="54248" y="732714"/>
                  </a:lnTo>
                  <a:lnTo>
                    <a:pt x="35283" y="690596"/>
                  </a:lnTo>
                  <a:lnTo>
                    <a:pt x="20164" y="646537"/>
                  </a:lnTo>
                  <a:lnTo>
                    <a:pt x="9102" y="600748"/>
                  </a:lnTo>
                  <a:lnTo>
                    <a:pt x="2310" y="553440"/>
                  </a:lnTo>
                  <a:lnTo>
                    <a:pt x="0" y="504825"/>
                  </a:lnTo>
                  <a:lnTo>
                    <a:pt x="2310" y="456207"/>
                  </a:lnTo>
                  <a:lnTo>
                    <a:pt x="9102" y="408897"/>
                  </a:lnTo>
                  <a:lnTo>
                    <a:pt x="20164" y="363106"/>
                  </a:lnTo>
                  <a:lnTo>
                    <a:pt x="35283" y="319045"/>
                  </a:lnTo>
                  <a:lnTo>
                    <a:pt x="54248" y="276927"/>
                  </a:lnTo>
                  <a:lnTo>
                    <a:pt x="76847" y="236962"/>
                  </a:lnTo>
                  <a:lnTo>
                    <a:pt x="102870" y="199363"/>
                  </a:lnTo>
                  <a:lnTo>
                    <a:pt x="132104" y="164340"/>
                  </a:lnTo>
                  <a:lnTo>
                    <a:pt x="164338" y="132105"/>
                  </a:lnTo>
                  <a:lnTo>
                    <a:pt x="199360" y="102871"/>
                  </a:lnTo>
                  <a:lnTo>
                    <a:pt x="236959" y="76848"/>
                  </a:lnTo>
                  <a:lnTo>
                    <a:pt x="276923" y="54248"/>
                  </a:lnTo>
                  <a:lnTo>
                    <a:pt x="319040" y="35283"/>
                  </a:lnTo>
                  <a:lnTo>
                    <a:pt x="363099" y="20164"/>
                  </a:lnTo>
                  <a:lnTo>
                    <a:pt x="408888" y="9102"/>
                  </a:lnTo>
                  <a:lnTo>
                    <a:pt x="456197" y="2310"/>
                  </a:lnTo>
                  <a:lnTo>
                    <a:pt x="504812" y="0"/>
                  </a:lnTo>
                  <a:lnTo>
                    <a:pt x="553431" y="2310"/>
                  </a:lnTo>
                  <a:lnTo>
                    <a:pt x="600743" y="9102"/>
                  </a:lnTo>
                  <a:lnTo>
                    <a:pt x="646535" y="20164"/>
                  </a:lnTo>
                  <a:lnTo>
                    <a:pt x="690596" y="35283"/>
                  </a:lnTo>
                  <a:lnTo>
                    <a:pt x="732715" y="54248"/>
                  </a:lnTo>
                  <a:lnTo>
                    <a:pt x="772680" y="76848"/>
                  </a:lnTo>
                  <a:lnTo>
                    <a:pt x="810279" y="102871"/>
                  </a:lnTo>
                  <a:lnTo>
                    <a:pt x="845302" y="132105"/>
                  </a:lnTo>
                  <a:lnTo>
                    <a:pt x="877535" y="164340"/>
                  </a:lnTo>
                  <a:lnTo>
                    <a:pt x="906769" y="199363"/>
                  </a:lnTo>
                  <a:lnTo>
                    <a:pt x="932791" y="236962"/>
                  </a:lnTo>
                  <a:lnTo>
                    <a:pt x="955391" y="276927"/>
                  </a:lnTo>
                  <a:lnTo>
                    <a:pt x="974355" y="319045"/>
                  </a:lnTo>
                  <a:lnTo>
                    <a:pt x="989474" y="363106"/>
                  </a:lnTo>
                  <a:lnTo>
                    <a:pt x="1000534" y="408897"/>
                  </a:lnTo>
                  <a:lnTo>
                    <a:pt x="1007326" y="456207"/>
                  </a:lnTo>
                  <a:lnTo>
                    <a:pt x="1009637" y="504825"/>
                  </a:lnTo>
                  <a:close/>
                </a:path>
              </a:pathLst>
            </a:custGeom>
            <a:solidFill>
              <a:schemeClr val="bg1"/>
            </a:solidFill>
            <a:ln w="12700">
              <a:solidFill>
                <a:srgbClr val="0046BA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3B3B3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98" name="object 47">
              <a:extLst>
                <a:ext uri="{FF2B5EF4-FFF2-40B4-BE49-F238E27FC236}">
                  <a16:creationId xmlns:a16="http://schemas.microsoft.com/office/drawing/2014/main" id="{A78B83A3-A3D7-FC4A-861D-D19057335434}"/>
                </a:ext>
              </a:extLst>
            </p:cNvPr>
            <p:cNvSpPr/>
            <p:nvPr userDrawn="1"/>
          </p:nvSpPr>
          <p:spPr>
            <a:xfrm>
              <a:off x="687940" y="1563967"/>
              <a:ext cx="648000" cy="648000"/>
            </a:xfrm>
            <a:custGeom>
              <a:avLst/>
              <a:gdLst/>
              <a:ahLst/>
              <a:cxnLst/>
              <a:rect l="l" t="t" r="r" b="b"/>
              <a:pathLst>
                <a:path w="836294" h="836294">
                  <a:moveTo>
                    <a:pt x="417944" y="0"/>
                  </a:moveTo>
                  <a:lnTo>
                    <a:pt x="369203" y="2811"/>
                  </a:lnTo>
                  <a:lnTo>
                    <a:pt x="322114" y="11038"/>
                  </a:lnTo>
                  <a:lnTo>
                    <a:pt x="276989" y="24365"/>
                  </a:lnTo>
                  <a:lnTo>
                    <a:pt x="234143" y="42480"/>
                  </a:lnTo>
                  <a:lnTo>
                    <a:pt x="193890" y="65069"/>
                  </a:lnTo>
                  <a:lnTo>
                    <a:pt x="156542" y="91818"/>
                  </a:lnTo>
                  <a:lnTo>
                    <a:pt x="122413" y="122413"/>
                  </a:lnTo>
                  <a:lnTo>
                    <a:pt x="91818" y="156542"/>
                  </a:lnTo>
                  <a:lnTo>
                    <a:pt x="65069" y="193890"/>
                  </a:lnTo>
                  <a:lnTo>
                    <a:pt x="42480" y="234143"/>
                  </a:lnTo>
                  <a:lnTo>
                    <a:pt x="24365" y="276989"/>
                  </a:lnTo>
                  <a:lnTo>
                    <a:pt x="11038" y="322114"/>
                  </a:lnTo>
                  <a:lnTo>
                    <a:pt x="2811" y="369203"/>
                  </a:lnTo>
                  <a:lnTo>
                    <a:pt x="0" y="417944"/>
                  </a:lnTo>
                  <a:lnTo>
                    <a:pt x="2811" y="466685"/>
                  </a:lnTo>
                  <a:lnTo>
                    <a:pt x="11038" y="513774"/>
                  </a:lnTo>
                  <a:lnTo>
                    <a:pt x="24365" y="558898"/>
                  </a:lnTo>
                  <a:lnTo>
                    <a:pt x="42480" y="601744"/>
                  </a:lnTo>
                  <a:lnTo>
                    <a:pt x="65069" y="641998"/>
                  </a:lnTo>
                  <a:lnTo>
                    <a:pt x="91818" y="679346"/>
                  </a:lnTo>
                  <a:lnTo>
                    <a:pt x="122413" y="713474"/>
                  </a:lnTo>
                  <a:lnTo>
                    <a:pt x="156542" y="744070"/>
                  </a:lnTo>
                  <a:lnTo>
                    <a:pt x="193890" y="770819"/>
                  </a:lnTo>
                  <a:lnTo>
                    <a:pt x="234143" y="793407"/>
                  </a:lnTo>
                  <a:lnTo>
                    <a:pt x="276989" y="811522"/>
                  </a:lnTo>
                  <a:lnTo>
                    <a:pt x="322114" y="824850"/>
                  </a:lnTo>
                  <a:lnTo>
                    <a:pt x="369203" y="833076"/>
                  </a:lnTo>
                  <a:lnTo>
                    <a:pt x="417944" y="835888"/>
                  </a:lnTo>
                  <a:lnTo>
                    <a:pt x="466685" y="833076"/>
                  </a:lnTo>
                  <a:lnTo>
                    <a:pt x="513774" y="824850"/>
                  </a:lnTo>
                  <a:lnTo>
                    <a:pt x="558898" y="811522"/>
                  </a:lnTo>
                  <a:lnTo>
                    <a:pt x="601744" y="793407"/>
                  </a:lnTo>
                  <a:lnTo>
                    <a:pt x="641998" y="770819"/>
                  </a:lnTo>
                  <a:lnTo>
                    <a:pt x="679346" y="744070"/>
                  </a:lnTo>
                  <a:lnTo>
                    <a:pt x="713474" y="713474"/>
                  </a:lnTo>
                  <a:lnTo>
                    <a:pt x="744070" y="679346"/>
                  </a:lnTo>
                  <a:lnTo>
                    <a:pt x="770819" y="641998"/>
                  </a:lnTo>
                  <a:lnTo>
                    <a:pt x="793407" y="601744"/>
                  </a:lnTo>
                  <a:lnTo>
                    <a:pt x="811522" y="558898"/>
                  </a:lnTo>
                  <a:lnTo>
                    <a:pt x="824850" y="513774"/>
                  </a:lnTo>
                  <a:lnTo>
                    <a:pt x="833076" y="466685"/>
                  </a:lnTo>
                  <a:lnTo>
                    <a:pt x="835888" y="417944"/>
                  </a:lnTo>
                  <a:lnTo>
                    <a:pt x="833076" y="369203"/>
                  </a:lnTo>
                  <a:lnTo>
                    <a:pt x="824850" y="322114"/>
                  </a:lnTo>
                  <a:lnTo>
                    <a:pt x="811522" y="276989"/>
                  </a:lnTo>
                  <a:lnTo>
                    <a:pt x="793407" y="234143"/>
                  </a:lnTo>
                  <a:lnTo>
                    <a:pt x="770819" y="193890"/>
                  </a:lnTo>
                  <a:lnTo>
                    <a:pt x="744070" y="156542"/>
                  </a:lnTo>
                  <a:lnTo>
                    <a:pt x="713474" y="122413"/>
                  </a:lnTo>
                  <a:lnTo>
                    <a:pt x="679346" y="91818"/>
                  </a:lnTo>
                  <a:lnTo>
                    <a:pt x="641998" y="65069"/>
                  </a:lnTo>
                  <a:lnTo>
                    <a:pt x="601744" y="42480"/>
                  </a:lnTo>
                  <a:lnTo>
                    <a:pt x="558898" y="24365"/>
                  </a:lnTo>
                  <a:lnTo>
                    <a:pt x="513774" y="11038"/>
                  </a:lnTo>
                  <a:lnTo>
                    <a:pt x="466685" y="2811"/>
                  </a:lnTo>
                  <a:lnTo>
                    <a:pt x="417944" y="0"/>
                  </a:lnTo>
                  <a:close/>
                </a:path>
              </a:pathLst>
            </a:custGeom>
            <a:solidFill>
              <a:srgbClr val="EEDC00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srgbClr val="3B3B3A"/>
                </a:solidFill>
                <a:effectLst/>
                <a:uLnTx/>
                <a:uFillTx/>
                <a:latin typeface="Avenir Next LT Pro" panose="020B0504020202020204" pitchFamily="34" charset="77"/>
                <a:ea typeface="+mn-ea"/>
                <a:cs typeface="+mn-cs"/>
              </a:endParaRPr>
            </a:p>
          </p:txBody>
        </p:sp>
      </p:grpSp>
      <p:cxnSp>
        <p:nvCxnSpPr>
          <p:cNvPr id="99" name="Connettore 1 46">
            <a:extLst>
              <a:ext uri="{FF2B5EF4-FFF2-40B4-BE49-F238E27FC236}">
                <a16:creationId xmlns:a16="http://schemas.microsoft.com/office/drawing/2014/main" id="{85E351B9-D8B5-8143-B03E-E11B9FEEE420}"/>
              </a:ext>
            </a:extLst>
          </p:cNvPr>
          <p:cNvCxnSpPr>
            <a:cxnSpLocks/>
          </p:cNvCxnSpPr>
          <p:nvPr/>
        </p:nvCxnSpPr>
        <p:spPr>
          <a:xfrm>
            <a:off x="1390119" y="4536231"/>
            <a:ext cx="4140000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0" name="Gruppo 99">
            <a:extLst>
              <a:ext uri="{FF2B5EF4-FFF2-40B4-BE49-F238E27FC236}">
                <a16:creationId xmlns:a16="http://schemas.microsoft.com/office/drawing/2014/main" id="{40560C1F-1D51-E141-BC8C-3DB95D8954B9}"/>
              </a:ext>
            </a:extLst>
          </p:cNvPr>
          <p:cNvGrpSpPr/>
          <p:nvPr/>
        </p:nvGrpSpPr>
        <p:grpSpPr>
          <a:xfrm>
            <a:off x="10882811" y="4158231"/>
            <a:ext cx="756000" cy="756000"/>
            <a:chOff x="10885138" y="1455967"/>
            <a:chExt cx="756000" cy="756000"/>
          </a:xfrm>
        </p:grpSpPr>
        <p:sp>
          <p:nvSpPr>
            <p:cNvPr id="101" name="object 46">
              <a:extLst>
                <a:ext uri="{FF2B5EF4-FFF2-40B4-BE49-F238E27FC236}">
                  <a16:creationId xmlns:a16="http://schemas.microsoft.com/office/drawing/2014/main" id="{5CD7FD47-DAFE-8A47-BD71-BDCF1E628934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885138" y="1455967"/>
              <a:ext cx="756000" cy="756000"/>
            </a:xfrm>
            <a:custGeom>
              <a:avLst/>
              <a:gdLst/>
              <a:ahLst/>
              <a:cxnLst/>
              <a:rect l="l" t="t" r="r" b="b"/>
              <a:pathLst>
                <a:path w="1009650" h="1009650">
                  <a:moveTo>
                    <a:pt x="1009637" y="504825"/>
                  </a:moveTo>
                  <a:lnTo>
                    <a:pt x="1007326" y="553440"/>
                  </a:lnTo>
                  <a:lnTo>
                    <a:pt x="1000534" y="600748"/>
                  </a:lnTo>
                  <a:lnTo>
                    <a:pt x="989474" y="646537"/>
                  </a:lnTo>
                  <a:lnTo>
                    <a:pt x="974355" y="690596"/>
                  </a:lnTo>
                  <a:lnTo>
                    <a:pt x="955391" y="732714"/>
                  </a:lnTo>
                  <a:lnTo>
                    <a:pt x="932791" y="772678"/>
                  </a:lnTo>
                  <a:lnTo>
                    <a:pt x="906769" y="810276"/>
                  </a:lnTo>
                  <a:lnTo>
                    <a:pt x="877535" y="845298"/>
                  </a:lnTo>
                  <a:lnTo>
                    <a:pt x="845302" y="877532"/>
                  </a:lnTo>
                  <a:lnTo>
                    <a:pt x="810279" y="906766"/>
                  </a:lnTo>
                  <a:lnTo>
                    <a:pt x="772680" y="932789"/>
                  </a:lnTo>
                  <a:lnTo>
                    <a:pt x="732715" y="955389"/>
                  </a:lnTo>
                  <a:lnTo>
                    <a:pt x="690596" y="974354"/>
                  </a:lnTo>
                  <a:lnTo>
                    <a:pt x="646535" y="989473"/>
                  </a:lnTo>
                  <a:lnTo>
                    <a:pt x="600743" y="1000534"/>
                  </a:lnTo>
                  <a:lnTo>
                    <a:pt x="553431" y="1007326"/>
                  </a:lnTo>
                  <a:lnTo>
                    <a:pt x="504812" y="1009637"/>
                  </a:lnTo>
                  <a:lnTo>
                    <a:pt x="456197" y="1007326"/>
                  </a:lnTo>
                  <a:lnTo>
                    <a:pt x="408888" y="1000534"/>
                  </a:lnTo>
                  <a:lnTo>
                    <a:pt x="363099" y="989473"/>
                  </a:lnTo>
                  <a:lnTo>
                    <a:pt x="319040" y="974354"/>
                  </a:lnTo>
                  <a:lnTo>
                    <a:pt x="276923" y="955389"/>
                  </a:lnTo>
                  <a:lnTo>
                    <a:pt x="236959" y="932789"/>
                  </a:lnTo>
                  <a:lnTo>
                    <a:pt x="199360" y="906766"/>
                  </a:lnTo>
                  <a:lnTo>
                    <a:pt x="164338" y="877532"/>
                  </a:lnTo>
                  <a:lnTo>
                    <a:pt x="132104" y="845298"/>
                  </a:lnTo>
                  <a:lnTo>
                    <a:pt x="102870" y="810276"/>
                  </a:lnTo>
                  <a:lnTo>
                    <a:pt x="76847" y="772678"/>
                  </a:lnTo>
                  <a:lnTo>
                    <a:pt x="54248" y="732714"/>
                  </a:lnTo>
                  <a:lnTo>
                    <a:pt x="35283" y="690596"/>
                  </a:lnTo>
                  <a:lnTo>
                    <a:pt x="20164" y="646537"/>
                  </a:lnTo>
                  <a:lnTo>
                    <a:pt x="9102" y="600748"/>
                  </a:lnTo>
                  <a:lnTo>
                    <a:pt x="2310" y="553440"/>
                  </a:lnTo>
                  <a:lnTo>
                    <a:pt x="0" y="504825"/>
                  </a:lnTo>
                  <a:lnTo>
                    <a:pt x="2310" y="456207"/>
                  </a:lnTo>
                  <a:lnTo>
                    <a:pt x="9102" y="408897"/>
                  </a:lnTo>
                  <a:lnTo>
                    <a:pt x="20164" y="363106"/>
                  </a:lnTo>
                  <a:lnTo>
                    <a:pt x="35283" y="319045"/>
                  </a:lnTo>
                  <a:lnTo>
                    <a:pt x="54248" y="276927"/>
                  </a:lnTo>
                  <a:lnTo>
                    <a:pt x="76847" y="236962"/>
                  </a:lnTo>
                  <a:lnTo>
                    <a:pt x="102870" y="199363"/>
                  </a:lnTo>
                  <a:lnTo>
                    <a:pt x="132104" y="164340"/>
                  </a:lnTo>
                  <a:lnTo>
                    <a:pt x="164338" y="132105"/>
                  </a:lnTo>
                  <a:lnTo>
                    <a:pt x="199360" y="102871"/>
                  </a:lnTo>
                  <a:lnTo>
                    <a:pt x="236959" y="76848"/>
                  </a:lnTo>
                  <a:lnTo>
                    <a:pt x="276923" y="54248"/>
                  </a:lnTo>
                  <a:lnTo>
                    <a:pt x="319040" y="35283"/>
                  </a:lnTo>
                  <a:lnTo>
                    <a:pt x="363099" y="20164"/>
                  </a:lnTo>
                  <a:lnTo>
                    <a:pt x="408888" y="9102"/>
                  </a:lnTo>
                  <a:lnTo>
                    <a:pt x="456197" y="2310"/>
                  </a:lnTo>
                  <a:lnTo>
                    <a:pt x="504812" y="0"/>
                  </a:lnTo>
                  <a:lnTo>
                    <a:pt x="553431" y="2310"/>
                  </a:lnTo>
                  <a:lnTo>
                    <a:pt x="600743" y="9102"/>
                  </a:lnTo>
                  <a:lnTo>
                    <a:pt x="646535" y="20164"/>
                  </a:lnTo>
                  <a:lnTo>
                    <a:pt x="690596" y="35283"/>
                  </a:lnTo>
                  <a:lnTo>
                    <a:pt x="732715" y="54248"/>
                  </a:lnTo>
                  <a:lnTo>
                    <a:pt x="772680" y="76848"/>
                  </a:lnTo>
                  <a:lnTo>
                    <a:pt x="810279" y="102871"/>
                  </a:lnTo>
                  <a:lnTo>
                    <a:pt x="845302" y="132105"/>
                  </a:lnTo>
                  <a:lnTo>
                    <a:pt x="877535" y="164340"/>
                  </a:lnTo>
                  <a:lnTo>
                    <a:pt x="906769" y="199363"/>
                  </a:lnTo>
                  <a:lnTo>
                    <a:pt x="932791" y="236962"/>
                  </a:lnTo>
                  <a:lnTo>
                    <a:pt x="955391" y="276927"/>
                  </a:lnTo>
                  <a:lnTo>
                    <a:pt x="974355" y="319045"/>
                  </a:lnTo>
                  <a:lnTo>
                    <a:pt x="989474" y="363106"/>
                  </a:lnTo>
                  <a:lnTo>
                    <a:pt x="1000534" y="408897"/>
                  </a:lnTo>
                  <a:lnTo>
                    <a:pt x="1007326" y="456207"/>
                  </a:lnTo>
                  <a:lnTo>
                    <a:pt x="1009637" y="504825"/>
                  </a:lnTo>
                  <a:close/>
                </a:path>
              </a:pathLst>
            </a:custGeom>
            <a:solidFill>
              <a:schemeClr val="bg1"/>
            </a:solidFill>
            <a:ln w="12700">
              <a:solidFill>
                <a:srgbClr val="0046BA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3B3B3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02" name="object 47">
              <a:extLst>
                <a:ext uri="{FF2B5EF4-FFF2-40B4-BE49-F238E27FC236}">
                  <a16:creationId xmlns:a16="http://schemas.microsoft.com/office/drawing/2014/main" id="{855F4936-5D13-3C4E-B582-97E7048CE3CB}"/>
                </a:ext>
              </a:extLst>
            </p:cNvPr>
            <p:cNvSpPr/>
            <p:nvPr userDrawn="1"/>
          </p:nvSpPr>
          <p:spPr>
            <a:xfrm>
              <a:off x="10939138" y="1509967"/>
              <a:ext cx="648000" cy="648000"/>
            </a:xfrm>
            <a:custGeom>
              <a:avLst/>
              <a:gdLst/>
              <a:ahLst/>
              <a:cxnLst/>
              <a:rect l="l" t="t" r="r" b="b"/>
              <a:pathLst>
                <a:path w="836294" h="836294">
                  <a:moveTo>
                    <a:pt x="417944" y="0"/>
                  </a:moveTo>
                  <a:lnTo>
                    <a:pt x="369203" y="2811"/>
                  </a:lnTo>
                  <a:lnTo>
                    <a:pt x="322114" y="11038"/>
                  </a:lnTo>
                  <a:lnTo>
                    <a:pt x="276989" y="24365"/>
                  </a:lnTo>
                  <a:lnTo>
                    <a:pt x="234143" y="42480"/>
                  </a:lnTo>
                  <a:lnTo>
                    <a:pt x="193890" y="65069"/>
                  </a:lnTo>
                  <a:lnTo>
                    <a:pt x="156542" y="91818"/>
                  </a:lnTo>
                  <a:lnTo>
                    <a:pt x="122413" y="122413"/>
                  </a:lnTo>
                  <a:lnTo>
                    <a:pt x="91818" y="156542"/>
                  </a:lnTo>
                  <a:lnTo>
                    <a:pt x="65069" y="193890"/>
                  </a:lnTo>
                  <a:lnTo>
                    <a:pt x="42480" y="234143"/>
                  </a:lnTo>
                  <a:lnTo>
                    <a:pt x="24365" y="276989"/>
                  </a:lnTo>
                  <a:lnTo>
                    <a:pt x="11038" y="322114"/>
                  </a:lnTo>
                  <a:lnTo>
                    <a:pt x="2811" y="369203"/>
                  </a:lnTo>
                  <a:lnTo>
                    <a:pt x="0" y="417944"/>
                  </a:lnTo>
                  <a:lnTo>
                    <a:pt x="2811" y="466685"/>
                  </a:lnTo>
                  <a:lnTo>
                    <a:pt x="11038" y="513774"/>
                  </a:lnTo>
                  <a:lnTo>
                    <a:pt x="24365" y="558898"/>
                  </a:lnTo>
                  <a:lnTo>
                    <a:pt x="42480" y="601744"/>
                  </a:lnTo>
                  <a:lnTo>
                    <a:pt x="65069" y="641998"/>
                  </a:lnTo>
                  <a:lnTo>
                    <a:pt x="91818" y="679346"/>
                  </a:lnTo>
                  <a:lnTo>
                    <a:pt x="122413" y="713474"/>
                  </a:lnTo>
                  <a:lnTo>
                    <a:pt x="156542" y="744070"/>
                  </a:lnTo>
                  <a:lnTo>
                    <a:pt x="193890" y="770819"/>
                  </a:lnTo>
                  <a:lnTo>
                    <a:pt x="234143" y="793407"/>
                  </a:lnTo>
                  <a:lnTo>
                    <a:pt x="276989" y="811522"/>
                  </a:lnTo>
                  <a:lnTo>
                    <a:pt x="322114" y="824850"/>
                  </a:lnTo>
                  <a:lnTo>
                    <a:pt x="369203" y="833076"/>
                  </a:lnTo>
                  <a:lnTo>
                    <a:pt x="417944" y="835888"/>
                  </a:lnTo>
                  <a:lnTo>
                    <a:pt x="466685" y="833076"/>
                  </a:lnTo>
                  <a:lnTo>
                    <a:pt x="513774" y="824850"/>
                  </a:lnTo>
                  <a:lnTo>
                    <a:pt x="558898" y="811522"/>
                  </a:lnTo>
                  <a:lnTo>
                    <a:pt x="601744" y="793407"/>
                  </a:lnTo>
                  <a:lnTo>
                    <a:pt x="641998" y="770819"/>
                  </a:lnTo>
                  <a:lnTo>
                    <a:pt x="679346" y="744070"/>
                  </a:lnTo>
                  <a:lnTo>
                    <a:pt x="713474" y="713474"/>
                  </a:lnTo>
                  <a:lnTo>
                    <a:pt x="744070" y="679346"/>
                  </a:lnTo>
                  <a:lnTo>
                    <a:pt x="770819" y="641998"/>
                  </a:lnTo>
                  <a:lnTo>
                    <a:pt x="793407" y="601744"/>
                  </a:lnTo>
                  <a:lnTo>
                    <a:pt x="811522" y="558898"/>
                  </a:lnTo>
                  <a:lnTo>
                    <a:pt x="824850" y="513774"/>
                  </a:lnTo>
                  <a:lnTo>
                    <a:pt x="833076" y="466685"/>
                  </a:lnTo>
                  <a:lnTo>
                    <a:pt x="835888" y="417944"/>
                  </a:lnTo>
                  <a:lnTo>
                    <a:pt x="833076" y="369203"/>
                  </a:lnTo>
                  <a:lnTo>
                    <a:pt x="824850" y="322114"/>
                  </a:lnTo>
                  <a:lnTo>
                    <a:pt x="811522" y="276989"/>
                  </a:lnTo>
                  <a:lnTo>
                    <a:pt x="793407" y="234143"/>
                  </a:lnTo>
                  <a:lnTo>
                    <a:pt x="770819" y="193890"/>
                  </a:lnTo>
                  <a:lnTo>
                    <a:pt x="744070" y="156542"/>
                  </a:lnTo>
                  <a:lnTo>
                    <a:pt x="713474" y="122413"/>
                  </a:lnTo>
                  <a:lnTo>
                    <a:pt x="679346" y="91818"/>
                  </a:lnTo>
                  <a:lnTo>
                    <a:pt x="641998" y="65069"/>
                  </a:lnTo>
                  <a:lnTo>
                    <a:pt x="601744" y="42480"/>
                  </a:lnTo>
                  <a:lnTo>
                    <a:pt x="558898" y="24365"/>
                  </a:lnTo>
                  <a:lnTo>
                    <a:pt x="513774" y="11038"/>
                  </a:lnTo>
                  <a:lnTo>
                    <a:pt x="466685" y="2811"/>
                  </a:lnTo>
                  <a:lnTo>
                    <a:pt x="417944" y="0"/>
                  </a:lnTo>
                  <a:close/>
                </a:path>
              </a:pathLst>
            </a:custGeom>
            <a:solidFill>
              <a:srgbClr val="EEDC00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srgbClr val="3B3B3A"/>
                </a:solidFill>
                <a:effectLst/>
                <a:uLnTx/>
                <a:uFillTx/>
                <a:latin typeface="Avenir Next LT Pro" panose="020B0504020202020204" pitchFamily="34" charset="77"/>
                <a:ea typeface="+mn-ea"/>
                <a:cs typeface="+mn-cs"/>
              </a:endParaRPr>
            </a:p>
          </p:txBody>
        </p:sp>
      </p:grpSp>
      <p:cxnSp>
        <p:nvCxnSpPr>
          <p:cNvPr id="103" name="Connettore 1 46">
            <a:extLst>
              <a:ext uri="{FF2B5EF4-FFF2-40B4-BE49-F238E27FC236}">
                <a16:creationId xmlns:a16="http://schemas.microsoft.com/office/drawing/2014/main" id="{2D27D56D-A4BD-4B49-BE98-50C503612799}"/>
              </a:ext>
            </a:extLst>
          </p:cNvPr>
          <p:cNvCxnSpPr>
            <a:cxnSpLocks/>
          </p:cNvCxnSpPr>
          <p:nvPr/>
        </p:nvCxnSpPr>
        <p:spPr>
          <a:xfrm>
            <a:off x="6727582" y="4539052"/>
            <a:ext cx="4140000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4" name="Gruppo 103">
            <a:extLst>
              <a:ext uri="{FF2B5EF4-FFF2-40B4-BE49-F238E27FC236}">
                <a16:creationId xmlns:a16="http://schemas.microsoft.com/office/drawing/2014/main" id="{F540F1F4-CC1D-2C4A-B33D-F596079DC06C}"/>
              </a:ext>
            </a:extLst>
          </p:cNvPr>
          <p:cNvGrpSpPr/>
          <p:nvPr/>
        </p:nvGrpSpPr>
        <p:grpSpPr>
          <a:xfrm>
            <a:off x="10882811" y="1509967"/>
            <a:ext cx="756000" cy="756000"/>
            <a:chOff x="10885138" y="1455967"/>
            <a:chExt cx="756000" cy="756000"/>
          </a:xfrm>
        </p:grpSpPr>
        <p:sp>
          <p:nvSpPr>
            <p:cNvPr id="105" name="object 46">
              <a:extLst>
                <a:ext uri="{FF2B5EF4-FFF2-40B4-BE49-F238E27FC236}">
                  <a16:creationId xmlns:a16="http://schemas.microsoft.com/office/drawing/2014/main" id="{689FD21B-784E-6548-AAB8-1F7354AE34F7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10885138" y="1455967"/>
              <a:ext cx="756000" cy="756000"/>
            </a:xfrm>
            <a:custGeom>
              <a:avLst/>
              <a:gdLst/>
              <a:ahLst/>
              <a:cxnLst/>
              <a:rect l="l" t="t" r="r" b="b"/>
              <a:pathLst>
                <a:path w="1009650" h="1009650">
                  <a:moveTo>
                    <a:pt x="1009637" y="504825"/>
                  </a:moveTo>
                  <a:lnTo>
                    <a:pt x="1007326" y="553440"/>
                  </a:lnTo>
                  <a:lnTo>
                    <a:pt x="1000534" y="600748"/>
                  </a:lnTo>
                  <a:lnTo>
                    <a:pt x="989474" y="646537"/>
                  </a:lnTo>
                  <a:lnTo>
                    <a:pt x="974355" y="690596"/>
                  </a:lnTo>
                  <a:lnTo>
                    <a:pt x="955391" y="732714"/>
                  </a:lnTo>
                  <a:lnTo>
                    <a:pt x="932791" y="772678"/>
                  </a:lnTo>
                  <a:lnTo>
                    <a:pt x="906769" y="810276"/>
                  </a:lnTo>
                  <a:lnTo>
                    <a:pt x="877535" y="845298"/>
                  </a:lnTo>
                  <a:lnTo>
                    <a:pt x="845302" y="877532"/>
                  </a:lnTo>
                  <a:lnTo>
                    <a:pt x="810279" y="906766"/>
                  </a:lnTo>
                  <a:lnTo>
                    <a:pt x="772680" y="932789"/>
                  </a:lnTo>
                  <a:lnTo>
                    <a:pt x="732715" y="955389"/>
                  </a:lnTo>
                  <a:lnTo>
                    <a:pt x="690596" y="974354"/>
                  </a:lnTo>
                  <a:lnTo>
                    <a:pt x="646535" y="989473"/>
                  </a:lnTo>
                  <a:lnTo>
                    <a:pt x="600743" y="1000534"/>
                  </a:lnTo>
                  <a:lnTo>
                    <a:pt x="553431" y="1007326"/>
                  </a:lnTo>
                  <a:lnTo>
                    <a:pt x="504812" y="1009637"/>
                  </a:lnTo>
                  <a:lnTo>
                    <a:pt x="456197" y="1007326"/>
                  </a:lnTo>
                  <a:lnTo>
                    <a:pt x="408888" y="1000534"/>
                  </a:lnTo>
                  <a:lnTo>
                    <a:pt x="363099" y="989473"/>
                  </a:lnTo>
                  <a:lnTo>
                    <a:pt x="319040" y="974354"/>
                  </a:lnTo>
                  <a:lnTo>
                    <a:pt x="276923" y="955389"/>
                  </a:lnTo>
                  <a:lnTo>
                    <a:pt x="236959" y="932789"/>
                  </a:lnTo>
                  <a:lnTo>
                    <a:pt x="199360" y="906766"/>
                  </a:lnTo>
                  <a:lnTo>
                    <a:pt x="164338" y="877532"/>
                  </a:lnTo>
                  <a:lnTo>
                    <a:pt x="132104" y="845298"/>
                  </a:lnTo>
                  <a:lnTo>
                    <a:pt x="102870" y="810276"/>
                  </a:lnTo>
                  <a:lnTo>
                    <a:pt x="76847" y="772678"/>
                  </a:lnTo>
                  <a:lnTo>
                    <a:pt x="54248" y="732714"/>
                  </a:lnTo>
                  <a:lnTo>
                    <a:pt x="35283" y="690596"/>
                  </a:lnTo>
                  <a:lnTo>
                    <a:pt x="20164" y="646537"/>
                  </a:lnTo>
                  <a:lnTo>
                    <a:pt x="9102" y="600748"/>
                  </a:lnTo>
                  <a:lnTo>
                    <a:pt x="2310" y="553440"/>
                  </a:lnTo>
                  <a:lnTo>
                    <a:pt x="0" y="504825"/>
                  </a:lnTo>
                  <a:lnTo>
                    <a:pt x="2310" y="456207"/>
                  </a:lnTo>
                  <a:lnTo>
                    <a:pt x="9102" y="408897"/>
                  </a:lnTo>
                  <a:lnTo>
                    <a:pt x="20164" y="363106"/>
                  </a:lnTo>
                  <a:lnTo>
                    <a:pt x="35283" y="319045"/>
                  </a:lnTo>
                  <a:lnTo>
                    <a:pt x="54248" y="276927"/>
                  </a:lnTo>
                  <a:lnTo>
                    <a:pt x="76847" y="236962"/>
                  </a:lnTo>
                  <a:lnTo>
                    <a:pt x="102870" y="199363"/>
                  </a:lnTo>
                  <a:lnTo>
                    <a:pt x="132104" y="164340"/>
                  </a:lnTo>
                  <a:lnTo>
                    <a:pt x="164338" y="132105"/>
                  </a:lnTo>
                  <a:lnTo>
                    <a:pt x="199360" y="102871"/>
                  </a:lnTo>
                  <a:lnTo>
                    <a:pt x="236959" y="76848"/>
                  </a:lnTo>
                  <a:lnTo>
                    <a:pt x="276923" y="54248"/>
                  </a:lnTo>
                  <a:lnTo>
                    <a:pt x="319040" y="35283"/>
                  </a:lnTo>
                  <a:lnTo>
                    <a:pt x="363099" y="20164"/>
                  </a:lnTo>
                  <a:lnTo>
                    <a:pt x="408888" y="9102"/>
                  </a:lnTo>
                  <a:lnTo>
                    <a:pt x="456197" y="2310"/>
                  </a:lnTo>
                  <a:lnTo>
                    <a:pt x="504812" y="0"/>
                  </a:lnTo>
                  <a:lnTo>
                    <a:pt x="553431" y="2310"/>
                  </a:lnTo>
                  <a:lnTo>
                    <a:pt x="600743" y="9102"/>
                  </a:lnTo>
                  <a:lnTo>
                    <a:pt x="646535" y="20164"/>
                  </a:lnTo>
                  <a:lnTo>
                    <a:pt x="690596" y="35283"/>
                  </a:lnTo>
                  <a:lnTo>
                    <a:pt x="732715" y="54248"/>
                  </a:lnTo>
                  <a:lnTo>
                    <a:pt x="772680" y="76848"/>
                  </a:lnTo>
                  <a:lnTo>
                    <a:pt x="810279" y="102871"/>
                  </a:lnTo>
                  <a:lnTo>
                    <a:pt x="845302" y="132105"/>
                  </a:lnTo>
                  <a:lnTo>
                    <a:pt x="877535" y="164340"/>
                  </a:lnTo>
                  <a:lnTo>
                    <a:pt x="906769" y="199363"/>
                  </a:lnTo>
                  <a:lnTo>
                    <a:pt x="932791" y="236962"/>
                  </a:lnTo>
                  <a:lnTo>
                    <a:pt x="955391" y="276927"/>
                  </a:lnTo>
                  <a:lnTo>
                    <a:pt x="974355" y="319045"/>
                  </a:lnTo>
                  <a:lnTo>
                    <a:pt x="989474" y="363106"/>
                  </a:lnTo>
                  <a:lnTo>
                    <a:pt x="1000534" y="408897"/>
                  </a:lnTo>
                  <a:lnTo>
                    <a:pt x="1007326" y="456207"/>
                  </a:lnTo>
                  <a:lnTo>
                    <a:pt x="1009637" y="504825"/>
                  </a:lnTo>
                  <a:close/>
                </a:path>
              </a:pathLst>
            </a:custGeom>
            <a:solidFill>
              <a:schemeClr val="bg1"/>
            </a:solidFill>
            <a:ln w="12700">
              <a:solidFill>
                <a:srgbClr val="0046BA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3B3B3A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06" name="object 47">
              <a:extLst>
                <a:ext uri="{FF2B5EF4-FFF2-40B4-BE49-F238E27FC236}">
                  <a16:creationId xmlns:a16="http://schemas.microsoft.com/office/drawing/2014/main" id="{611F8992-F18A-1444-9057-E1E56D50D01F}"/>
                </a:ext>
              </a:extLst>
            </p:cNvPr>
            <p:cNvSpPr/>
            <p:nvPr userDrawn="1"/>
          </p:nvSpPr>
          <p:spPr>
            <a:xfrm>
              <a:off x="10939138" y="1509967"/>
              <a:ext cx="648000" cy="648000"/>
            </a:xfrm>
            <a:custGeom>
              <a:avLst/>
              <a:gdLst/>
              <a:ahLst/>
              <a:cxnLst/>
              <a:rect l="l" t="t" r="r" b="b"/>
              <a:pathLst>
                <a:path w="836294" h="836294">
                  <a:moveTo>
                    <a:pt x="417944" y="0"/>
                  </a:moveTo>
                  <a:lnTo>
                    <a:pt x="369203" y="2811"/>
                  </a:lnTo>
                  <a:lnTo>
                    <a:pt x="322114" y="11038"/>
                  </a:lnTo>
                  <a:lnTo>
                    <a:pt x="276989" y="24365"/>
                  </a:lnTo>
                  <a:lnTo>
                    <a:pt x="234143" y="42480"/>
                  </a:lnTo>
                  <a:lnTo>
                    <a:pt x="193890" y="65069"/>
                  </a:lnTo>
                  <a:lnTo>
                    <a:pt x="156542" y="91818"/>
                  </a:lnTo>
                  <a:lnTo>
                    <a:pt x="122413" y="122413"/>
                  </a:lnTo>
                  <a:lnTo>
                    <a:pt x="91818" y="156542"/>
                  </a:lnTo>
                  <a:lnTo>
                    <a:pt x="65069" y="193890"/>
                  </a:lnTo>
                  <a:lnTo>
                    <a:pt x="42480" y="234143"/>
                  </a:lnTo>
                  <a:lnTo>
                    <a:pt x="24365" y="276989"/>
                  </a:lnTo>
                  <a:lnTo>
                    <a:pt x="11038" y="322114"/>
                  </a:lnTo>
                  <a:lnTo>
                    <a:pt x="2811" y="369203"/>
                  </a:lnTo>
                  <a:lnTo>
                    <a:pt x="0" y="417944"/>
                  </a:lnTo>
                  <a:lnTo>
                    <a:pt x="2811" y="466685"/>
                  </a:lnTo>
                  <a:lnTo>
                    <a:pt x="11038" y="513774"/>
                  </a:lnTo>
                  <a:lnTo>
                    <a:pt x="24365" y="558898"/>
                  </a:lnTo>
                  <a:lnTo>
                    <a:pt x="42480" y="601744"/>
                  </a:lnTo>
                  <a:lnTo>
                    <a:pt x="65069" y="641998"/>
                  </a:lnTo>
                  <a:lnTo>
                    <a:pt x="91818" y="679346"/>
                  </a:lnTo>
                  <a:lnTo>
                    <a:pt x="122413" y="713474"/>
                  </a:lnTo>
                  <a:lnTo>
                    <a:pt x="156542" y="744070"/>
                  </a:lnTo>
                  <a:lnTo>
                    <a:pt x="193890" y="770819"/>
                  </a:lnTo>
                  <a:lnTo>
                    <a:pt x="234143" y="793407"/>
                  </a:lnTo>
                  <a:lnTo>
                    <a:pt x="276989" y="811522"/>
                  </a:lnTo>
                  <a:lnTo>
                    <a:pt x="322114" y="824850"/>
                  </a:lnTo>
                  <a:lnTo>
                    <a:pt x="369203" y="833076"/>
                  </a:lnTo>
                  <a:lnTo>
                    <a:pt x="417944" y="835888"/>
                  </a:lnTo>
                  <a:lnTo>
                    <a:pt x="466685" y="833076"/>
                  </a:lnTo>
                  <a:lnTo>
                    <a:pt x="513774" y="824850"/>
                  </a:lnTo>
                  <a:lnTo>
                    <a:pt x="558898" y="811522"/>
                  </a:lnTo>
                  <a:lnTo>
                    <a:pt x="601744" y="793407"/>
                  </a:lnTo>
                  <a:lnTo>
                    <a:pt x="641998" y="770819"/>
                  </a:lnTo>
                  <a:lnTo>
                    <a:pt x="679346" y="744070"/>
                  </a:lnTo>
                  <a:lnTo>
                    <a:pt x="713474" y="713474"/>
                  </a:lnTo>
                  <a:lnTo>
                    <a:pt x="744070" y="679346"/>
                  </a:lnTo>
                  <a:lnTo>
                    <a:pt x="770819" y="641998"/>
                  </a:lnTo>
                  <a:lnTo>
                    <a:pt x="793407" y="601744"/>
                  </a:lnTo>
                  <a:lnTo>
                    <a:pt x="811522" y="558898"/>
                  </a:lnTo>
                  <a:lnTo>
                    <a:pt x="824850" y="513774"/>
                  </a:lnTo>
                  <a:lnTo>
                    <a:pt x="833076" y="466685"/>
                  </a:lnTo>
                  <a:lnTo>
                    <a:pt x="835888" y="417944"/>
                  </a:lnTo>
                  <a:lnTo>
                    <a:pt x="833076" y="369203"/>
                  </a:lnTo>
                  <a:lnTo>
                    <a:pt x="824850" y="322114"/>
                  </a:lnTo>
                  <a:lnTo>
                    <a:pt x="811522" y="276989"/>
                  </a:lnTo>
                  <a:lnTo>
                    <a:pt x="793407" y="234143"/>
                  </a:lnTo>
                  <a:lnTo>
                    <a:pt x="770819" y="193890"/>
                  </a:lnTo>
                  <a:lnTo>
                    <a:pt x="744070" y="156542"/>
                  </a:lnTo>
                  <a:lnTo>
                    <a:pt x="713474" y="122413"/>
                  </a:lnTo>
                  <a:lnTo>
                    <a:pt x="679346" y="91818"/>
                  </a:lnTo>
                  <a:lnTo>
                    <a:pt x="641998" y="65069"/>
                  </a:lnTo>
                  <a:lnTo>
                    <a:pt x="601744" y="42480"/>
                  </a:lnTo>
                  <a:lnTo>
                    <a:pt x="558898" y="24365"/>
                  </a:lnTo>
                  <a:lnTo>
                    <a:pt x="513774" y="11038"/>
                  </a:lnTo>
                  <a:lnTo>
                    <a:pt x="466685" y="2811"/>
                  </a:lnTo>
                  <a:lnTo>
                    <a:pt x="417944" y="0"/>
                  </a:lnTo>
                  <a:close/>
                </a:path>
              </a:pathLst>
            </a:custGeom>
            <a:solidFill>
              <a:srgbClr val="EEDC00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 dirty="0">
                <a:ln>
                  <a:noFill/>
                </a:ln>
                <a:solidFill>
                  <a:srgbClr val="3B3B3A"/>
                </a:solidFill>
                <a:effectLst/>
                <a:uLnTx/>
                <a:uFillTx/>
                <a:latin typeface="Avenir Next LT Pro" panose="020B0504020202020204" pitchFamily="34" charset="77"/>
                <a:ea typeface="+mn-ea"/>
                <a:cs typeface="+mn-cs"/>
              </a:endParaRPr>
            </a:p>
          </p:txBody>
        </p:sp>
      </p:grpSp>
      <p:cxnSp>
        <p:nvCxnSpPr>
          <p:cNvPr id="107" name="Connettore 1 46">
            <a:extLst>
              <a:ext uri="{FF2B5EF4-FFF2-40B4-BE49-F238E27FC236}">
                <a16:creationId xmlns:a16="http://schemas.microsoft.com/office/drawing/2014/main" id="{1725EDEA-25C3-7E42-99C9-180C17C27FCA}"/>
              </a:ext>
            </a:extLst>
          </p:cNvPr>
          <p:cNvCxnSpPr>
            <a:cxnSpLocks/>
          </p:cNvCxnSpPr>
          <p:nvPr/>
        </p:nvCxnSpPr>
        <p:spPr>
          <a:xfrm>
            <a:off x="6727582" y="1890788"/>
            <a:ext cx="4140000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8" name="Segnaposto titolo 1">
            <a:extLst>
              <a:ext uri="{FF2B5EF4-FFF2-40B4-BE49-F238E27FC236}">
                <a16:creationId xmlns:a16="http://schemas.microsoft.com/office/drawing/2014/main" id="{AE104EB2-2D5E-4845-B0C8-EB2D5910DF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7394" y="504194"/>
            <a:ext cx="10515600" cy="725421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it-IT"/>
              <a:t>Fare clic per modificare lo stile del titolo dello schema</a:t>
            </a:r>
            <a:endParaRPr lang="it-IT" dirty="0"/>
          </a:p>
        </p:txBody>
      </p:sp>
      <p:sp>
        <p:nvSpPr>
          <p:cNvPr id="2" name="CasellaDiTesto 1">
            <a:extLst>
              <a:ext uri="{FF2B5EF4-FFF2-40B4-BE49-F238E27FC236}">
                <a16:creationId xmlns:a16="http://schemas.microsoft.com/office/drawing/2014/main" id="{D56AC206-A44F-D540-96FF-876D47B1CA6D}"/>
              </a:ext>
            </a:extLst>
          </p:cNvPr>
          <p:cNvSpPr txBox="1"/>
          <p:nvPr userDrawn="1"/>
        </p:nvSpPr>
        <p:spPr>
          <a:xfrm>
            <a:off x="3916392" y="6623540"/>
            <a:ext cx="739499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it-IT" sz="800" i="1" dirty="0"/>
              <a:t>Documento ad uso esclusivamente interno, da intendersi come strettamente riservato; non è autorizzata la trasmissione ad altri e la divulgazione all’esterno.</a:t>
            </a:r>
            <a:endParaRPr lang="en-US" sz="800" i="1" dirty="0"/>
          </a:p>
        </p:txBody>
      </p:sp>
    </p:spTree>
    <p:extLst>
      <p:ext uri="{BB962C8B-B14F-4D97-AF65-F5344CB8AC3E}">
        <p14:creationId xmlns:p14="http://schemas.microsoft.com/office/powerpoint/2010/main" val="1420698462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/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Pagina Tabell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Segnaposto testo 4">
            <a:extLst>
              <a:ext uri="{FF2B5EF4-FFF2-40B4-BE49-F238E27FC236}">
                <a16:creationId xmlns:a16="http://schemas.microsoft.com/office/drawing/2014/main" id="{92BBE559-9B02-2849-9B4D-7558060B014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49834" y="5917932"/>
            <a:ext cx="9402763" cy="573088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900" b="0" i="0">
                <a:latin typeface="Avenir Next LT Pro" panose="020B0504020202020204" pitchFamily="34" charset="77"/>
              </a:defRPr>
            </a:lvl1pPr>
            <a:lvl2pPr marL="457200" indent="0">
              <a:buNone/>
              <a:defRPr sz="900" b="0" i="0">
                <a:latin typeface="Avenir Next LT Pro" panose="020B0504020202020204" pitchFamily="34" charset="77"/>
              </a:defRPr>
            </a:lvl2pPr>
            <a:lvl3pPr marL="914400" indent="0">
              <a:buNone/>
              <a:defRPr sz="900" b="0" i="0">
                <a:latin typeface="Avenir Next LT Pro" panose="020B0504020202020204" pitchFamily="34" charset="77"/>
              </a:defRPr>
            </a:lvl3pPr>
            <a:lvl4pPr marL="1371600" indent="0">
              <a:buNone/>
              <a:defRPr sz="900" b="0" i="0">
                <a:latin typeface="Avenir Next LT Pro" panose="020B0504020202020204" pitchFamily="34" charset="77"/>
              </a:defRPr>
            </a:lvl4pPr>
            <a:lvl5pPr marL="1828800" indent="0">
              <a:buNone/>
              <a:defRPr sz="900" b="0" i="0">
                <a:latin typeface="Avenir Next LT Pro" panose="020B0504020202020204" pitchFamily="34" charset="77"/>
              </a:defRPr>
            </a:lvl5pPr>
          </a:lstStyle>
          <a:p>
            <a:pPr lvl="0"/>
            <a:r>
              <a:rPr lang="it-IT" dirty="0"/>
              <a:t>1. Fare clic per modificare le note 2. Fare clic per modificare le note 3. Fare clic per modificare le note </a:t>
            </a:r>
          </a:p>
        </p:txBody>
      </p:sp>
      <p:sp>
        <p:nvSpPr>
          <p:cNvPr id="3" name="Segnaposto tabella 2">
            <a:extLst>
              <a:ext uri="{FF2B5EF4-FFF2-40B4-BE49-F238E27FC236}">
                <a16:creationId xmlns:a16="http://schemas.microsoft.com/office/drawing/2014/main" id="{70FFBE6E-53B0-2E4E-A022-1A75A108CEA1}"/>
              </a:ext>
            </a:extLst>
          </p:cNvPr>
          <p:cNvSpPr>
            <a:spLocks noGrp="1"/>
          </p:cNvSpPr>
          <p:nvPr>
            <p:ph type="tbl" sz="quarter" idx="12" hasCustomPrompt="1"/>
          </p:nvPr>
        </p:nvSpPr>
        <p:spPr>
          <a:xfrm>
            <a:off x="549275" y="1416050"/>
            <a:ext cx="11093450" cy="43513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0" i="0">
                <a:latin typeface="Avenir Next LT Pro" panose="020B0504020202020204" pitchFamily="34" charset="77"/>
              </a:defRPr>
            </a:lvl1pPr>
          </a:lstStyle>
          <a:p>
            <a:r>
              <a:rPr lang="it-IT" dirty="0"/>
              <a:t>Inserisci tabella</a:t>
            </a:r>
          </a:p>
        </p:txBody>
      </p:sp>
      <p:sp>
        <p:nvSpPr>
          <p:cNvPr id="26" name="bg object 16">
            <a:extLst>
              <a:ext uri="{FF2B5EF4-FFF2-40B4-BE49-F238E27FC236}">
                <a16:creationId xmlns:a16="http://schemas.microsoft.com/office/drawing/2014/main" id="{65E1AF90-F4C2-244E-8B16-911D495AE497}"/>
              </a:ext>
            </a:extLst>
          </p:cNvPr>
          <p:cNvSpPr/>
          <p:nvPr/>
        </p:nvSpPr>
        <p:spPr>
          <a:xfrm>
            <a:off x="11330381" y="6448615"/>
            <a:ext cx="311785" cy="410845"/>
          </a:xfrm>
          <a:custGeom>
            <a:avLst/>
            <a:gdLst/>
            <a:ahLst/>
            <a:cxnLst/>
            <a:rect l="l" t="t" r="r" b="b"/>
            <a:pathLst>
              <a:path w="311784" h="410845">
                <a:moveTo>
                  <a:pt x="311645" y="0"/>
                </a:moveTo>
                <a:lnTo>
                  <a:pt x="0" y="0"/>
                </a:lnTo>
                <a:lnTo>
                  <a:pt x="0" y="410438"/>
                </a:lnTo>
                <a:lnTo>
                  <a:pt x="311645" y="410438"/>
                </a:lnTo>
                <a:lnTo>
                  <a:pt x="311645" y="0"/>
                </a:lnTo>
                <a:close/>
              </a:path>
            </a:pathLst>
          </a:custGeom>
          <a:solidFill>
            <a:srgbClr val="0047B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7" name="Holder 7">
            <a:extLst>
              <a:ext uri="{FF2B5EF4-FFF2-40B4-BE49-F238E27FC236}">
                <a16:creationId xmlns:a16="http://schemas.microsoft.com/office/drawing/2014/main" id="{4FF05A23-F84A-FB42-A88D-67332353E674}"/>
              </a:ext>
            </a:extLst>
          </p:cNvPr>
          <p:cNvSpPr txBox="1">
            <a:spLocks/>
          </p:cNvSpPr>
          <p:nvPr/>
        </p:nvSpPr>
        <p:spPr>
          <a:xfrm>
            <a:off x="11342726" y="6520516"/>
            <a:ext cx="256044" cy="16158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it-IT"/>
            </a:defPPr>
            <a:lvl1pPr marL="0" algn="l" defTabSz="914400" rtl="0" eaLnBrk="1" latinLnBrk="0" hangingPunct="1">
              <a:defRPr sz="850" b="1" i="0" kern="1200">
                <a:solidFill>
                  <a:schemeClr val="bg1"/>
                </a:solidFill>
                <a:latin typeface="Verdana"/>
                <a:ea typeface="+mn-ea"/>
                <a:cs typeface="Verdana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8100" algn="ctr">
              <a:spcBef>
                <a:spcPts val="105"/>
              </a:spcBef>
            </a:pPr>
            <a:fld id="{81D60167-4931-47E6-BA6A-407CBD079E47}" type="slidenum">
              <a:rPr lang="it-IT" sz="1050" b="0" i="0" spc="5" smtClean="0">
                <a:latin typeface="Avenir Next LT Pro" pitchFamily="2" charset="0"/>
              </a:rPr>
              <a:pPr marL="38100" algn="ctr">
                <a:spcBef>
                  <a:spcPts val="105"/>
                </a:spcBef>
              </a:pPr>
              <a:t>‹N›</a:t>
            </a:fld>
            <a:endParaRPr lang="it-IT" sz="1050" b="0" i="0" spc="5" dirty="0">
              <a:latin typeface="Avenir Next LT Pro" pitchFamily="2" charset="0"/>
            </a:endParaRPr>
          </a:p>
        </p:txBody>
      </p:sp>
      <p:sp>
        <p:nvSpPr>
          <p:cNvPr id="28" name="Triangolo isoscele 16">
            <a:extLst>
              <a:ext uri="{FF2B5EF4-FFF2-40B4-BE49-F238E27FC236}">
                <a16:creationId xmlns:a16="http://schemas.microsoft.com/office/drawing/2014/main" id="{B1D6E51F-7A48-A14C-859D-E68AA90549A2}"/>
              </a:ext>
            </a:extLst>
          </p:cNvPr>
          <p:cNvSpPr/>
          <p:nvPr/>
        </p:nvSpPr>
        <p:spPr>
          <a:xfrm rot="10800000">
            <a:off x="303127" y="-324737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29" name="Triangolo isoscele 17">
            <a:extLst>
              <a:ext uri="{FF2B5EF4-FFF2-40B4-BE49-F238E27FC236}">
                <a16:creationId xmlns:a16="http://schemas.microsoft.com/office/drawing/2014/main" id="{29C43A05-C53C-2E44-8742-5B72D65A6013}"/>
              </a:ext>
            </a:extLst>
          </p:cNvPr>
          <p:cNvSpPr/>
          <p:nvPr/>
        </p:nvSpPr>
        <p:spPr>
          <a:xfrm rot="10800000">
            <a:off x="11756536" y="-324737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30" name="Triangolo isoscele 18">
            <a:extLst>
              <a:ext uri="{FF2B5EF4-FFF2-40B4-BE49-F238E27FC236}">
                <a16:creationId xmlns:a16="http://schemas.microsoft.com/office/drawing/2014/main" id="{90E04093-CFA4-E34A-A1A3-6E582643858E}"/>
              </a:ext>
            </a:extLst>
          </p:cNvPr>
          <p:cNvSpPr/>
          <p:nvPr/>
        </p:nvSpPr>
        <p:spPr>
          <a:xfrm>
            <a:off x="303127" y="6950754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31" name="Triangolo isoscele 19">
            <a:extLst>
              <a:ext uri="{FF2B5EF4-FFF2-40B4-BE49-F238E27FC236}">
                <a16:creationId xmlns:a16="http://schemas.microsoft.com/office/drawing/2014/main" id="{2FB368C5-73CB-1941-917E-892123EDB755}"/>
              </a:ext>
            </a:extLst>
          </p:cNvPr>
          <p:cNvSpPr/>
          <p:nvPr/>
        </p:nvSpPr>
        <p:spPr>
          <a:xfrm>
            <a:off x="11756536" y="6950754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32" name="Triangolo isoscele 20">
            <a:extLst>
              <a:ext uri="{FF2B5EF4-FFF2-40B4-BE49-F238E27FC236}">
                <a16:creationId xmlns:a16="http://schemas.microsoft.com/office/drawing/2014/main" id="{E049848A-45B1-5946-A155-35A214B5C20E}"/>
              </a:ext>
            </a:extLst>
          </p:cNvPr>
          <p:cNvSpPr/>
          <p:nvPr/>
        </p:nvSpPr>
        <p:spPr>
          <a:xfrm rot="5400000">
            <a:off x="-276040" y="885372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33" name="Triangolo isoscele 21">
            <a:extLst>
              <a:ext uri="{FF2B5EF4-FFF2-40B4-BE49-F238E27FC236}">
                <a16:creationId xmlns:a16="http://schemas.microsoft.com/office/drawing/2014/main" id="{3F2B05CF-AC66-AB42-B4F2-BEFCB15E0BE5}"/>
              </a:ext>
            </a:extLst>
          </p:cNvPr>
          <p:cNvSpPr/>
          <p:nvPr/>
        </p:nvSpPr>
        <p:spPr>
          <a:xfrm rot="5400000">
            <a:off x="-276039" y="5982836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34" name="Triangolo isoscele 22">
            <a:extLst>
              <a:ext uri="{FF2B5EF4-FFF2-40B4-BE49-F238E27FC236}">
                <a16:creationId xmlns:a16="http://schemas.microsoft.com/office/drawing/2014/main" id="{BFDBAD27-4E99-E240-A777-CD7DC6FF401B}"/>
              </a:ext>
            </a:extLst>
          </p:cNvPr>
          <p:cNvSpPr/>
          <p:nvPr/>
        </p:nvSpPr>
        <p:spPr>
          <a:xfrm rot="16200000">
            <a:off x="12331119" y="885372"/>
            <a:ext cx="132336" cy="261257"/>
          </a:xfrm>
          <a:prstGeom prst="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35" name="Triangolo isoscele 23">
            <a:extLst>
              <a:ext uri="{FF2B5EF4-FFF2-40B4-BE49-F238E27FC236}">
                <a16:creationId xmlns:a16="http://schemas.microsoft.com/office/drawing/2014/main" id="{01B9CDF9-8ACB-B941-BB66-1E6ED130952B}"/>
              </a:ext>
            </a:extLst>
          </p:cNvPr>
          <p:cNvSpPr/>
          <p:nvPr/>
        </p:nvSpPr>
        <p:spPr>
          <a:xfrm rot="16200000">
            <a:off x="12331120" y="5982836"/>
            <a:ext cx="132336" cy="261257"/>
          </a:xfrm>
          <a:prstGeom prst="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38" name="Triangolo isoscele 31">
            <a:extLst>
              <a:ext uri="{FF2B5EF4-FFF2-40B4-BE49-F238E27FC236}">
                <a16:creationId xmlns:a16="http://schemas.microsoft.com/office/drawing/2014/main" id="{A6F56C64-7D14-1B4C-B1B3-B2A595898CA2}"/>
              </a:ext>
            </a:extLst>
          </p:cNvPr>
          <p:cNvSpPr/>
          <p:nvPr/>
        </p:nvSpPr>
        <p:spPr>
          <a:xfrm rot="10800000">
            <a:off x="303127" y="-324737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39" name="Triangolo isoscele 32">
            <a:extLst>
              <a:ext uri="{FF2B5EF4-FFF2-40B4-BE49-F238E27FC236}">
                <a16:creationId xmlns:a16="http://schemas.microsoft.com/office/drawing/2014/main" id="{D10A51BF-11F4-9A4E-AB84-FA8747449648}"/>
              </a:ext>
            </a:extLst>
          </p:cNvPr>
          <p:cNvSpPr/>
          <p:nvPr/>
        </p:nvSpPr>
        <p:spPr>
          <a:xfrm rot="10800000">
            <a:off x="11756536" y="-324737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42" name="Triangolo isoscele 33">
            <a:extLst>
              <a:ext uri="{FF2B5EF4-FFF2-40B4-BE49-F238E27FC236}">
                <a16:creationId xmlns:a16="http://schemas.microsoft.com/office/drawing/2014/main" id="{EF6F42C0-14DE-314D-BE10-EAC6F7587262}"/>
              </a:ext>
            </a:extLst>
          </p:cNvPr>
          <p:cNvSpPr/>
          <p:nvPr/>
        </p:nvSpPr>
        <p:spPr>
          <a:xfrm>
            <a:off x="303127" y="6950754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43" name="Triangolo isoscele 34">
            <a:extLst>
              <a:ext uri="{FF2B5EF4-FFF2-40B4-BE49-F238E27FC236}">
                <a16:creationId xmlns:a16="http://schemas.microsoft.com/office/drawing/2014/main" id="{CBF22D5D-66A0-DF4F-A714-5D12FE73F274}"/>
              </a:ext>
            </a:extLst>
          </p:cNvPr>
          <p:cNvSpPr/>
          <p:nvPr/>
        </p:nvSpPr>
        <p:spPr>
          <a:xfrm>
            <a:off x="11756536" y="6950754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44" name="Triangolo isoscele 35">
            <a:extLst>
              <a:ext uri="{FF2B5EF4-FFF2-40B4-BE49-F238E27FC236}">
                <a16:creationId xmlns:a16="http://schemas.microsoft.com/office/drawing/2014/main" id="{EB92F7AD-B0E4-7A4A-88F2-6A492A463C8C}"/>
              </a:ext>
            </a:extLst>
          </p:cNvPr>
          <p:cNvSpPr/>
          <p:nvPr/>
        </p:nvSpPr>
        <p:spPr>
          <a:xfrm rot="5400000">
            <a:off x="-276040" y="885372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45" name="Triangolo isoscele 36">
            <a:extLst>
              <a:ext uri="{FF2B5EF4-FFF2-40B4-BE49-F238E27FC236}">
                <a16:creationId xmlns:a16="http://schemas.microsoft.com/office/drawing/2014/main" id="{3FBAF21C-B765-E941-A935-DB67CEECC1BB}"/>
              </a:ext>
            </a:extLst>
          </p:cNvPr>
          <p:cNvSpPr/>
          <p:nvPr/>
        </p:nvSpPr>
        <p:spPr>
          <a:xfrm rot="5400000">
            <a:off x="-276039" y="5982836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46" name="Triangolo isoscele 37">
            <a:extLst>
              <a:ext uri="{FF2B5EF4-FFF2-40B4-BE49-F238E27FC236}">
                <a16:creationId xmlns:a16="http://schemas.microsoft.com/office/drawing/2014/main" id="{D5EDC529-9CF6-2441-A7FC-8D4C13ECE876}"/>
              </a:ext>
            </a:extLst>
          </p:cNvPr>
          <p:cNvSpPr/>
          <p:nvPr/>
        </p:nvSpPr>
        <p:spPr>
          <a:xfrm rot="16200000">
            <a:off x="12331119" y="885372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47" name="Triangolo isoscele 38">
            <a:extLst>
              <a:ext uri="{FF2B5EF4-FFF2-40B4-BE49-F238E27FC236}">
                <a16:creationId xmlns:a16="http://schemas.microsoft.com/office/drawing/2014/main" id="{277E114C-EB83-4446-84F8-53CF191B8DD5}"/>
              </a:ext>
            </a:extLst>
          </p:cNvPr>
          <p:cNvSpPr/>
          <p:nvPr/>
        </p:nvSpPr>
        <p:spPr>
          <a:xfrm rot="16200000">
            <a:off x="12331120" y="5982836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pic>
        <p:nvPicPr>
          <p:cNvPr id="48" name="Elemento grafico 47">
            <a:extLst>
              <a:ext uri="{FF2B5EF4-FFF2-40B4-BE49-F238E27FC236}">
                <a16:creationId xmlns:a16="http://schemas.microsoft.com/office/drawing/2014/main" id="{0B65B24A-D582-2F4D-B446-764A3FBDEDAF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081892" y="-5080"/>
            <a:ext cx="1560273" cy="309880"/>
          </a:xfrm>
          <a:prstGeom prst="rect">
            <a:avLst/>
          </a:prstGeom>
        </p:spPr>
      </p:pic>
      <p:sp>
        <p:nvSpPr>
          <p:cNvPr id="50" name="object 267">
            <a:extLst>
              <a:ext uri="{FF2B5EF4-FFF2-40B4-BE49-F238E27FC236}">
                <a16:creationId xmlns:a16="http://schemas.microsoft.com/office/drawing/2014/main" id="{4496432C-4229-7E45-BC53-D2D473A58CCC}"/>
              </a:ext>
            </a:extLst>
          </p:cNvPr>
          <p:cNvSpPr/>
          <p:nvPr/>
        </p:nvSpPr>
        <p:spPr>
          <a:xfrm>
            <a:off x="0" y="1251482"/>
            <a:ext cx="675518" cy="45719"/>
          </a:xfrm>
          <a:custGeom>
            <a:avLst/>
            <a:gdLst/>
            <a:ahLst/>
            <a:cxnLst/>
            <a:rect l="l" t="t" r="r" b="b"/>
            <a:pathLst>
              <a:path w="657225">
                <a:moveTo>
                  <a:pt x="0" y="0"/>
                </a:moveTo>
                <a:lnTo>
                  <a:pt x="656678" y="0"/>
                </a:lnTo>
              </a:path>
            </a:pathLst>
          </a:custGeom>
          <a:ln w="76200">
            <a:solidFill>
              <a:srgbClr val="EEDC00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JhengHei UI Light" panose="020B0304030504040204" pitchFamily="34" charset="-120"/>
              <a:ea typeface="Microsoft JhengHei UI Light" panose="020B0304030504040204" pitchFamily="34" charset="-120"/>
              <a:cs typeface="+mn-cs"/>
            </a:endParaRPr>
          </a:p>
        </p:txBody>
      </p:sp>
      <p:sp>
        <p:nvSpPr>
          <p:cNvPr id="52" name="Segnaposto titolo 1">
            <a:extLst>
              <a:ext uri="{FF2B5EF4-FFF2-40B4-BE49-F238E27FC236}">
                <a16:creationId xmlns:a16="http://schemas.microsoft.com/office/drawing/2014/main" id="{F02434F7-3F83-9B44-A109-14C7C0D08E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7394" y="504194"/>
            <a:ext cx="10515600" cy="725421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it-IT"/>
              <a:t>Fare clic per modificare lo stile del titolo dello schema</a:t>
            </a:r>
            <a:endParaRPr lang="it-IT" dirty="0"/>
          </a:p>
        </p:txBody>
      </p:sp>
      <p:sp>
        <p:nvSpPr>
          <p:cNvPr id="2" name="CasellaDiTesto 1">
            <a:extLst>
              <a:ext uri="{FF2B5EF4-FFF2-40B4-BE49-F238E27FC236}">
                <a16:creationId xmlns:a16="http://schemas.microsoft.com/office/drawing/2014/main" id="{3315D078-FC08-3E35-CEB3-FB4C4161CCD5}"/>
              </a:ext>
            </a:extLst>
          </p:cNvPr>
          <p:cNvSpPr txBox="1"/>
          <p:nvPr userDrawn="1"/>
        </p:nvSpPr>
        <p:spPr>
          <a:xfrm>
            <a:off x="3916392" y="6623540"/>
            <a:ext cx="739499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it-IT" sz="800" i="1" dirty="0"/>
              <a:t>Documento ad uso esclusivamente interno, da intendersi come strettamente riservato; non è autorizzata la trasmissione ad altri e la divulgazione all’esterno.</a:t>
            </a:r>
            <a:endParaRPr lang="en-US" sz="800" i="1" dirty="0"/>
          </a:p>
        </p:txBody>
      </p:sp>
    </p:spTree>
    <p:extLst>
      <p:ext uri="{BB962C8B-B14F-4D97-AF65-F5344CB8AC3E}">
        <p14:creationId xmlns:p14="http://schemas.microsoft.com/office/powerpoint/2010/main" val="1641004404"/>
      </p:ext>
    </p:extLst>
  </p:cSld>
  <p:clrMapOvr>
    <a:masterClrMapping/>
  </p:clrMapOvr>
  <p:hf hdr="0" ftr="0" dt="0"/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agina Grafic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Segnaposto testo 4">
            <a:extLst>
              <a:ext uri="{FF2B5EF4-FFF2-40B4-BE49-F238E27FC236}">
                <a16:creationId xmlns:a16="http://schemas.microsoft.com/office/drawing/2014/main" id="{92BBE559-9B02-2849-9B4D-7558060B014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49834" y="5917932"/>
            <a:ext cx="9402763" cy="573088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900" b="0" i="0">
                <a:latin typeface="Avenir Next LT Pro" panose="020B0504020202020204" pitchFamily="34" charset="77"/>
              </a:defRPr>
            </a:lvl1pPr>
            <a:lvl2pPr marL="457200" indent="0">
              <a:buNone/>
              <a:defRPr sz="900" b="0" i="0">
                <a:latin typeface="Avenir Next LT Pro" panose="020B0504020202020204" pitchFamily="34" charset="77"/>
              </a:defRPr>
            </a:lvl2pPr>
            <a:lvl3pPr marL="914400" indent="0">
              <a:buNone/>
              <a:defRPr sz="900" b="0" i="0">
                <a:latin typeface="Avenir Next LT Pro" panose="020B0504020202020204" pitchFamily="34" charset="77"/>
              </a:defRPr>
            </a:lvl3pPr>
            <a:lvl4pPr marL="1371600" indent="0">
              <a:buNone/>
              <a:defRPr sz="900" b="0" i="0">
                <a:latin typeface="Avenir Next LT Pro" panose="020B0504020202020204" pitchFamily="34" charset="77"/>
              </a:defRPr>
            </a:lvl4pPr>
            <a:lvl5pPr marL="1828800" indent="0">
              <a:buNone/>
              <a:defRPr sz="900" b="0" i="0">
                <a:latin typeface="Avenir Next LT Pro" panose="020B0504020202020204" pitchFamily="34" charset="77"/>
              </a:defRPr>
            </a:lvl5pPr>
          </a:lstStyle>
          <a:p>
            <a:pPr lvl="0"/>
            <a:r>
              <a:rPr lang="it-IT" dirty="0"/>
              <a:t>1. Fare clic per modificare le note 2. Fare clic per modificare le note 3. Fare clic per modificare le note </a:t>
            </a:r>
          </a:p>
        </p:txBody>
      </p:sp>
      <p:sp>
        <p:nvSpPr>
          <p:cNvPr id="26" name="bg object 16">
            <a:extLst>
              <a:ext uri="{FF2B5EF4-FFF2-40B4-BE49-F238E27FC236}">
                <a16:creationId xmlns:a16="http://schemas.microsoft.com/office/drawing/2014/main" id="{65E1AF90-F4C2-244E-8B16-911D495AE497}"/>
              </a:ext>
            </a:extLst>
          </p:cNvPr>
          <p:cNvSpPr/>
          <p:nvPr/>
        </p:nvSpPr>
        <p:spPr>
          <a:xfrm>
            <a:off x="11330381" y="6448615"/>
            <a:ext cx="311785" cy="410845"/>
          </a:xfrm>
          <a:custGeom>
            <a:avLst/>
            <a:gdLst/>
            <a:ahLst/>
            <a:cxnLst/>
            <a:rect l="l" t="t" r="r" b="b"/>
            <a:pathLst>
              <a:path w="311784" h="410845">
                <a:moveTo>
                  <a:pt x="311645" y="0"/>
                </a:moveTo>
                <a:lnTo>
                  <a:pt x="0" y="0"/>
                </a:lnTo>
                <a:lnTo>
                  <a:pt x="0" y="410438"/>
                </a:lnTo>
                <a:lnTo>
                  <a:pt x="311645" y="410438"/>
                </a:lnTo>
                <a:lnTo>
                  <a:pt x="311645" y="0"/>
                </a:lnTo>
                <a:close/>
              </a:path>
            </a:pathLst>
          </a:custGeom>
          <a:solidFill>
            <a:srgbClr val="0047B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7" name="Holder 7">
            <a:extLst>
              <a:ext uri="{FF2B5EF4-FFF2-40B4-BE49-F238E27FC236}">
                <a16:creationId xmlns:a16="http://schemas.microsoft.com/office/drawing/2014/main" id="{4FF05A23-F84A-FB42-A88D-67332353E674}"/>
              </a:ext>
            </a:extLst>
          </p:cNvPr>
          <p:cNvSpPr txBox="1">
            <a:spLocks/>
          </p:cNvSpPr>
          <p:nvPr/>
        </p:nvSpPr>
        <p:spPr>
          <a:xfrm>
            <a:off x="11342726" y="6520516"/>
            <a:ext cx="256044" cy="16158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it-IT"/>
            </a:defPPr>
            <a:lvl1pPr marL="0" algn="l" defTabSz="914400" rtl="0" eaLnBrk="1" latinLnBrk="0" hangingPunct="1">
              <a:defRPr sz="850" b="1" i="0" kern="1200">
                <a:solidFill>
                  <a:schemeClr val="bg1"/>
                </a:solidFill>
                <a:latin typeface="Verdana"/>
                <a:ea typeface="+mn-ea"/>
                <a:cs typeface="Verdana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8100" algn="ctr">
              <a:spcBef>
                <a:spcPts val="105"/>
              </a:spcBef>
            </a:pPr>
            <a:fld id="{81D60167-4931-47E6-BA6A-407CBD079E47}" type="slidenum">
              <a:rPr lang="it-IT" sz="1050" b="0" i="0" spc="5" smtClean="0">
                <a:latin typeface="Avenir Next LT Pro" pitchFamily="2" charset="0"/>
              </a:rPr>
              <a:pPr marL="38100" algn="ctr">
                <a:spcBef>
                  <a:spcPts val="105"/>
                </a:spcBef>
              </a:pPr>
              <a:t>‹N›</a:t>
            </a:fld>
            <a:endParaRPr lang="it-IT" sz="1050" b="0" i="0" spc="5" dirty="0">
              <a:latin typeface="Avenir Next LT Pro" pitchFamily="2" charset="0"/>
            </a:endParaRPr>
          </a:p>
        </p:txBody>
      </p:sp>
      <p:sp>
        <p:nvSpPr>
          <p:cNvPr id="28" name="Triangolo isoscele 16">
            <a:extLst>
              <a:ext uri="{FF2B5EF4-FFF2-40B4-BE49-F238E27FC236}">
                <a16:creationId xmlns:a16="http://schemas.microsoft.com/office/drawing/2014/main" id="{B1D6E51F-7A48-A14C-859D-E68AA90549A2}"/>
              </a:ext>
            </a:extLst>
          </p:cNvPr>
          <p:cNvSpPr/>
          <p:nvPr/>
        </p:nvSpPr>
        <p:spPr>
          <a:xfrm rot="10800000">
            <a:off x="303127" y="-324737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29" name="Triangolo isoscele 17">
            <a:extLst>
              <a:ext uri="{FF2B5EF4-FFF2-40B4-BE49-F238E27FC236}">
                <a16:creationId xmlns:a16="http://schemas.microsoft.com/office/drawing/2014/main" id="{29C43A05-C53C-2E44-8742-5B72D65A6013}"/>
              </a:ext>
            </a:extLst>
          </p:cNvPr>
          <p:cNvSpPr/>
          <p:nvPr/>
        </p:nvSpPr>
        <p:spPr>
          <a:xfrm rot="10800000">
            <a:off x="11756536" y="-324737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30" name="Triangolo isoscele 18">
            <a:extLst>
              <a:ext uri="{FF2B5EF4-FFF2-40B4-BE49-F238E27FC236}">
                <a16:creationId xmlns:a16="http://schemas.microsoft.com/office/drawing/2014/main" id="{90E04093-CFA4-E34A-A1A3-6E582643858E}"/>
              </a:ext>
            </a:extLst>
          </p:cNvPr>
          <p:cNvSpPr/>
          <p:nvPr/>
        </p:nvSpPr>
        <p:spPr>
          <a:xfrm>
            <a:off x="303127" y="6950754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31" name="Triangolo isoscele 19">
            <a:extLst>
              <a:ext uri="{FF2B5EF4-FFF2-40B4-BE49-F238E27FC236}">
                <a16:creationId xmlns:a16="http://schemas.microsoft.com/office/drawing/2014/main" id="{2FB368C5-73CB-1941-917E-892123EDB755}"/>
              </a:ext>
            </a:extLst>
          </p:cNvPr>
          <p:cNvSpPr/>
          <p:nvPr/>
        </p:nvSpPr>
        <p:spPr>
          <a:xfrm>
            <a:off x="11756536" y="6950754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32" name="Triangolo isoscele 20">
            <a:extLst>
              <a:ext uri="{FF2B5EF4-FFF2-40B4-BE49-F238E27FC236}">
                <a16:creationId xmlns:a16="http://schemas.microsoft.com/office/drawing/2014/main" id="{E049848A-45B1-5946-A155-35A214B5C20E}"/>
              </a:ext>
            </a:extLst>
          </p:cNvPr>
          <p:cNvSpPr/>
          <p:nvPr/>
        </p:nvSpPr>
        <p:spPr>
          <a:xfrm rot="5400000">
            <a:off x="-276040" y="885372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33" name="Triangolo isoscele 21">
            <a:extLst>
              <a:ext uri="{FF2B5EF4-FFF2-40B4-BE49-F238E27FC236}">
                <a16:creationId xmlns:a16="http://schemas.microsoft.com/office/drawing/2014/main" id="{3F2B05CF-AC66-AB42-B4F2-BEFCB15E0BE5}"/>
              </a:ext>
            </a:extLst>
          </p:cNvPr>
          <p:cNvSpPr/>
          <p:nvPr/>
        </p:nvSpPr>
        <p:spPr>
          <a:xfrm rot="5400000">
            <a:off x="-276039" y="5982836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34" name="Triangolo isoscele 22">
            <a:extLst>
              <a:ext uri="{FF2B5EF4-FFF2-40B4-BE49-F238E27FC236}">
                <a16:creationId xmlns:a16="http://schemas.microsoft.com/office/drawing/2014/main" id="{BFDBAD27-4E99-E240-A777-CD7DC6FF401B}"/>
              </a:ext>
            </a:extLst>
          </p:cNvPr>
          <p:cNvSpPr/>
          <p:nvPr/>
        </p:nvSpPr>
        <p:spPr>
          <a:xfrm rot="16200000">
            <a:off x="12331119" y="885372"/>
            <a:ext cx="132336" cy="261257"/>
          </a:xfrm>
          <a:prstGeom prst="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35" name="Triangolo isoscele 23">
            <a:extLst>
              <a:ext uri="{FF2B5EF4-FFF2-40B4-BE49-F238E27FC236}">
                <a16:creationId xmlns:a16="http://schemas.microsoft.com/office/drawing/2014/main" id="{01B9CDF9-8ACB-B941-BB66-1E6ED130952B}"/>
              </a:ext>
            </a:extLst>
          </p:cNvPr>
          <p:cNvSpPr/>
          <p:nvPr/>
        </p:nvSpPr>
        <p:spPr>
          <a:xfrm rot="16200000">
            <a:off x="12331120" y="5982836"/>
            <a:ext cx="132336" cy="261257"/>
          </a:xfrm>
          <a:prstGeom prst="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38" name="Triangolo isoscele 31">
            <a:extLst>
              <a:ext uri="{FF2B5EF4-FFF2-40B4-BE49-F238E27FC236}">
                <a16:creationId xmlns:a16="http://schemas.microsoft.com/office/drawing/2014/main" id="{A6F56C64-7D14-1B4C-B1B3-B2A595898CA2}"/>
              </a:ext>
            </a:extLst>
          </p:cNvPr>
          <p:cNvSpPr/>
          <p:nvPr/>
        </p:nvSpPr>
        <p:spPr>
          <a:xfrm rot="10800000">
            <a:off x="303127" y="-324737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39" name="Triangolo isoscele 32">
            <a:extLst>
              <a:ext uri="{FF2B5EF4-FFF2-40B4-BE49-F238E27FC236}">
                <a16:creationId xmlns:a16="http://schemas.microsoft.com/office/drawing/2014/main" id="{D10A51BF-11F4-9A4E-AB84-FA8747449648}"/>
              </a:ext>
            </a:extLst>
          </p:cNvPr>
          <p:cNvSpPr/>
          <p:nvPr/>
        </p:nvSpPr>
        <p:spPr>
          <a:xfrm rot="10800000">
            <a:off x="11756536" y="-324737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42" name="Triangolo isoscele 33">
            <a:extLst>
              <a:ext uri="{FF2B5EF4-FFF2-40B4-BE49-F238E27FC236}">
                <a16:creationId xmlns:a16="http://schemas.microsoft.com/office/drawing/2014/main" id="{EF6F42C0-14DE-314D-BE10-EAC6F7587262}"/>
              </a:ext>
            </a:extLst>
          </p:cNvPr>
          <p:cNvSpPr/>
          <p:nvPr/>
        </p:nvSpPr>
        <p:spPr>
          <a:xfrm>
            <a:off x="303127" y="6950754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43" name="Triangolo isoscele 34">
            <a:extLst>
              <a:ext uri="{FF2B5EF4-FFF2-40B4-BE49-F238E27FC236}">
                <a16:creationId xmlns:a16="http://schemas.microsoft.com/office/drawing/2014/main" id="{CBF22D5D-66A0-DF4F-A714-5D12FE73F274}"/>
              </a:ext>
            </a:extLst>
          </p:cNvPr>
          <p:cNvSpPr/>
          <p:nvPr/>
        </p:nvSpPr>
        <p:spPr>
          <a:xfrm>
            <a:off x="11756536" y="6950754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44" name="Triangolo isoscele 35">
            <a:extLst>
              <a:ext uri="{FF2B5EF4-FFF2-40B4-BE49-F238E27FC236}">
                <a16:creationId xmlns:a16="http://schemas.microsoft.com/office/drawing/2014/main" id="{EB92F7AD-B0E4-7A4A-88F2-6A492A463C8C}"/>
              </a:ext>
            </a:extLst>
          </p:cNvPr>
          <p:cNvSpPr/>
          <p:nvPr/>
        </p:nvSpPr>
        <p:spPr>
          <a:xfrm rot="5400000">
            <a:off x="-276040" y="885372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45" name="Triangolo isoscele 36">
            <a:extLst>
              <a:ext uri="{FF2B5EF4-FFF2-40B4-BE49-F238E27FC236}">
                <a16:creationId xmlns:a16="http://schemas.microsoft.com/office/drawing/2014/main" id="{3FBAF21C-B765-E941-A935-DB67CEECC1BB}"/>
              </a:ext>
            </a:extLst>
          </p:cNvPr>
          <p:cNvSpPr/>
          <p:nvPr/>
        </p:nvSpPr>
        <p:spPr>
          <a:xfrm rot="5400000">
            <a:off x="-276039" y="5982836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46" name="Triangolo isoscele 37">
            <a:extLst>
              <a:ext uri="{FF2B5EF4-FFF2-40B4-BE49-F238E27FC236}">
                <a16:creationId xmlns:a16="http://schemas.microsoft.com/office/drawing/2014/main" id="{D5EDC529-9CF6-2441-A7FC-8D4C13ECE876}"/>
              </a:ext>
            </a:extLst>
          </p:cNvPr>
          <p:cNvSpPr/>
          <p:nvPr/>
        </p:nvSpPr>
        <p:spPr>
          <a:xfrm rot="16200000">
            <a:off x="12331119" y="885372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47" name="Triangolo isoscele 38">
            <a:extLst>
              <a:ext uri="{FF2B5EF4-FFF2-40B4-BE49-F238E27FC236}">
                <a16:creationId xmlns:a16="http://schemas.microsoft.com/office/drawing/2014/main" id="{277E114C-EB83-4446-84F8-53CF191B8DD5}"/>
              </a:ext>
            </a:extLst>
          </p:cNvPr>
          <p:cNvSpPr/>
          <p:nvPr/>
        </p:nvSpPr>
        <p:spPr>
          <a:xfrm rot="16200000">
            <a:off x="12331120" y="5982836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pic>
        <p:nvPicPr>
          <p:cNvPr id="48" name="Elemento grafico 47">
            <a:extLst>
              <a:ext uri="{FF2B5EF4-FFF2-40B4-BE49-F238E27FC236}">
                <a16:creationId xmlns:a16="http://schemas.microsoft.com/office/drawing/2014/main" id="{0B65B24A-D582-2F4D-B446-764A3FBDEDAF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081892" y="-5080"/>
            <a:ext cx="1560273" cy="309880"/>
          </a:xfrm>
          <a:prstGeom prst="rect">
            <a:avLst/>
          </a:prstGeom>
        </p:spPr>
      </p:pic>
      <p:sp>
        <p:nvSpPr>
          <p:cNvPr id="50" name="object 267">
            <a:extLst>
              <a:ext uri="{FF2B5EF4-FFF2-40B4-BE49-F238E27FC236}">
                <a16:creationId xmlns:a16="http://schemas.microsoft.com/office/drawing/2014/main" id="{4496432C-4229-7E45-BC53-D2D473A58CCC}"/>
              </a:ext>
            </a:extLst>
          </p:cNvPr>
          <p:cNvSpPr/>
          <p:nvPr/>
        </p:nvSpPr>
        <p:spPr>
          <a:xfrm>
            <a:off x="0" y="1251482"/>
            <a:ext cx="675518" cy="45719"/>
          </a:xfrm>
          <a:custGeom>
            <a:avLst/>
            <a:gdLst/>
            <a:ahLst/>
            <a:cxnLst/>
            <a:rect l="l" t="t" r="r" b="b"/>
            <a:pathLst>
              <a:path w="657225">
                <a:moveTo>
                  <a:pt x="0" y="0"/>
                </a:moveTo>
                <a:lnTo>
                  <a:pt x="656678" y="0"/>
                </a:lnTo>
              </a:path>
            </a:pathLst>
          </a:custGeom>
          <a:ln w="76200">
            <a:solidFill>
              <a:srgbClr val="EEDC00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JhengHei UI Light" panose="020B0304030504040204" pitchFamily="34" charset="-120"/>
              <a:ea typeface="Microsoft JhengHei UI Light" panose="020B0304030504040204" pitchFamily="34" charset="-120"/>
              <a:cs typeface="+mn-cs"/>
            </a:endParaRPr>
          </a:p>
        </p:txBody>
      </p:sp>
      <p:sp>
        <p:nvSpPr>
          <p:cNvPr id="52" name="Segnaposto titolo 1">
            <a:extLst>
              <a:ext uri="{FF2B5EF4-FFF2-40B4-BE49-F238E27FC236}">
                <a16:creationId xmlns:a16="http://schemas.microsoft.com/office/drawing/2014/main" id="{F02434F7-3F83-9B44-A109-14C7C0D08E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7394" y="504194"/>
            <a:ext cx="10515600" cy="725421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it-IT"/>
              <a:t>Fare clic per modificare lo stile del titolo dello schema</a:t>
            </a:r>
            <a:endParaRPr lang="it-IT" dirty="0"/>
          </a:p>
        </p:txBody>
      </p:sp>
      <p:sp>
        <p:nvSpPr>
          <p:cNvPr id="4" name="Segnaposto grafico 3">
            <a:extLst>
              <a:ext uri="{FF2B5EF4-FFF2-40B4-BE49-F238E27FC236}">
                <a16:creationId xmlns:a16="http://schemas.microsoft.com/office/drawing/2014/main" id="{B6ACF139-F6FB-F945-BF8D-D43B840A28E1}"/>
              </a:ext>
            </a:extLst>
          </p:cNvPr>
          <p:cNvSpPr>
            <a:spLocks noGrp="1"/>
          </p:cNvSpPr>
          <p:nvPr>
            <p:ph type="chart" sz="quarter" idx="12"/>
          </p:nvPr>
        </p:nvSpPr>
        <p:spPr>
          <a:xfrm>
            <a:off x="557213" y="1471613"/>
            <a:ext cx="10515600" cy="4135437"/>
          </a:xfrm>
        </p:spPr>
        <p:txBody>
          <a:bodyPr/>
          <a:lstStyle/>
          <a:p>
            <a:r>
              <a:rPr lang="it-IT"/>
              <a:t>Fare clic sull'icona per inserire un grafico</a:t>
            </a:r>
          </a:p>
        </p:txBody>
      </p:sp>
      <p:sp>
        <p:nvSpPr>
          <p:cNvPr id="2" name="CasellaDiTesto 1">
            <a:extLst>
              <a:ext uri="{FF2B5EF4-FFF2-40B4-BE49-F238E27FC236}">
                <a16:creationId xmlns:a16="http://schemas.microsoft.com/office/drawing/2014/main" id="{CADA52BD-E1B2-E24A-462D-F6D45E60EBEA}"/>
              </a:ext>
            </a:extLst>
          </p:cNvPr>
          <p:cNvSpPr txBox="1"/>
          <p:nvPr userDrawn="1"/>
        </p:nvSpPr>
        <p:spPr>
          <a:xfrm>
            <a:off x="3916392" y="6623540"/>
            <a:ext cx="739499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it-IT" sz="800" i="1" dirty="0"/>
              <a:t>Documento ad uso esclusivamente interno, da intendersi come strettamente riservato; non è autorizzata la trasmissione ad altri e la divulgazione all’esterno.</a:t>
            </a:r>
            <a:endParaRPr lang="en-US" sz="800" i="1" dirty="0"/>
          </a:p>
        </p:txBody>
      </p:sp>
    </p:spTree>
    <p:extLst>
      <p:ext uri="{BB962C8B-B14F-4D97-AF65-F5344CB8AC3E}">
        <p14:creationId xmlns:p14="http://schemas.microsoft.com/office/powerpoint/2010/main" val="1719272836"/>
      </p:ext>
    </p:extLst>
  </p:cSld>
  <p:clrMapOvr>
    <a:masterClrMapping/>
  </p:clrMapOvr>
  <p:hf hdr="0" ftr="0" dt="0"/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Pagina Bianc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g object 16">
            <a:extLst>
              <a:ext uri="{FF2B5EF4-FFF2-40B4-BE49-F238E27FC236}">
                <a16:creationId xmlns:a16="http://schemas.microsoft.com/office/drawing/2014/main" id="{1BB5F85F-7B77-4D8F-BF71-1E774648CF13}"/>
              </a:ext>
            </a:extLst>
          </p:cNvPr>
          <p:cNvSpPr/>
          <p:nvPr userDrawn="1"/>
        </p:nvSpPr>
        <p:spPr>
          <a:xfrm>
            <a:off x="11330381" y="6448615"/>
            <a:ext cx="311785" cy="410845"/>
          </a:xfrm>
          <a:custGeom>
            <a:avLst/>
            <a:gdLst/>
            <a:ahLst/>
            <a:cxnLst/>
            <a:rect l="l" t="t" r="r" b="b"/>
            <a:pathLst>
              <a:path w="311784" h="410845">
                <a:moveTo>
                  <a:pt x="311645" y="0"/>
                </a:moveTo>
                <a:lnTo>
                  <a:pt x="0" y="0"/>
                </a:lnTo>
                <a:lnTo>
                  <a:pt x="0" y="410438"/>
                </a:lnTo>
                <a:lnTo>
                  <a:pt x="311645" y="410438"/>
                </a:lnTo>
                <a:lnTo>
                  <a:pt x="311645" y="0"/>
                </a:lnTo>
                <a:close/>
              </a:path>
            </a:pathLst>
          </a:custGeom>
          <a:solidFill>
            <a:srgbClr val="0047B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Holder 7">
            <a:extLst>
              <a:ext uri="{FF2B5EF4-FFF2-40B4-BE49-F238E27FC236}">
                <a16:creationId xmlns:a16="http://schemas.microsoft.com/office/drawing/2014/main" id="{40D5FE1F-198E-471E-B51E-791F7EB5E332}"/>
              </a:ext>
            </a:extLst>
          </p:cNvPr>
          <p:cNvSpPr txBox="1">
            <a:spLocks/>
          </p:cNvSpPr>
          <p:nvPr userDrawn="1"/>
        </p:nvSpPr>
        <p:spPr>
          <a:xfrm>
            <a:off x="11342726" y="6520516"/>
            <a:ext cx="256044" cy="16158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it-IT"/>
            </a:defPPr>
            <a:lvl1pPr marL="0" algn="l" defTabSz="914400" rtl="0" eaLnBrk="1" latinLnBrk="0" hangingPunct="1">
              <a:defRPr sz="850" b="1" i="0" kern="1200">
                <a:solidFill>
                  <a:schemeClr val="bg1"/>
                </a:solidFill>
                <a:latin typeface="Verdana"/>
                <a:ea typeface="+mn-ea"/>
                <a:cs typeface="Verdana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8100" algn="ctr">
              <a:spcBef>
                <a:spcPts val="105"/>
              </a:spcBef>
            </a:pPr>
            <a:fld id="{81D60167-4931-47E6-BA6A-407CBD079E47}" type="slidenum">
              <a:rPr lang="it-IT" sz="1050" b="0" i="0" spc="5" smtClean="0">
                <a:latin typeface="Avenir Next LT Pro" pitchFamily="2" charset="0"/>
              </a:rPr>
              <a:pPr marL="38100" algn="ctr">
                <a:spcBef>
                  <a:spcPts val="105"/>
                </a:spcBef>
              </a:pPr>
              <a:t>‹N›</a:t>
            </a:fld>
            <a:endParaRPr lang="it-IT" sz="1050" b="0" i="0" spc="5" dirty="0">
              <a:latin typeface="Avenir Next LT Pro" pitchFamily="2" charset="0"/>
            </a:endParaRPr>
          </a:p>
        </p:txBody>
      </p:sp>
      <p:sp>
        <p:nvSpPr>
          <p:cNvPr id="6" name="object 267">
            <a:extLst>
              <a:ext uri="{FF2B5EF4-FFF2-40B4-BE49-F238E27FC236}">
                <a16:creationId xmlns:a16="http://schemas.microsoft.com/office/drawing/2014/main" id="{D08201D2-7BD6-4831-A3AB-3B6CBAE650A0}"/>
              </a:ext>
            </a:extLst>
          </p:cNvPr>
          <p:cNvSpPr/>
          <p:nvPr userDrawn="1"/>
        </p:nvSpPr>
        <p:spPr>
          <a:xfrm>
            <a:off x="0" y="1251482"/>
            <a:ext cx="675518" cy="45719"/>
          </a:xfrm>
          <a:custGeom>
            <a:avLst/>
            <a:gdLst/>
            <a:ahLst/>
            <a:cxnLst/>
            <a:rect l="l" t="t" r="r" b="b"/>
            <a:pathLst>
              <a:path w="657225">
                <a:moveTo>
                  <a:pt x="0" y="0"/>
                </a:moveTo>
                <a:lnTo>
                  <a:pt x="656678" y="0"/>
                </a:lnTo>
              </a:path>
            </a:pathLst>
          </a:custGeom>
          <a:ln w="76200">
            <a:solidFill>
              <a:srgbClr val="EEDC00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JhengHei UI Light" panose="020B0304030504040204" pitchFamily="34" charset="-120"/>
              <a:ea typeface="Microsoft JhengHei UI Light" panose="020B0304030504040204" pitchFamily="34" charset="-120"/>
              <a:cs typeface="+mn-cs"/>
            </a:endParaRPr>
          </a:p>
        </p:txBody>
      </p:sp>
      <p:pic>
        <p:nvPicPr>
          <p:cNvPr id="7" name="Elemento grafico 2">
            <a:extLst>
              <a:ext uri="{FF2B5EF4-FFF2-40B4-BE49-F238E27FC236}">
                <a16:creationId xmlns:a16="http://schemas.microsoft.com/office/drawing/2014/main" id="{0B3B9E14-E16E-4DDC-8886-7B2DF755369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081892" y="-5080"/>
            <a:ext cx="1560273" cy="309880"/>
          </a:xfrm>
          <a:prstGeom prst="rect">
            <a:avLst/>
          </a:prstGeom>
        </p:spPr>
      </p:pic>
      <p:sp>
        <p:nvSpPr>
          <p:cNvPr id="2" name="CasellaDiTesto 1">
            <a:extLst>
              <a:ext uri="{FF2B5EF4-FFF2-40B4-BE49-F238E27FC236}">
                <a16:creationId xmlns:a16="http://schemas.microsoft.com/office/drawing/2014/main" id="{CD2E004C-B479-C04D-B23B-890E054C3EFB}"/>
              </a:ext>
            </a:extLst>
          </p:cNvPr>
          <p:cNvSpPr txBox="1"/>
          <p:nvPr userDrawn="1"/>
        </p:nvSpPr>
        <p:spPr>
          <a:xfrm>
            <a:off x="3916392" y="6623540"/>
            <a:ext cx="739499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it-IT" sz="800" i="1" dirty="0"/>
              <a:t>Documento ad uso esclusivamente interno, da intendersi come strettamente riservato; non è autorizzata la trasmissione ad altri e la divulgazione all’esterno.</a:t>
            </a:r>
            <a:endParaRPr lang="en-US" sz="800" i="1" dirty="0"/>
          </a:p>
        </p:txBody>
      </p:sp>
    </p:spTree>
    <p:extLst>
      <p:ext uri="{BB962C8B-B14F-4D97-AF65-F5344CB8AC3E}">
        <p14:creationId xmlns:p14="http://schemas.microsoft.com/office/powerpoint/2010/main" val="4141370120"/>
      </p:ext>
    </p:extLst>
  </p:cSld>
  <p:clrMapOvr>
    <a:masterClrMapping/>
  </p:clrMapOvr>
  <p:hf hdr="0" ftr="0" dt="0"/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ltra sezi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magine 2">
            <a:extLst>
              <a:ext uri="{FF2B5EF4-FFF2-40B4-BE49-F238E27FC236}">
                <a16:creationId xmlns:a16="http://schemas.microsoft.com/office/drawing/2014/main" id="{43276584-F195-D044-8220-F105B2F32F0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Segnaposto testo 14">
            <a:extLst>
              <a:ext uri="{FF2B5EF4-FFF2-40B4-BE49-F238E27FC236}">
                <a16:creationId xmlns:a16="http://schemas.microsoft.com/office/drawing/2014/main" id="{B576C2F2-04F3-BC47-8C5F-066AE69EE3F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66350" y="728190"/>
            <a:ext cx="10925175" cy="24352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5100" b="0" i="0">
                <a:solidFill>
                  <a:schemeClr val="bg1"/>
                </a:solidFill>
                <a:latin typeface="Avenir Next LT Pro" panose="020B0504020202020204" pitchFamily="34" charset="77"/>
              </a:defRPr>
            </a:lvl1pPr>
            <a:lvl2pPr marL="457200" indent="0">
              <a:buNone/>
              <a:defRPr sz="5100" b="0" i="0">
                <a:solidFill>
                  <a:schemeClr val="bg1"/>
                </a:solidFill>
                <a:latin typeface="Avenir Next LT Pro" panose="020B0504020202020204" pitchFamily="34" charset="77"/>
              </a:defRPr>
            </a:lvl2pPr>
            <a:lvl3pPr marL="914400" indent="0">
              <a:buNone/>
              <a:defRPr sz="5100" b="0" i="0">
                <a:solidFill>
                  <a:schemeClr val="bg1"/>
                </a:solidFill>
                <a:latin typeface="Avenir Next LT Pro" panose="020B0504020202020204" pitchFamily="34" charset="77"/>
              </a:defRPr>
            </a:lvl3pPr>
            <a:lvl4pPr marL="1371600" indent="0">
              <a:buNone/>
              <a:defRPr sz="5100" b="0" i="0">
                <a:solidFill>
                  <a:schemeClr val="bg1"/>
                </a:solidFill>
                <a:latin typeface="Avenir Next LT Pro" panose="020B0504020202020204" pitchFamily="34" charset="77"/>
              </a:defRPr>
            </a:lvl4pPr>
            <a:lvl5pPr marL="1828800" indent="0">
              <a:buNone/>
              <a:defRPr sz="5100" b="0" i="0">
                <a:solidFill>
                  <a:schemeClr val="bg1"/>
                </a:solidFill>
                <a:latin typeface="Avenir Next LT Pro" panose="020B0504020202020204" pitchFamily="34" charset="77"/>
              </a:defRPr>
            </a:lvl5pPr>
          </a:lstStyle>
          <a:p>
            <a:pPr lvl="0"/>
            <a:r>
              <a:rPr lang="it-IT" dirty="0"/>
              <a:t>FARE CLIC PER MODIFICARE IL TITOLO</a:t>
            </a:r>
          </a:p>
        </p:txBody>
      </p:sp>
      <p:sp>
        <p:nvSpPr>
          <p:cNvPr id="7" name="Segnaposto testo 19">
            <a:extLst>
              <a:ext uri="{FF2B5EF4-FFF2-40B4-BE49-F238E27FC236}">
                <a16:creationId xmlns:a16="http://schemas.microsoft.com/office/drawing/2014/main" id="{D116BCEC-4149-6546-BF82-BA216255FD4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86040" y="5108207"/>
            <a:ext cx="10975975" cy="13985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4000" b="0" i="0">
                <a:solidFill>
                  <a:srgbClr val="EDDC00"/>
                </a:solidFill>
                <a:latin typeface="Avenir Next LT Pro" panose="020B0504020202020204" pitchFamily="34" charset="77"/>
              </a:defRPr>
            </a:lvl1pPr>
            <a:lvl2pPr marL="457200" indent="0">
              <a:buNone/>
              <a:defRPr sz="4000" b="0" i="0">
                <a:solidFill>
                  <a:srgbClr val="EDDC00"/>
                </a:solidFill>
                <a:latin typeface="Avenir Next LT Pro" panose="020B0504020202020204" pitchFamily="34" charset="77"/>
              </a:defRPr>
            </a:lvl2pPr>
            <a:lvl3pPr marL="914400" indent="0">
              <a:buNone/>
              <a:defRPr sz="4000" b="0" i="0">
                <a:solidFill>
                  <a:srgbClr val="EDDC00"/>
                </a:solidFill>
                <a:latin typeface="Avenir Next LT Pro" panose="020B0504020202020204" pitchFamily="34" charset="77"/>
              </a:defRPr>
            </a:lvl3pPr>
            <a:lvl4pPr marL="1371600" indent="0">
              <a:buNone/>
              <a:defRPr sz="4000" b="0" i="0">
                <a:solidFill>
                  <a:srgbClr val="EDDC00"/>
                </a:solidFill>
                <a:latin typeface="Avenir Next LT Pro" panose="020B0504020202020204" pitchFamily="34" charset="77"/>
              </a:defRPr>
            </a:lvl4pPr>
            <a:lvl5pPr marL="1828800" indent="0">
              <a:buNone/>
              <a:defRPr sz="4000" b="0" i="0">
                <a:solidFill>
                  <a:srgbClr val="EDDC00"/>
                </a:solidFill>
                <a:latin typeface="Avenir Next LT Pro" panose="020B0504020202020204" pitchFamily="34" charset="77"/>
              </a:defRPr>
            </a:lvl5pPr>
          </a:lstStyle>
          <a:p>
            <a:pPr lvl="0"/>
            <a:r>
              <a:rPr lang="it-IT" dirty="0"/>
              <a:t>Fare clic per modificare il sotto titolo</a:t>
            </a:r>
          </a:p>
        </p:txBody>
      </p:sp>
      <p:pic>
        <p:nvPicPr>
          <p:cNvPr id="8" name="Elemento grafico 7">
            <a:extLst>
              <a:ext uri="{FF2B5EF4-FFF2-40B4-BE49-F238E27FC236}">
                <a16:creationId xmlns:a16="http://schemas.microsoft.com/office/drawing/2014/main" id="{07FD771C-99BF-4817-9D76-5FB03BB77B48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270645" y="5322"/>
            <a:ext cx="2340412" cy="464820"/>
          </a:xfrm>
          <a:prstGeom prst="rect">
            <a:avLst/>
          </a:prstGeom>
        </p:spPr>
      </p:pic>
      <p:pic>
        <p:nvPicPr>
          <p:cNvPr id="9" name="Immagine 8">
            <a:extLst>
              <a:ext uri="{FF2B5EF4-FFF2-40B4-BE49-F238E27FC236}">
                <a16:creationId xmlns:a16="http://schemas.microsoft.com/office/drawing/2014/main" id="{8F79FAD7-D011-434B-926F-B15999F1954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0" name="Elemento grafico 9">
            <a:extLst>
              <a:ext uri="{FF2B5EF4-FFF2-40B4-BE49-F238E27FC236}">
                <a16:creationId xmlns:a16="http://schemas.microsoft.com/office/drawing/2014/main" id="{842803EE-91C6-5044-9F8F-1B9523D33E2E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270645" y="5322"/>
            <a:ext cx="2340412" cy="4648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3940356"/>
      </p:ext>
    </p:extLst>
  </p:cSld>
  <p:clrMapOvr>
    <a:masterClrMapping/>
  </p:clrMapOvr>
  <p:hf hdr="0" ftr="0" dt="0"/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g object 18">
            <a:extLst>
              <a:ext uri="{FF2B5EF4-FFF2-40B4-BE49-F238E27FC236}">
                <a16:creationId xmlns:a16="http://schemas.microsoft.com/office/drawing/2014/main" id="{2CCD846E-5B81-7F4C-A437-BDD274941C8E}"/>
              </a:ext>
            </a:extLst>
          </p:cNvPr>
          <p:cNvSpPr/>
          <p:nvPr/>
        </p:nvSpPr>
        <p:spPr>
          <a:xfrm>
            <a:off x="5958166" y="3751300"/>
            <a:ext cx="192303" cy="192303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bg object 19">
            <a:extLst>
              <a:ext uri="{FF2B5EF4-FFF2-40B4-BE49-F238E27FC236}">
                <a16:creationId xmlns:a16="http://schemas.microsoft.com/office/drawing/2014/main" id="{62C90728-0C15-6542-9622-049B9BC0E9F3}"/>
              </a:ext>
            </a:extLst>
          </p:cNvPr>
          <p:cNvSpPr/>
          <p:nvPr/>
        </p:nvSpPr>
        <p:spPr>
          <a:xfrm>
            <a:off x="5112613" y="3751554"/>
            <a:ext cx="193014" cy="193027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" name="bg object 20">
            <a:extLst>
              <a:ext uri="{FF2B5EF4-FFF2-40B4-BE49-F238E27FC236}">
                <a16:creationId xmlns:a16="http://schemas.microsoft.com/office/drawing/2014/main" id="{BF117CFF-8133-514E-A83A-32930B10866C}"/>
              </a:ext>
            </a:extLst>
          </p:cNvPr>
          <p:cNvSpPr/>
          <p:nvPr/>
        </p:nvSpPr>
        <p:spPr>
          <a:xfrm>
            <a:off x="5365744" y="3744455"/>
            <a:ext cx="295910" cy="207010"/>
          </a:xfrm>
          <a:custGeom>
            <a:avLst/>
            <a:gdLst/>
            <a:ahLst/>
            <a:cxnLst/>
            <a:rect l="l" t="t" r="r" b="b"/>
            <a:pathLst>
              <a:path w="295910" h="207010">
                <a:moveTo>
                  <a:pt x="147655" y="0"/>
                </a:moveTo>
                <a:lnTo>
                  <a:pt x="93873" y="96"/>
                </a:lnTo>
                <a:lnTo>
                  <a:pt x="46969" y="2603"/>
                </a:lnTo>
                <a:lnTo>
                  <a:pt x="9810" y="23329"/>
                </a:lnTo>
                <a:lnTo>
                  <a:pt x="676" y="76506"/>
                </a:lnTo>
                <a:lnTo>
                  <a:pt x="0" y="95555"/>
                </a:lnTo>
                <a:lnTo>
                  <a:pt x="0" y="131586"/>
                </a:lnTo>
                <a:lnTo>
                  <a:pt x="6088" y="174548"/>
                </a:lnTo>
                <a:lnTo>
                  <a:pt x="59963" y="204241"/>
                </a:lnTo>
                <a:lnTo>
                  <a:pt x="98571" y="206073"/>
                </a:lnTo>
                <a:lnTo>
                  <a:pt x="147655" y="206844"/>
                </a:lnTo>
                <a:lnTo>
                  <a:pt x="201444" y="206748"/>
                </a:lnTo>
                <a:lnTo>
                  <a:pt x="248348" y="204241"/>
                </a:lnTo>
                <a:lnTo>
                  <a:pt x="285504" y="183516"/>
                </a:lnTo>
                <a:lnTo>
                  <a:pt x="293270" y="147751"/>
                </a:lnTo>
                <a:lnTo>
                  <a:pt x="118102" y="147751"/>
                </a:lnTo>
                <a:lnTo>
                  <a:pt x="118102" y="59105"/>
                </a:lnTo>
                <a:lnTo>
                  <a:pt x="294660" y="59105"/>
                </a:lnTo>
                <a:lnTo>
                  <a:pt x="294635" y="58475"/>
                </a:lnTo>
                <a:lnTo>
                  <a:pt x="279663" y="15743"/>
                </a:lnTo>
                <a:lnTo>
                  <a:pt x="235351" y="2603"/>
                </a:lnTo>
                <a:lnTo>
                  <a:pt x="196743" y="771"/>
                </a:lnTo>
                <a:lnTo>
                  <a:pt x="162455" y="96"/>
                </a:lnTo>
                <a:lnTo>
                  <a:pt x="147655" y="0"/>
                </a:lnTo>
                <a:close/>
              </a:path>
              <a:path w="295910" h="207010">
                <a:moveTo>
                  <a:pt x="294660" y="59105"/>
                </a:moveTo>
                <a:lnTo>
                  <a:pt x="118102" y="59105"/>
                </a:lnTo>
                <a:lnTo>
                  <a:pt x="194873" y="103428"/>
                </a:lnTo>
                <a:lnTo>
                  <a:pt x="118102" y="147751"/>
                </a:lnTo>
                <a:lnTo>
                  <a:pt x="293270" y="147751"/>
                </a:lnTo>
                <a:lnTo>
                  <a:pt x="294635" y="130349"/>
                </a:lnTo>
                <a:lnTo>
                  <a:pt x="295310" y="111301"/>
                </a:lnTo>
                <a:lnTo>
                  <a:pt x="295310" y="75271"/>
                </a:lnTo>
                <a:lnTo>
                  <a:pt x="294660" y="59105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" name="bg object 21">
            <a:extLst>
              <a:ext uri="{FF2B5EF4-FFF2-40B4-BE49-F238E27FC236}">
                <a16:creationId xmlns:a16="http://schemas.microsoft.com/office/drawing/2014/main" id="{C9F2E90E-78A9-7D4A-9CDF-092310BB54A8}"/>
              </a:ext>
            </a:extLst>
          </p:cNvPr>
          <p:cNvSpPr/>
          <p:nvPr/>
        </p:nvSpPr>
        <p:spPr>
          <a:xfrm>
            <a:off x="5709107" y="3753065"/>
            <a:ext cx="194589" cy="194576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17" name="Immagine 16">
            <a:extLst>
              <a:ext uri="{FF2B5EF4-FFF2-40B4-BE49-F238E27FC236}">
                <a16:creationId xmlns:a16="http://schemas.microsoft.com/office/drawing/2014/main" id="{9765C395-E53E-0345-B487-281FDEAAECB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23062" y="3114702"/>
            <a:ext cx="3271533" cy="430771"/>
          </a:xfrm>
          <a:prstGeom prst="rect">
            <a:avLst/>
          </a:prstGeom>
        </p:spPr>
      </p:pic>
      <p:sp>
        <p:nvSpPr>
          <p:cNvPr id="18" name="object 2">
            <a:extLst>
              <a:ext uri="{FF2B5EF4-FFF2-40B4-BE49-F238E27FC236}">
                <a16:creationId xmlns:a16="http://schemas.microsoft.com/office/drawing/2014/main" id="{0B2E9E39-C6E7-8C49-A48E-500AA5B955C0}"/>
              </a:ext>
            </a:extLst>
          </p:cNvPr>
          <p:cNvSpPr txBox="1"/>
          <p:nvPr/>
        </p:nvSpPr>
        <p:spPr>
          <a:xfrm>
            <a:off x="6235426" y="3724028"/>
            <a:ext cx="1705415" cy="200696"/>
          </a:xfrm>
          <a:prstGeom prst="rect">
            <a:avLst/>
          </a:prstGeom>
        </p:spPr>
        <p:txBody>
          <a:bodyPr vert="horz" wrap="square" lIns="0" tIns="15875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12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200" b="0" i="0" u="none" strike="noStrike" kern="1200" cap="none" spc="2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 pitchFamily="2" charset="0"/>
                <a:ea typeface="+mn-ea"/>
                <a:cs typeface="Trebuchet MS"/>
              </a:rPr>
              <a:t>poste</a:t>
            </a:r>
            <a:r>
              <a:rPr kumimoji="0" lang="it-IT" sz="1200" b="0" i="0" u="none" strike="noStrike" kern="1200" cap="none" spc="2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 pitchFamily="2" charset="0"/>
                <a:ea typeface="+mn-ea"/>
                <a:cs typeface="Trebuchet MS"/>
              </a:rPr>
              <a:t>italiane</a:t>
            </a:r>
            <a:r>
              <a:rPr kumimoji="0" sz="1200" b="0" i="0" u="none" strike="noStrike" kern="1200" cap="none" spc="2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 pitchFamily="2" charset="0"/>
                <a:ea typeface="+mn-ea"/>
                <a:cs typeface="Trebuchet MS"/>
              </a:rPr>
              <a:t>.it</a:t>
            </a:r>
            <a:endParaRPr kumimoji="0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venir Next LT Pro" pitchFamily="2" charset="0"/>
              <a:ea typeface="+mn-ea"/>
              <a:cs typeface="Trebuchet MS"/>
            </a:endParaRPr>
          </a:p>
        </p:txBody>
      </p:sp>
      <p:sp>
        <p:nvSpPr>
          <p:cNvPr id="9" name="bg object 18">
            <a:extLst>
              <a:ext uri="{FF2B5EF4-FFF2-40B4-BE49-F238E27FC236}">
                <a16:creationId xmlns:a16="http://schemas.microsoft.com/office/drawing/2014/main" id="{138BA5F2-6862-1741-9234-412FAEC4D3E1}"/>
              </a:ext>
            </a:extLst>
          </p:cNvPr>
          <p:cNvSpPr/>
          <p:nvPr/>
        </p:nvSpPr>
        <p:spPr>
          <a:xfrm>
            <a:off x="5958166" y="3751300"/>
            <a:ext cx="192303" cy="192303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bg object 19">
            <a:extLst>
              <a:ext uri="{FF2B5EF4-FFF2-40B4-BE49-F238E27FC236}">
                <a16:creationId xmlns:a16="http://schemas.microsoft.com/office/drawing/2014/main" id="{EF6A6D18-128F-2444-8F49-85EAD6D3CEBC}"/>
              </a:ext>
            </a:extLst>
          </p:cNvPr>
          <p:cNvSpPr/>
          <p:nvPr/>
        </p:nvSpPr>
        <p:spPr>
          <a:xfrm>
            <a:off x="5112613" y="3751554"/>
            <a:ext cx="193014" cy="193027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bg object 20">
            <a:extLst>
              <a:ext uri="{FF2B5EF4-FFF2-40B4-BE49-F238E27FC236}">
                <a16:creationId xmlns:a16="http://schemas.microsoft.com/office/drawing/2014/main" id="{2A846971-6326-8C4E-8C3B-3835801C8CDE}"/>
              </a:ext>
            </a:extLst>
          </p:cNvPr>
          <p:cNvSpPr/>
          <p:nvPr/>
        </p:nvSpPr>
        <p:spPr>
          <a:xfrm>
            <a:off x="5365744" y="3744455"/>
            <a:ext cx="295910" cy="207010"/>
          </a:xfrm>
          <a:custGeom>
            <a:avLst/>
            <a:gdLst/>
            <a:ahLst/>
            <a:cxnLst/>
            <a:rect l="l" t="t" r="r" b="b"/>
            <a:pathLst>
              <a:path w="295910" h="207010">
                <a:moveTo>
                  <a:pt x="147655" y="0"/>
                </a:moveTo>
                <a:lnTo>
                  <a:pt x="93873" y="96"/>
                </a:lnTo>
                <a:lnTo>
                  <a:pt x="46969" y="2603"/>
                </a:lnTo>
                <a:lnTo>
                  <a:pt x="9810" y="23329"/>
                </a:lnTo>
                <a:lnTo>
                  <a:pt x="676" y="76506"/>
                </a:lnTo>
                <a:lnTo>
                  <a:pt x="0" y="95555"/>
                </a:lnTo>
                <a:lnTo>
                  <a:pt x="0" y="131586"/>
                </a:lnTo>
                <a:lnTo>
                  <a:pt x="6088" y="174548"/>
                </a:lnTo>
                <a:lnTo>
                  <a:pt x="59963" y="204241"/>
                </a:lnTo>
                <a:lnTo>
                  <a:pt x="98571" y="206073"/>
                </a:lnTo>
                <a:lnTo>
                  <a:pt x="147655" y="206844"/>
                </a:lnTo>
                <a:lnTo>
                  <a:pt x="201444" y="206748"/>
                </a:lnTo>
                <a:lnTo>
                  <a:pt x="248348" y="204241"/>
                </a:lnTo>
                <a:lnTo>
                  <a:pt x="285504" y="183516"/>
                </a:lnTo>
                <a:lnTo>
                  <a:pt x="293270" y="147751"/>
                </a:lnTo>
                <a:lnTo>
                  <a:pt x="118102" y="147751"/>
                </a:lnTo>
                <a:lnTo>
                  <a:pt x="118102" y="59105"/>
                </a:lnTo>
                <a:lnTo>
                  <a:pt x="294660" y="59105"/>
                </a:lnTo>
                <a:lnTo>
                  <a:pt x="294635" y="58475"/>
                </a:lnTo>
                <a:lnTo>
                  <a:pt x="279663" y="15743"/>
                </a:lnTo>
                <a:lnTo>
                  <a:pt x="235351" y="2603"/>
                </a:lnTo>
                <a:lnTo>
                  <a:pt x="196743" y="771"/>
                </a:lnTo>
                <a:lnTo>
                  <a:pt x="162455" y="96"/>
                </a:lnTo>
                <a:lnTo>
                  <a:pt x="147655" y="0"/>
                </a:lnTo>
                <a:close/>
              </a:path>
              <a:path w="295910" h="207010">
                <a:moveTo>
                  <a:pt x="294660" y="59105"/>
                </a:moveTo>
                <a:lnTo>
                  <a:pt x="118102" y="59105"/>
                </a:lnTo>
                <a:lnTo>
                  <a:pt x="194873" y="103428"/>
                </a:lnTo>
                <a:lnTo>
                  <a:pt x="118102" y="147751"/>
                </a:lnTo>
                <a:lnTo>
                  <a:pt x="293270" y="147751"/>
                </a:lnTo>
                <a:lnTo>
                  <a:pt x="294635" y="130349"/>
                </a:lnTo>
                <a:lnTo>
                  <a:pt x="295310" y="111301"/>
                </a:lnTo>
                <a:lnTo>
                  <a:pt x="295310" y="75271"/>
                </a:lnTo>
                <a:lnTo>
                  <a:pt x="294660" y="59105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bg object 21">
            <a:extLst>
              <a:ext uri="{FF2B5EF4-FFF2-40B4-BE49-F238E27FC236}">
                <a16:creationId xmlns:a16="http://schemas.microsoft.com/office/drawing/2014/main" id="{35EC8E2F-97DA-9C4C-8240-5C7D9E6F0E09}"/>
              </a:ext>
            </a:extLst>
          </p:cNvPr>
          <p:cNvSpPr/>
          <p:nvPr/>
        </p:nvSpPr>
        <p:spPr>
          <a:xfrm>
            <a:off x="5709107" y="3753065"/>
            <a:ext cx="194589" cy="194576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19" name="Immagine 18">
            <a:extLst>
              <a:ext uri="{FF2B5EF4-FFF2-40B4-BE49-F238E27FC236}">
                <a16:creationId xmlns:a16="http://schemas.microsoft.com/office/drawing/2014/main" id="{26139539-553B-5B44-91E2-280DB4F35B1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23062" y="3114702"/>
            <a:ext cx="3271533" cy="430771"/>
          </a:xfrm>
          <a:prstGeom prst="rect">
            <a:avLst/>
          </a:prstGeom>
        </p:spPr>
      </p:pic>
      <p:sp>
        <p:nvSpPr>
          <p:cNvPr id="20" name="object 2">
            <a:extLst>
              <a:ext uri="{FF2B5EF4-FFF2-40B4-BE49-F238E27FC236}">
                <a16:creationId xmlns:a16="http://schemas.microsoft.com/office/drawing/2014/main" id="{12603F04-F530-3949-BFF4-DFEB7FDAD7C8}"/>
              </a:ext>
            </a:extLst>
          </p:cNvPr>
          <p:cNvSpPr txBox="1"/>
          <p:nvPr/>
        </p:nvSpPr>
        <p:spPr>
          <a:xfrm>
            <a:off x="6235426" y="3724028"/>
            <a:ext cx="1705415" cy="200696"/>
          </a:xfrm>
          <a:prstGeom prst="rect">
            <a:avLst/>
          </a:prstGeom>
        </p:spPr>
        <p:txBody>
          <a:bodyPr vert="horz" wrap="square" lIns="0" tIns="15875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12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200" b="0" i="0" u="none" strike="noStrike" kern="1200" cap="none" spc="2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 pitchFamily="2" charset="0"/>
                <a:ea typeface="+mn-ea"/>
                <a:cs typeface="Trebuchet MS"/>
              </a:rPr>
              <a:t>poste</a:t>
            </a:r>
            <a:r>
              <a:rPr kumimoji="0" lang="it-IT" sz="1200" b="0" i="0" u="none" strike="noStrike" kern="1200" cap="none" spc="2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 pitchFamily="2" charset="0"/>
                <a:ea typeface="+mn-ea"/>
                <a:cs typeface="Trebuchet MS"/>
              </a:rPr>
              <a:t>italiane</a:t>
            </a:r>
            <a:r>
              <a:rPr kumimoji="0" sz="1200" b="0" i="0" u="none" strike="noStrike" kern="1200" cap="none" spc="2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 pitchFamily="2" charset="0"/>
                <a:ea typeface="+mn-ea"/>
                <a:cs typeface="Trebuchet MS"/>
              </a:rPr>
              <a:t>.it</a:t>
            </a:r>
            <a:endParaRPr kumimoji="0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venir Next LT Pro" pitchFamily="2" charset="0"/>
              <a:ea typeface="+mn-ea"/>
              <a:cs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4222001496"/>
      </p:ext>
    </p:extLst>
  </p:cSld>
  <p:clrMapOvr>
    <a:masterClrMapping/>
  </p:clrMapOvr>
  <p:hf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STD Tes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egnaposto testo 18">
            <a:extLst>
              <a:ext uri="{FF2B5EF4-FFF2-40B4-BE49-F238E27FC236}">
                <a16:creationId xmlns:a16="http://schemas.microsoft.com/office/drawing/2014/main" id="{09A633CB-76D6-DC6A-40FE-4CED1CB434C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8281" y="415435"/>
            <a:ext cx="11161712" cy="3794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cap="none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it-IT" sz="2400" b="0" kern="1200" cap="all" baseline="0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TITOLO SLIDE (</a:t>
            </a:r>
            <a:r>
              <a:rPr lang="it-IT" sz="2400" b="0" kern="1200" cap="all" baseline="0" dirty="0" err="1">
                <a:solidFill>
                  <a:schemeClr val="tx2"/>
                </a:solidFill>
                <a:latin typeface="+mj-lt"/>
                <a:ea typeface="+mj-ea"/>
                <a:cs typeface="+mj-cs"/>
              </a:rPr>
              <a:t>Avenir</a:t>
            </a:r>
            <a:r>
              <a:rPr lang="it-IT" sz="2400" b="0" kern="1200" cap="all" baseline="0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 Next LT Pro MAX 24, MAIUSCOLO, BLU, MAX 2 RIGHE)</a:t>
            </a:r>
            <a:endParaRPr lang="it-IT" dirty="0"/>
          </a:p>
        </p:txBody>
      </p:sp>
      <p:sp>
        <p:nvSpPr>
          <p:cNvPr id="9" name="Segnaposto testo 20">
            <a:extLst>
              <a:ext uri="{FF2B5EF4-FFF2-40B4-BE49-F238E27FC236}">
                <a16:creationId xmlns:a16="http://schemas.microsoft.com/office/drawing/2014/main" id="{6CADE2BC-33AD-4705-5E8C-0BB3836BCCD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78281" y="803474"/>
            <a:ext cx="9077325" cy="2880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it-IT" dirty="0"/>
              <a:t>SOTTOTITOLO (CORPO </a:t>
            </a:r>
            <a:r>
              <a:rPr lang="it-IT" dirty="0" err="1"/>
              <a:t>Avenir</a:t>
            </a:r>
            <a:r>
              <a:rPr lang="it-IT" dirty="0"/>
              <a:t> Next LT Pro MAX 16, MAIUSCOLO, BLU, MAX 1 RIGA)</a:t>
            </a:r>
          </a:p>
        </p:txBody>
      </p:sp>
      <p:sp>
        <p:nvSpPr>
          <p:cNvPr id="15" name="Segnaposto testo 14">
            <a:extLst>
              <a:ext uri="{FF2B5EF4-FFF2-40B4-BE49-F238E27FC236}">
                <a16:creationId xmlns:a16="http://schemas.microsoft.com/office/drawing/2014/main" id="{9FC4FEEF-2C0D-1BA0-58CA-478592293FC9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99894" y="1304925"/>
            <a:ext cx="11161712" cy="4808538"/>
          </a:xfrm>
        </p:spPr>
        <p:txBody>
          <a:bodyPr lIns="0" tIns="0" rIns="0" bIns="0"/>
          <a:lstStyle>
            <a:lvl1pPr marL="288000" indent="-342900">
              <a:lnSpc>
                <a:spcPct val="100000"/>
              </a:lnSpc>
              <a:defRPr lang="it-IT" sz="2000" kern="120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540000" indent="-288000">
              <a:lnSpc>
                <a:spcPct val="100000"/>
              </a:lnSpc>
              <a:defRPr lang="it-IT" sz="1800" kern="120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2pPr>
            <a:lvl3pPr>
              <a:lnSpc>
                <a:spcPct val="100000"/>
              </a:lnSpc>
              <a:defRPr>
                <a:solidFill>
                  <a:schemeClr val="bg2"/>
                </a:solidFill>
              </a:defRPr>
            </a:lvl3pPr>
            <a:lvl4pPr>
              <a:lnSpc>
                <a:spcPct val="100000"/>
              </a:lnSpc>
              <a:defRPr>
                <a:solidFill>
                  <a:schemeClr val="bg2"/>
                </a:solidFill>
              </a:defRPr>
            </a:lvl4pPr>
            <a:lvl5pPr>
              <a:lnSpc>
                <a:spcPct val="100000"/>
              </a:lnSpc>
              <a:defRPr>
                <a:solidFill>
                  <a:schemeClr val="bg2"/>
                </a:solidFill>
              </a:defRPr>
            </a:lvl5pPr>
          </a:lstStyle>
          <a:p>
            <a:pPr marL="0" lvl="0" indent="-2880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rgbClr val="EFDC01"/>
              </a:buClr>
              <a:buSzPct val="120000"/>
              <a:buFont typeface="Arial" panose="020B0604020202020204" pitchFamily="34" charset="0"/>
              <a:buChar char="•"/>
            </a:pPr>
            <a:r>
              <a:rPr lang="it-IT" dirty="0"/>
              <a:t>Fare clic per modificare gli stili del testo dello schema</a:t>
            </a:r>
          </a:p>
          <a:p>
            <a:pPr marL="540000" lvl="1" indent="-2880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EFDC01"/>
              </a:buClr>
              <a:buSzPct val="120000"/>
              <a:buFont typeface="Wingdings" panose="05000000000000000000" pitchFamily="2" charset="2"/>
              <a:buChar char="§"/>
            </a:pPr>
            <a:r>
              <a:rPr lang="it-IT" dirty="0"/>
              <a:t>Secondo livello</a:t>
            </a:r>
          </a:p>
          <a:p>
            <a:pPr lvl="2"/>
            <a:r>
              <a:rPr lang="it-IT" dirty="0"/>
              <a:t>Terzo livello</a:t>
            </a:r>
          </a:p>
          <a:p>
            <a:pPr lvl="3"/>
            <a:r>
              <a:rPr lang="it-IT" dirty="0"/>
              <a:t>Quarto livello</a:t>
            </a:r>
          </a:p>
          <a:p>
            <a:pPr lvl="4"/>
            <a:r>
              <a:rPr lang="it-IT" dirty="0"/>
              <a:t>Quinto livello</a:t>
            </a:r>
          </a:p>
        </p:txBody>
      </p:sp>
      <p:sp>
        <p:nvSpPr>
          <p:cNvPr id="3" name="CasellaDiTesto 2">
            <a:extLst>
              <a:ext uri="{FF2B5EF4-FFF2-40B4-BE49-F238E27FC236}">
                <a16:creationId xmlns:a16="http://schemas.microsoft.com/office/drawing/2014/main" id="{028A27ED-F789-7343-343E-F1E53A21C6F7}"/>
              </a:ext>
            </a:extLst>
          </p:cNvPr>
          <p:cNvSpPr txBox="1"/>
          <p:nvPr userDrawn="1"/>
        </p:nvSpPr>
        <p:spPr>
          <a:xfrm>
            <a:off x="3916392" y="6623540"/>
            <a:ext cx="739499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it-IT" sz="800" i="1" dirty="0"/>
              <a:t>Documento ad uso esclusivamente interno, da intendersi come strettamente riservato; non è autorizzata la trasmissione ad altri e la divulgazione all’esterno.</a:t>
            </a:r>
            <a:endParaRPr lang="en-US" sz="800" i="1" dirty="0"/>
          </a:p>
        </p:txBody>
      </p:sp>
    </p:spTree>
    <p:extLst>
      <p:ext uri="{BB962C8B-B14F-4D97-AF65-F5344CB8AC3E}">
        <p14:creationId xmlns:p14="http://schemas.microsoft.com/office/powerpoint/2010/main" val="20526012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object 6">
            <a:extLst>
              <a:ext uri="{FF2B5EF4-FFF2-40B4-BE49-F238E27FC236}">
                <a16:creationId xmlns:a16="http://schemas.microsoft.com/office/drawing/2014/main" id="{1AE5F14E-740F-0E41-8C38-587A30BF8AA1}"/>
              </a:ext>
            </a:extLst>
          </p:cNvPr>
          <p:cNvSpPr/>
          <p:nvPr userDrawn="1"/>
        </p:nvSpPr>
        <p:spPr>
          <a:xfrm>
            <a:off x="12111981" y="6771644"/>
            <a:ext cx="80645" cy="86360"/>
          </a:xfrm>
          <a:custGeom>
            <a:avLst/>
            <a:gdLst/>
            <a:ahLst/>
            <a:cxnLst/>
            <a:rect l="l" t="t" r="r" b="b"/>
            <a:pathLst>
              <a:path w="80645" h="86359">
                <a:moveTo>
                  <a:pt x="0" y="86355"/>
                </a:moveTo>
                <a:lnTo>
                  <a:pt x="41642" y="42245"/>
                </a:lnTo>
                <a:lnTo>
                  <a:pt x="80018" y="0"/>
                </a:lnTo>
              </a:path>
            </a:pathLst>
          </a:custGeom>
          <a:ln w="1270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venir Next LT Pro" pitchFamily="2" charset="0"/>
              <a:ea typeface="+mn-ea"/>
              <a:cs typeface="+mn-cs"/>
            </a:endParaRPr>
          </a:p>
        </p:txBody>
      </p:sp>
      <p:sp>
        <p:nvSpPr>
          <p:cNvPr id="17" name="object 7">
            <a:extLst>
              <a:ext uri="{FF2B5EF4-FFF2-40B4-BE49-F238E27FC236}">
                <a16:creationId xmlns:a16="http://schemas.microsoft.com/office/drawing/2014/main" id="{DE83A2F6-C582-7744-8354-AA53D6C0AABC}"/>
              </a:ext>
            </a:extLst>
          </p:cNvPr>
          <p:cNvSpPr/>
          <p:nvPr userDrawn="1"/>
        </p:nvSpPr>
        <p:spPr>
          <a:xfrm>
            <a:off x="11918422" y="6559810"/>
            <a:ext cx="273685" cy="298450"/>
          </a:xfrm>
          <a:custGeom>
            <a:avLst/>
            <a:gdLst/>
            <a:ahLst/>
            <a:cxnLst/>
            <a:rect l="l" t="t" r="r" b="b"/>
            <a:pathLst>
              <a:path w="273684" h="298450">
                <a:moveTo>
                  <a:pt x="0" y="298189"/>
                </a:moveTo>
                <a:lnTo>
                  <a:pt x="69408" y="225749"/>
                </a:lnTo>
                <a:lnTo>
                  <a:pt x="172330" y="114116"/>
                </a:lnTo>
                <a:lnTo>
                  <a:pt x="273577" y="0"/>
                </a:lnTo>
              </a:path>
            </a:pathLst>
          </a:custGeom>
          <a:ln w="1270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venir Next LT Pro" pitchFamily="2" charset="0"/>
              <a:ea typeface="+mn-ea"/>
              <a:cs typeface="+mn-cs"/>
            </a:endParaRPr>
          </a:p>
        </p:txBody>
      </p:sp>
      <p:sp>
        <p:nvSpPr>
          <p:cNvPr id="18" name="object 8">
            <a:extLst>
              <a:ext uri="{FF2B5EF4-FFF2-40B4-BE49-F238E27FC236}">
                <a16:creationId xmlns:a16="http://schemas.microsoft.com/office/drawing/2014/main" id="{75564EB7-B178-F540-9017-F84ABD06A624}"/>
              </a:ext>
            </a:extLst>
          </p:cNvPr>
          <p:cNvSpPr/>
          <p:nvPr userDrawn="1"/>
        </p:nvSpPr>
        <p:spPr>
          <a:xfrm>
            <a:off x="11724016" y="6340674"/>
            <a:ext cx="467995" cy="517525"/>
          </a:xfrm>
          <a:custGeom>
            <a:avLst/>
            <a:gdLst/>
            <a:ahLst/>
            <a:cxnLst/>
            <a:rect l="l" t="t" r="r" b="b"/>
            <a:pathLst>
              <a:path w="467995" h="517525">
                <a:moveTo>
                  <a:pt x="0" y="517325"/>
                </a:moveTo>
                <a:lnTo>
                  <a:pt x="98020" y="416558"/>
                </a:lnTo>
                <a:lnTo>
                  <a:pt x="200645" y="306920"/>
                </a:lnTo>
                <a:lnTo>
                  <a:pt x="302075" y="194322"/>
                </a:lnTo>
                <a:lnTo>
                  <a:pt x="402286" y="78734"/>
                </a:lnTo>
                <a:lnTo>
                  <a:pt x="467983" y="0"/>
                </a:lnTo>
              </a:path>
            </a:pathLst>
          </a:custGeom>
          <a:ln w="1270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venir Next LT Pro" pitchFamily="2" charset="0"/>
              <a:ea typeface="+mn-ea"/>
              <a:cs typeface="+mn-cs"/>
            </a:endParaRPr>
          </a:p>
        </p:txBody>
      </p:sp>
      <p:sp>
        <p:nvSpPr>
          <p:cNvPr id="19" name="object 9">
            <a:extLst>
              <a:ext uri="{FF2B5EF4-FFF2-40B4-BE49-F238E27FC236}">
                <a16:creationId xmlns:a16="http://schemas.microsoft.com/office/drawing/2014/main" id="{5FD1D1CE-5F71-7944-8856-04A9F1DEA034}"/>
              </a:ext>
            </a:extLst>
          </p:cNvPr>
          <p:cNvSpPr/>
          <p:nvPr userDrawn="1"/>
        </p:nvSpPr>
        <p:spPr>
          <a:xfrm>
            <a:off x="11527764" y="6115261"/>
            <a:ext cx="664845" cy="742950"/>
          </a:xfrm>
          <a:custGeom>
            <a:avLst/>
            <a:gdLst/>
            <a:ahLst/>
            <a:cxnLst/>
            <a:rect l="l" t="t" r="r" b="b"/>
            <a:pathLst>
              <a:path w="664845" h="742950">
                <a:moveTo>
                  <a:pt x="0" y="742738"/>
                </a:moveTo>
                <a:lnTo>
                  <a:pt x="128484" y="613635"/>
                </a:lnTo>
                <a:lnTo>
                  <a:pt x="230812" y="505993"/>
                </a:lnTo>
                <a:lnTo>
                  <a:pt x="331981" y="395414"/>
                </a:lnTo>
                <a:lnTo>
                  <a:pt x="431967" y="281868"/>
                </a:lnTo>
                <a:lnTo>
                  <a:pt x="530747" y="165327"/>
                </a:lnTo>
                <a:lnTo>
                  <a:pt x="628297" y="45761"/>
                </a:lnTo>
                <a:lnTo>
                  <a:pt x="664235" y="0"/>
                </a:lnTo>
              </a:path>
            </a:pathLst>
          </a:custGeom>
          <a:ln w="1270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venir Next LT Pro" pitchFamily="2" charset="0"/>
              <a:ea typeface="+mn-ea"/>
              <a:cs typeface="+mn-cs"/>
            </a:endParaRPr>
          </a:p>
        </p:txBody>
      </p:sp>
      <p:sp>
        <p:nvSpPr>
          <p:cNvPr id="20" name="object 10">
            <a:extLst>
              <a:ext uri="{FF2B5EF4-FFF2-40B4-BE49-F238E27FC236}">
                <a16:creationId xmlns:a16="http://schemas.microsoft.com/office/drawing/2014/main" id="{D95A5256-0063-2242-8430-AB403B7FA621}"/>
              </a:ext>
            </a:extLst>
          </p:cNvPr>
          <p:cNvSpPr/>
          <p:nvPr userDrawn="1"/>
        </p:nvSpPr>
        <p:spPr>
          <a:xfrm>
            <a:off x="11330296" y="5882986"/>
            <a:ext cx="862330" cy="975360"/>
          </a:xfrm>
          <a:custGeom>
            <a:avLst/>
            <a:gdLst/>
            <a:ahLst/>
            <a:cxnLst/>
            <a:rect l="l" t="t" r="r" b="b"/>
            <a:pathLst>
              <a:path w="862329" h="975359">
                <a:moveTo>
                  <a:pt x="0" y="975013"/>
                </a:moveTo>
                <a:lnTo>
                  <a:pt x="57026" y="920341"/>
                </a:lnTo>
                <a:lnTo>
                  <a:pt x="160158" y="817580"/>
                </a:lnTo>
                <a:lnTo>
                  <a:pt x="262189" y="711933"/>
                </a:lnTo>
                <a:lnTo>
                  <a:pt x="363096" y="603373"/>
                </a:lnTo>
                <a:lnTo>
                  <a:pt x="462857" y="491870"/>
                </a:lnTo>
                <a:lnTo>
                  <a:pt x="561448" y="377396"/>
                </a:lnTo>
                <a:lnTo>
                  <a:pt x="658847" y="259921"/>
                </a:lnTo>
                <a:lnTo>
                  <a:pt x="755031" y="139417"/>
                </a:lnTo>
                <a:lnTo>
                  <a:pt x="849976" y="15854"/>
                </a:lnTo>
                <a:lnTo>
                  <a:pt x="861704" y="0"/>
                </a:lnTo>
              </a:path>
            </a:pathLst>
          </a:custGeom>
          <a:ln w="12699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venir Next LT Pro" pitchFamily="2" charset="0"/>
              <a:ea typeface="+mn-ea"/>
              <a:cs typeface="+mn-cs"/>
            </a:endParaRPr>
          </a:p>
        </p:txBody>
      </p:sp>
      <p:sp>
        <p:nvSpPr>
          <p:cNvPr id="21" name="object 11">
            <a:extLst>
              <a:ext uri="{FF2B5EF4-FFF2-40B4-BE49-F238E27FC236}">
                <a16:creationId xmlns:a16="http://schemas.microsoft.com/office/drawing/2014/main" id="{466F3FD8-5797-E94D-8225-3672B6F5258E}"/>
              </a:ext>
            </a:extLst>
          </p:cNvPr>
          <p:cNvSpPr/>
          <p:nvPr userDrawn="1"/>
        </p:nvSpPr>
        <p:spPr>
          <a:xfrm>
            <a:off x="11131790" y="5642891"/>
            <a:ext cx="1060450" cy="1215390"/>
          </a:xfrm>
          <a:custGeom>
            <a:avLst/>
            <a:gdLst/>
            <a:ahLst/>
            <a:cxnLst/>
            <a:rect l="l" t="t" r="r" b="b"/>
            <a:pathLst>
              <a:path w="1060450" h="1215390">
                <a:moveTo>
                  <a:pt x="0" y="1215108"/>
                </a:moveTo>
                <a:lnTo>
                  <a:pt x="90074" y="1130138"/>
                </a:lnTo>
                <a:lnTo>
                  <a:pt x="192874" y="1029348"/>
                </a:lnTo>
                <a:lnTo>
                  <a:pt x="294608" y="925697"/>
                </a:lnTo>
                <a:lnTo>
                  <a:pt x="395254" y="819156"/>
                </a:lnTo>
                <a:lnTo>
                  <a:pt x="494790" y="709696"/>
                </a:lnTo>
                <a:lnTo>
                  <a:pt x="593193" y="597289"/>
                </a:lnTo>
                <a:lnTo>
                  <a:pt x="690441" y="481905"/>
                </a:lnTo>
                <a:lnTo>
                  <a:pt x="786511" y="363515"/>
                </a:lnTo>
                <a:lnTo>
                  <a:pt x="881382" y="242092"/>
                </a:lnTo>
                <a:lnTo>
                  <a:pt x="975030" y="117605"/>
                </a:lnTo>
                <a:lnTo>
                  <a:pt x="1060209" y="0"/>
                </a:lnTo>
              </a:path>
            </a:pathLst>
          </a:custGeom>
          <a:ln w="1270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venir Next LT Pro" pitchFamily="2" charset="0"/>
              <a:ea typeface="+mn-ea"/>
              <a:cs typeface="+mn-cs"/>
            </a:endParaRPr>
          </a:p>
        </p:txBody>
      </p:sp>
      <p:sp>
        <p:nvSpPr>
          <p:cNvPr id="25" name="object 12">
            <a:extLst>
              <a:ext uri="{FF2B5EF4-FFF2-40B4-BE49-F238E27FC236}">
                <a16:creationId xmlns:a16="http://schemas.microsoft.com/office/drawing/2014/main" id="{BA41EE41-E4C6-B14E-BB7C-7BA66F0DC5CD}"/>
              </a:ext>
            </a:extLst>
          </p:cNvPr>
          <p:cNvSpPr/>
          <p:nvPr userDrawn="1"/>
        </p:nvSpPr>
        <p:spPr>
          <a:xfrm>
            <a:off x="10931344" y="5394326"/>
            <a:ext cx="1261110" cy="1463675"/>
          </a:xfrm>
          <a:custGeom>
            <a:avLst/>
            <a:gdLst/>
            <a:ahLst/>
            <a:cxnLst/>
            <a:rect l="l" t="t" r="r" b="b"/>
            <a:pathLst>
              <a:path w="1261109" h="1463675">
                <a:moveTo>
                  <a:pt x="0" y="1463673"/>
                </a:moveTo>
                <a:lnTo>
                  <a:pt x="125059" y="1348400"/>
                </a:lnTo>
                <a:lnTo>
                  <a:pt x="227526" y="1249582"/>
                </a:lnTo>
                <a:lnTo>
                  <a:pt x="328963" y="1147927"/>
                </a:lnTo>
                <a:lnTo>
                  <a:pt x="429347" y="1043405"/>
                </a:lnTo>
                <a:lnTo>
                  <a:pt x="528658" y="935988"/>
                </a:lnTo>
                <a:lnTo>
                  <a:pt x="626873" y="825648"/>
                </a:lnTo>
                <a:lnTo>
                  <a:pt x="723970" y="712354"/>
                </a:lnTo>
                <a:lnTo>
                  <a:pt x="819927" y="596080"/>
                </a:lnTo>
                <a:lnTo>
                  <a:pt x="914723" y="476796"/>
                </a:lnTo>
                <a:lnTo>
                  <a:pt x="1008334" y="354473"/>
                </a:lnTo>
                <a:lnTo>
                  <a:pt x="1100740" y="229082"/>
                </a:lnTo>
                <a:lnTo>
                  <a:pt x="1191918" y="100596"/>
                </a:lnTo>
                <a:lnTo>
                  <a:pt x="1260655" y="0"/>
                </a:lnTo>
              </a:path>
            </a:pathLst>
          </a:custGeom>
          <a:ln w="1270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venir Next LT Pro" pitchFamily="2" charset="0"/>
              <a:ea typeface="+mn-ea"/>
              <a:cs typeface="+mn-cs"/>
            </a:endParaRPr>
          </a:p>
        </p:txBody>
      </p:sp>
      <p:sp>
        <p:nvSpPr>
          <p:cNvPr id="30" name="object 14">
            <a:extLst>
              <a:ext uri="{FF2B5EF4-FFF2-40B4-BE49-F238E27FC236}">
                <a16:creationId xmlns:a16="http://schemas.microsoft.com/office/drawing/2014/main" id="{0F49F20E-B58B-D940-B9D1-D11EBD28322B}"/>
              </a:ext>
            </a:extLst>
          </p:cNvPr>
          <p:cNvSpPr/>
          <p:nvPr userDrawn="1"/>
        </p:nvSpPr>
        <p:spPr>
          <a:xfrm>
            <a:off x="10525593" y="4871439"/>
            <a:ext cx="1666875" cy="1986914"/>
          </a:xfrm>
          <a:custGeom>
            <a:avLst/>
            <a:gdLst/>
            <a:ahLst/>
            <a:cxnLst/>
            <a:rect l="l" t="t" r="r" b="b"/>
            <a:pathLst>
              <a:path w="1666875" h="1986915">
                <a:moveTo>
                  <a:pt x="0" y="1986560"/>
                </a:moveTo>
                <a:lnTo>
                  <a:pt x="97151" y="1902792"/>
                </a:lnTo>
                <a:lnTo>
                  <a:pt x="199892" y="1810680"/>
                </a:lnTo>
                <a:lnTo>
                  <a:pt x="301693" y="1715807"/>
                </a:lnTo>
                <a:lnTo>
                  <a:pt x="402536" y="1618142"/>
                </a:lnTo>
                <a:lnTo>
                  <a:pt x="502398" y="1517658"/>
                </a:lnTo>
                <a:lnTo>
                  <a:pt x="601259" y="1414327"/>
                </a:lnTo>
                <a:lnTo>
                  <a:pt x="699097" y="1308120"/>
                </a:lnTo>
                <a:lnTo>
                  <a:pt x="795892" y="1199008"/>
                </a:lnTo>
                <a:lnTo>
                  <a:pt x="891623" y="1086964"/>
                </a:lnTo>
                <a:lnTo>
                  <a:pt x="986269" y="971958"/>
                </a:lnTo>
                <a:lnTo>
                  <a:pt x="1079808" y="853962"/>
                </a:lnTo>
                <a:lnTo>
                  <a:pt x="1172220" y="732948"/>
                </a:lnTo>
                <a:lnTo>
                  <a:pt x="1263484" y="608888"/>
                </a:lnTo>
                <a:lnTo>
                  <a:pt x="1353578" y="481752"/>
                </a:lnTo>
                <a:lnTo>
                  <a:pt x="1442482" y="351513"/>
                </a:lnTo>
                <a:lnTo>
                  <a:pt x="1530175" y="218143"/>
                </a:lnTo>
                <a:lnTo>
                  <a:pt x="1616636" y="81612"/>
                </a:lnTo>
                <a:lnTo>
                  <a:pt x="1666406" y="0"/>
                </a:lnTo>
              </a:path>
            </a:pathLst>
          </a:custGeom>
          <a:ln w="12699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venir Next LT Pro" pitchFamily="2" charset="0"/>
              <a:ea typeface="+mn-ea"/>
              <a:cs typeface="+mn-cs"/>
            </a:endParaRPr>
          </a:p>
        </p:txBody>
      </p:sp>
      <p:pic>
        <p:nvPicPr>
          <p:cNvPr id="31" name="Immagine 30">
            <a:extLst>
              <a:ext uri="{FF2B5EF4-FFF2-40B4-BE49-F238E27FC236}">
                <a16:creationId xmlns:a16="http://schemas.microsoft.com/office/drawing/2014/main" id="{A8DAF34F-24B5-794D-BD52-ACD7E9DCB25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34" name="Graphic 16">
            <a:extLst>
              <a:ext uri="{FF2B5EF4-FFF2-40B4-BE49-F238E27FC236}">
                <a16:creationId xmlns:a16="http://schemas.microsoft.com/office/drawing/2014/main" id="{B3D6E1A6-0B13-A04E-B6C4-E1CF295EA65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264403" y="-1909"/>
            <a:ext cx="2324735" cy="4617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1713288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828800" y="3840480"/>
            <a:ext cx="85344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5448A1A-09FB-41F2-B2B0-0A6C77F8DAB1}" type="datetime1">
              <a:rPr lang="en-US" smtClean="0"/>
              <a:t>2/15/2024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850" b="0" i="0">
                <a:solidFill>
                  <a:schemeClr val="bg1"/>
                </a:solidFill>
                <a:latin typeface="Avenir Next LT Pro" panose="020B0504020202020204" pitchFamily="34" charset="77"/>
                <a:cs typeface="Calibri"/>
              </a:defRPr>
            </a:lvl1pPr>
          </a:lstStyle>
          <a:p>
            <a:pPr marL="25400">
              <a:spcBef>
                <a:spcPts val="105"/>
              </a:spcBef>
            </a:pPr>
            <a:fld id="{81D60167-4931-47E6-BA6A-407CBD079E47}" type="slidenum">
              <a:rPr lang="it-IT" spc="175" smtClean="0"/>
              <a:pPr marL="25400">
                <a:spcBef>
                  <a:spcPts val="105"/>
                </a:spcBef>
              </a:pPr>
              <a:t>‹N›</a:t>
            </a:fld>
            <a:endParaRPr lang="it-IT" spc="175" dirty="0"/>
          </a:p>
        </p:txBody>
      </p:sp>
      <p:sp>
        <p:nvSpPr>
          <p:cNvPr id="7" name="bg object 16">
            <a:extLst>
              <a:ext uri="{FF2B5EF4-FFF2-40B4-BE49-F238E27FC236}">
                <a16:creationId xmlns:a16="http://schemas.microsoft.com/office/drawing/2014/main" id="{5D5FA1AD-6314-4CF5-B0A1-CB8DDE69D03D}"/>
              </a:ext>
            </a:extLst>
          </p:cNvPr>
          <p:cNvSpPr/>
          <p:nvPr userDrawn="1"/>
        </p:nvSpPr>
        <p:spPr>
          <a:xfrm>
            <a:off x="11330381" y="6448615"/>
            <a:ext cx="311785" cy="410845"/>
          </a:xfrm>
          <a:custGeom>
            <a:avLst/>
            <a:gdLst/>
            <a:ahLst/>
            <a:cxnLst/>
            <a:rect l="l" t="t" r="r" b="b"/>
            <a:pathLst>
              <a:path w="311784" h="410845">
                <a:moveTo>
                  <a:pt x="311645" y="0"/>
                </a:moveTo>
                <a:lnTo>
                  <a:pt x="0" y="0"/>
                </a:lnTo>
                <a:lnTo>
                  <a:pt x="0" y="410438"/>
                </a:lnTo>
                <a:lnTo>
                  <a:pt x="311645" y="410438"/>
                </a:lnTo>
                <a:lnTo>
                  <a:pt x="311645" y="0"/>
                </a:lnTo>
                <a:close/>
              </a:path>
            </a:pathLst>
          </a:custGeom>
          <a:solidFill>
            <a:srgbClr val="0046BA">
              <a:alpha val="93000"/>
            </a:srgbClr>
          </a:solidFill>
        </p:spPr>
        <p:txBody>
          <a:bodyPr wrap="square" lIns="0" tIns="0" rIns="0" bIns="0" rtlCol="0"/>
          <a:lstStyle/>
          <a:p>
            <a:endParaRPr b="0" i="0" dirty="0">
              <a:latin typeface="Avenir Next LT Pro" panose="020B0504020202020204" pitchFamily="34" charset="77"/>
            </a:endParaRPr>
          </a:p>
        </p:txBody>
      </p:sp>
      <p:sp>
        <p:nvSpPr>
          <p:cNvPr id="9" name="Holder 7">
            <a:extLst>
              <a:ext uri="{FF2B5EF4-FFF2-40B4-BE49-F238E27FC236}">
                <a16:creationId xmlns:a16="http://schemas.microsoft.com/office/drawing/2014/main" id="{96CE1830-8A44-47CE-A315-58CEF20EAD7A}"/>
              </a:ext>
            </a:extLst>
          </p:cNvPr>
          <p:cNvSpPr txBox="1">
            <a:spLocks/>
          </p:cNvSpPr>
          <p:nvPr userDrawn="1"/>
        </p:nvSpPr>
        <p:spPr>
          <a:xfrm>
            <a:off x="11342726" y="6520516"/>
            <a:ext cx="256044" cy="16158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it-IT"/>
            </a:defPPr>
            <a:lvl1pPr marL="0" algn="l" defTabSz="914400" rtl="0" eaLnBrk="1" latinLnBrk="0" hangingPunct="1">
              <a:defRPr sz="850" b="1" i="0" kern="1200">
                <a:solidFill>
                  <a:schemeClr val="bg1"/>
                </a:solidFill>
                <a:latin typeface="Verdana"/>
                <a:ea typeface="+mn-ea"/>
                <a:cs typeface="Verdana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8100" algn="ctr">
              <a:spcBef>
                <a:spcPts val="105"/>
              </a:spcBef>
            </a:pPr>
            <a:fld id="{81D60167-4931-47E6-BA6A-407CBD079E47}" type="slidenum">
              <a:rPr lang="it-IT" sz="1050" b="0" i="0" spc="5" smtClean="0">
                <a:latin typeface="Avenir Next LT Pro" panose="020B0504020202020204" pitchFamily="34" charset="77"/>
              </a:rPr>
              <a:pPr marL="38100" algn="ctr">
                <a:spcBef>
                  <a:spcPts val="105"/>
                </a:spcBef>
              </a:pPr>
              <a:t>‹N›</a:t>
            </a:fld>
            <a:endParaRPr lang="it-IT" sz="1050" b="0" i="0" spc="5" dirty="0">
              <a:latin typeface="Avenir Next LT Pro" panose="020B0504020202020204" pitchFamily="34" charset="77"/>
            </a:endParaRPr>
          </a:p>
        </p:txBody>
      </p:sp>
      <p:pic>
        <p:nvPicPr>
          <p:cNvPr id="12" name="Elemento grafico 11">
            <a:extLst>
              <a:ext uri="{FF2B5EF4-FFF2-40B4-BE49-F238E27FC236}">
                <a16:creationId xmlns:a16="http://schemas.microsoft.com/office/drawing/2014/main" id="{07B54512-56E1-3A40-848A-71908E18FC2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081892" y="-5080"/>
            <a:ext cx="1560273" cy="309880"/>
          </a:xfrm>
          <a:prstGeom prst="rect">
            <a:avLst/>
          </a:prstGeom>
        </p:spPr>
      </p:pic>
      <p:sp>
        <p:nvSpPr>
          <p:cNvPr id="2" name="CasellaDiTesto 1">
            <a:extLst>
              <a:ext uri="{FF2B5EF4-FFF2-40B4-BE49-F238E27FC236}">
                <a16:creationId xmlns:a16="http://schemas.microsoft.com/office/drawing/2014/main" id="{4A28A240-DD2B-5C24-1EB3-F3CD44B1987E}"/>
              </a:ext>
            </a:extLst>
          </p:cNvPr>
          <p:cNvSpPr txBox="1"/>
          <p:nvPr userDrawn="1"/>
        </p:nvSpPr>
        <p:spPr>
          <a:xfrm>
            <a:off x="3916392" y="6623540"/>
            <a:ext cx="739499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it-IT" sz="800" i="1" dirty="0"/>
              <a:t>Documento ad uso esclusivamente interno, da intendersi come strettamente riservato; non è autorizzata la trasmissione ad altri e la divulgazione all’esterno.</a:t>
            </a:r>
            <a:endParaRPr lang="en-US" sz="800" i="1" dirty="0"/>
          </a:p>
        </p:txBody>
      </p:sp>
    </p:spTree>
    <p:extLst>
      <p:ext uri="{BB962C8B-B14F-4D97-AF65-F5344CB8AC3E}">
        <p14:creationId xmlns:p14="http://schemas.microsoft.com/office/powerpoint/2010/main" val="3720589632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ject 267">
            <a:extLst>
              <a:ext uri="{FF2B5EF4-FFF2-40B4-BE49-F238E27FC236}">
                <a16:creationId xmlns:a16="http://schemas.microsoft.com/office/drawing/2014/main" id="{982A521E-5FFB-6644-B396-FD2BCF5C5DCD}"/>
              </a:ext>
            </a:extLst>
          </p:cNvPr>
          <p:cNvSpPr/>
          <p:nvPr userDrawn="1"/>
        </p:nvSpPr>
        <p:spPr>
          <a:xfrm>
            <a:off x="0" y="1251482"/>
            <a:ext cx="675518" cy="45719"/>
          </a:xfrm>
          <a:custGeom>
            <a:avLst/>
            <a:gdLst/>
            <a:ahLst/>
            <a:cxnLst/>
            <a:rect l="l" t="t" r="r" b="b"/>
            <a:pathLst>
              <a:path w="657225">
                <a:moveTo>
                  <a:pt x="0" y="0"/>
                </a:moveTo>
                <a:lnTo>
                  <a:pt x="656678" y="0"/>
                </a:lnTo>
              </a:path>
            </a:pathLst>
          </a:custGeom>
          <a:ln w="76200">
            <a:solidFill>
              <a:srgbClr val="EEDC00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JhengHei UI Light" panose="020B0304030504040204" pitchFamily="34" charset="-120"/>
              <a:ea typeface="Microsoft JhengHei UI Light" panose="020B0304030504040204" pitchFamily="34" charset="-120"/>
              <a:cs typeface="+mn-cs"/>
            </a:endParaRPr>
          </a:p>
        </p:txBody>
      </p:sp>
      <p:sp>
        <p:nvSpPr>
          <p:cNvPr id="11" name="Triangolo isoscele 16">
            <a:extLst>
              <a:ext uri="{FF2B5EF4-FFF2-40B4-BE49-F238E27FC236}">
                <a16:creationId xmlns:a16="http://schemas.microsoft.com/office/drawing/2014/main" id="{7F9A2F9D-F783-F348-9B1A-9208653E3103}"/>
              </a:ext>
            </a:extLst>
          </p:cNvPr>
          <p:cNvSpPr/>
          <p:nvPr userDrawn="1"/>
        </p:nvSpPr>
        <p:spPr>
          <a:xfrm rot="10800000">
            <a:off x="303127" y="-324737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12" name="Triangolo isoscele 17">
            <a:extLst>
              <a:ext uri="{FF2B5EF4-FFF2-40B4-BE49-F238E27FC236}">
                <a16:creationId xmlns:a16="http://schemas.microsoft.com/office/drawing/2014/main" id="{B4C4B45A-A1BE-D947-A6AE-564BFB66E957}"/>
              </a:ext>
            </a:extLst>
          </p:cNvPr>
          <p:cNvSpPr/>
          <p:nvPr userDrawn="1"/>
        </p:nvSpPr>
        <p:spPr>
          <a:xfrm rot="10800000">
            <a:off x="11756536" y="-324737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13" name="Triangolo isoscele 18">
            <a:extLst>
              <a:ext uri="{FF2B5EF4-FFF2-40B4-BE49-F238E27FC236}">
                <a16:creationId xmlns:a16="http://schemas.microsoft.com/office/drawing/2014/main" id="{24D199EA-BED7-CC43-A77D-F87D990C6727}"/>
              </a:ext>
            </a:extLst>
          </p:cNvPr>
          <p:cNvSpPr/>
          <p:nvPr userDrawn="1"/>
        </p:nvSpPr>
        <p:spPr>
          <a:xfrm>
            <a:off x="303127" y="6950754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14" name="Triangolo isoscele 19">
            <a:extLst>
              <a:ext uri="{FF2B5EF4-FFF2-40B4-BE49-F238E27FC236}">
                <a16:creationId xmlns:a16="http://schemas.microsoft.com/office/drawing/2014/main" id="{F72CF10F-7F57-BE47-A591-11AA36A3BEC4}"/>
              </a:ext>
            </a:extLst>
          </p:cNvPr>
          <p:cNvSpPr/>
          <p:nvPr userDrawn="1"/>
        </p:nvSpPr>
        <p:spPr>
          <a:xfrm>
            <a:off x="11756536" y="6950754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15" name="Triangolo isoscele 20">
            <a:extLst>
              <a:ext uri="{FF2B5EF4-FFF2-40B4-BE49-F238E27FC236}">
                <a16:creationId xmlns:a16="http://schemas.microsoft.com/office/drawing/2014/main" id="{D39C7551-0748-0D41-B34E-67D8172B7D6D}"/>
              </a:ext>
            </a:extLst>
          </p:cNvPr>
          <p:cNvSpPr/>
          <p:nvPr userDrawn="1"/>
        </p:nvSpPr>
        <p:spPr>
          <a:xfrm rot="5400000">
            <a:off x="-276040" y="885372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16" name="Triangolo isoscele 21">
            <a:extLst>
              <a:ext uri="{FF2B5EF4-FFF2-40B4-BE49-F238E27FC236}">
                <a16:creationId xmlns:a16="http://schemas.microsoft.com/office/drawing/2014/main" id="{71325907-56E6-BF49-BDAC-B36A6FA6964A}"/>
              </a:ext>
            </a:extLst>
          </p:cNvPr>
          <p:cNvSpPr/>
          <p:nvPr userDrawn="1"/>
        </p:nvSpPr>
        <p:spPr>
          <a:xfrm rot="5400000">
            <a:off x="-276039" y="5982836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17" name="Triangolo isoscele 22">
            <a:extLst>
              <a:ext uri="{FF2B5EF4-FFF2-40B4-BE49-F238E27FC236}">
                <a16:creationId xmlns:a16="http://schemas.microsoft.com/office/drawing/2014/main" id="{8763448D-F757-8E4A-B645-1A73F250A8C1}"/>
              </a:ext>
            </a:extLst>
          </p:cNvPr>
          <p:cNvSpPr/>
          <p:nvPr userDrawn="1"/>
        </p:nvSpPr>
        <p:spPr>
          <a:xfrm rot="16200000">
            <a:off x="12331119" y="885372"/>
            <a:ext cx="132336" cy="261257"/>
          </a:xfrm>
          <a:prstGeom prst="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18" name="Triangolo isoscele 23">
            <a:extLst>
              <a:ext uri="{FF2B5EF4-FFF2-40B4-BE49-F238E27FC236}">
                <a16:creationId xmlns:a16="http://schemas.microsoft.com/office/drawing/2014/main" id="{77882CC4-0D54-444D-A543-3B47F49E8DF1}"/>
              </a:ext>
            </a:extLst>
          </p:cNvPr>
          <p:cNvSpPr/>
          <p:nvPr userDrawn="1"/>
        </p:nvSpPr>
        <p:spPr>
          <a:xfrm rot="16200000">
            <a:off x="12331120" y="5982836"/>
            <a:ext cx="132336" cy="261257"/>
          </a:xfrm>
          <a:prstGeom prst="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19" name="Triangolo isoscele 31">
            <a:extLst>
              <a:ext uri="{FF2B5EF4-FFF2-40B4-BE49-F238E27FC236}">
                <a16:creationId xmlns:a16="http://schemas.microsoft.com/office/drawing/2014/main" id="{A7CCA82B-0A41-BB4F-8695-80BC39124BBE}"/>
              </a:ext>
            </a:extLst>
          </p:cNvPr>
          <p:cNvSpPr/>
          <p:nvPr userDrawn="1"/>
        </p:nvSpPr>
        <p:spPr>
          <a:xfrm rot="10800000">
            <a:off x="303127" y="-324737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20" name="Triangolo isoscele 32">
            <a:extLst>
              <a:ext uri="{FF2B5EF4-FFF2-40B4-BE49-F238E27FC236}">
                <a16:creationId xmlns:a16="http://schemas.microsoft.com/office/drawing/2014/main" id="{4391CB3C-AF73-E44D-9E7E-D9B72ED6195D}"/>
              </a:ext>
            </a:extLst>
          </p:cNvPr>
          <p:cNvSpPr/>
          <p:nvPr userDrawn="1"/>
        </p:nvSpPr>
        <p:spPr>
          <a:xfrm rot="10800000">
            <a:off x="11756536" y="-324737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21" name="Triangolo isoscele 33">
            <a:extLst>
              <a:ext uri="{FF2B5EF4-FFF2-40B4-BE49-F238E27FC236}">
                <a16:creationId xmlns:a16="http://schemas.microsoft.com/office/drawing/2014/main" id="{CAFFD425-F0E2-4B43-A675-E2D41EC711FD}"/>
              </a:ext>
            </a:extLst>
          </p:cNvPr>
          <p:cNvSpPr/>
          <p:nvPr userDrawn="1"/>
        </p:nvSpPr>
        <p:spPr>
          <a:xfrm>
            <a:off x="303127" y="6950754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22" name="Triangolo isoscele 34">
            <a:extLst>
              <a:ext uri="{FF2B5EF4-FFF2-40B4-BE49-F238E27FC236}">
                <a16:creationId xmlns:a16="http://schemas.microsoft.com/office/drawing/2014/main" id="{3C6117A1-8A32-0340-A20D-83503078B54A}"/>
              </a:ext>
            </a:extLst>
          </p:cNvPr>
          <p:cNvSpPr/>
          <p:nvPr userDrawn="1"/>
        </p:nvSpPr>
        <p:spPr>
          <a:xfrm>
            <a:off x="11756536" y="6950754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23" name="Triangolo isoscele 35">
            <a:extLst>
              <a:ext uri="{FF2B5EF4-FFF2-40B4-BE49-F238E27FC236}">
                <a16:creationId xmlns:a16="http://schemas.microsoft.com/office/drawing/2014/main" id="{E27FB744-BA41-AC4B-AF9B-2C8E79D5E524}"/>
              </a:ext>
            </a:extLst>
          </p:cNvPr>
          <p:cNvSpPr/>
          <p:nvPr userDrawn="1"/>
        </p:nvSpPr>
        <p:spPr>
          <a:xfrm rot="5400000">
            <a:off x="-276040" y="885372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24" name="Triangolo isoscele 36">
            <a:extLst>
              <a:ext uri="{FF2B5EF4-FFF2-40B4-BE49-F238E27FC236}">
                <a16:creationId xmlns:a16="http://schemas.microsoft.com/office/drawing/2014/main" id="{BF107D87-2F40-644A-AD92-562F6B4C60EC}"/>
              </a:ext>
            </a:extLst>
          </p:cNvPr>
          <p:cNvSpPr/>
          <p:nvPr userDrawn="1"/>
        </p:nvSpPr>
        <p:spPr>
          <a:xfrm rot="5400000">
            <a:off x="-276039" y="5997124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25" name="Triangolo isoscele 37">
            <a:extLst>
              <a:ext uri="{FF2B5EF4-FFF2-40B4-BE49-F238E27FC236}">
                <a16:creationId xmlns:a16="http://schemas.microsoft.com/office/drawing/2014/main" id="{F9D6FA38-B89C-7040-B037-BAAF65EDBDD8}"/>
              </a:ext>
            </a:extLst>
          </p:cNvPr>
          <p:cNvSpPr/>
          <p:nvPr userDrawn="1"/>
        </p:nvSpPr>
        <p:spPr>
          <a:xfrm rot="16200000">
            <a:off x="12331119" y="885372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26" name="Triangolo isoscele 38">
            <a:extLst>
              <a:ext uri="{FF2B5EF4-FFF2-40B4-BE49-F238E27FC236}">
                <a16:creationId xmlns:a16="http://schemas.microsoft.com/office/drawing/2014/main" id="{38AED2B0-7EDB-1246-AA11-2E9503C1BC60}"/>
              </a:ext>
            </a:extLst>
          </p:cNvPr>
          <p:cNvSpPr/>
          <p:nvPr userDrawn="1"/>
        </p:nvSpPr>
        <p:spPr>
          <a:xfrm rot="16200000">
            <a:off x="12331120" y="5997124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27" name="Rettangolo 26">
            <a:extLst>
              <a:ext uri="{FF2B5EF4-FFF2-40B4-BE49-F238E27FC236}">
                <a16:creationId xmlns:a16="http://schemas.microsoft.com/office/drawing/2014/main" id="{177FFD4D-960F-DA43-A2E9-107733D7E6A5}"/>
              </a:ext>
            </a:extLst>
          </p:cNvPr>
          <p:cNvSpPr/>
          <p:nvPr userDrawn="1"/>
        </p:nvSpPr>
        <p:spPr>
          <a:xfrm>
            <a:off x="8400817" y="-1788148"/>
            <a:ext cx="1782962" cy="1122539"/>
          </a:xfrm>
          <a:prstGeom prst="rect">
            <a:avLst/>
          </a:prstGeom>
          <a:solidFill>
            <a:srgbClr val="3D85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it-IT" sz="1400" b="1" dirty="0">
                <a:solidFill>
                  <a:schemeClr val="bg1"/>
                </a:solidFill>
              </a:rPr>
              <a:t>CELESTE</a:t>
            </a:r>
          </a:p>
          <a:p>
            <a:pPr algn="ctr"/>
            <a:r>
              <a:rPr lang="it-IT" sz="1400" dirty="0">
                <a:solidFill>
                  <a:schemeClr val="bg1"/>
                </a:solidFill>
              </a:rPr>
              <a:t>RGB 61-133-255</a:t>
            </a:r>
          </a:p>
          <a:p>
            <a:pPr algn="ctr"/>
            <a:endParaRPr lang="it-IT" sz="1400" dirty="0">
              <a:solidFill>
                <a:schemeClr val="bg1"/>
              </a:solidFill>
            </a:endParaRPr>
          </a:p>
          <a:p>
            <a:pPr algn="ctr"/>
            <a:r>
              <a:rPr lang="it-IT" sz="1400" dirty="0">
                <a:solidFill>
                  <a:schemeClr val="bg1"/>
                </a:solidFill>
              </a:rPr>
              <a:t>GRAFICA</a:t>
            </a:r>
            <a:endParaRPr lang="it-IT" sz="1400" b="1" dirty="0">
              <a:solidFill>
                <a:schemeClr val="bg1"/>
              </a:solidFill>
            </a:endParaRPr>
          </a:p>
        </p:txBody>
      </p:sp>
      <p:sp>
        <p:nvSpPr>
          <p:cNvPr id="28" name="Rettangolo 27">
            <a:extLst>
              <a:ext uri="{FF2B5EF4-FFF2-40B4-BE49-F238E27FC236}">
                <a16:creationId xmlns:a16="http://schemas.microsoft.com/office/drawing/2014/main" id="{8BE96CEA-CC0E-E34F-A0D0-D166225BCD22}"/>
              </a:ext>
            </a:extLst>
          </p:cNvPr>
          <p:cNvSpPr/>
          <p:nvPr userDrawn="1"/>
        </p:nvSpPr>
        <p:spPr>
          <a:xfrm>
            <a:off x="-1896232" y="-1788147"/>
            <a:ext cx="1782963" cy="112253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it-IT" sz="1400" b="1" dirty="0">
                <a:solidFill>
                  <a:schemeClr val="bg1"/>
                </a:solidFill>
              </a:rPr>
              <a:t>BLU</a:t>
            </a:r>
          </a:p>
          <a:p>
            <a:pPr algn="ctr"/>
            <a:r>
              <a:rPr lang="it-IT" sz="1400" dirty="0">
                <a:solidFill>
                  <a:schemeClr val="bg1"/>
                </a:solidFill>
              </a:rPr>
              <a:t>RGB 0-71-187</a:t>
            </a:r>
          </a:p>
          <a:p>
            <a:pPr algn="ctr"/>
            <a:endParaRPr lang="it-IT" sz="1400" dirty="0">
              <a:solidFill>
                <a:schemeClr val="bg1"/>
              </a:solidFill>
            </a:endParaRPr>
          </a:p>
          <a:p>
            <a:pPr algn="ctr"/>
            <a:r>
              <a:rPr lang="it-IT" sz="1400" dirty="0">
                <a:solidFill>
                  <a:schemeClr val="bg1"/>
                </a:solidFill>
              </a:rPr>
              <a:t>TITOLI /GRAFICI /GRAFICA</a:t>
            </a:r>
            <a:endParaRPr lang="it-IT" sz="1400" b="1" dirty="0">
              <a:solidFill>
                <a:schemeClr val="bg1"/>
              </a:solidFill>
            </a:endParaRPr>
          </a:p>
        </p:txBody>
      </p:sp>
      <p:sp>
        <p:nvSpPr>
          <p:cNvPr id="29" name="Rettangolo 28">
            <a:extLst>
              <a:ext uri="{FF2B5EF4-FFF2-40B4-BE49-F238E27FC236}">
                <a16:creationId xmlns:a16="http://schemas.microsoft.com/office/drawing/2014/main" id="{7D2B7057-8640-E54F-82DE-3881356E79C4}"/>
              </a:ext>
            </a:extLst>
          </p:cNvPr>
          <p:cNvSpPr/>
          <p:nvPr userDrawn="1"/>
        </p:nvSpPr>
        <p:spPr>
          <a:xfrm>
            <a:off x="2233750" y="-1782055"/>
            <a:ext cx="1782962" cy="1122539"/>
          </a:xfrm>
          <a:prstGeom prst="rect">
            <a:avLst/>
          </a:prstGeom>
          <a:solidFill>
            <a:srgbClr val="3B3B3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it-IT" sz="1400" b="1" dirty="0">
                <a:solidFill>
                  <a:schemeClr val="bg1"/>
                </a:solidFill>
              </a:rPr>
              <a:t>GRIGIO 1 </a:t>
            </a:r>
            <a:br>
              <a:rPr lang="it-IT" sz="1400" b="1" dirty="0">
                <a:solidFill>
                  <a:schemeClr val="bg1"/>
                </a:solidFill>
              </a:rPr>
            </a:br>
            <a:r>
              <a:rPr lang="it-IT" sz="1400" dirty="0">
                <a:solidFill>
                  <a:schemeClr val="bg1"/>
                </a:solidFill>
              </a:rPr>
              <a:t>RGB 60-60-59</a:t>
            </a:r>
          </a:p>
          <a:p>
            <a:pPr algn="ctr"/>
            <a:endParaRPr lang="it-IT" sz="1400" dirty="0">
              <a:solidFill>
                <a:schemeClr val="bg1"/>
              </a:solidFill>
            </a:endParaRPr>
          </a:p>
          <a:p>
            <a:pPr algn="ctr"/>
            <a:r>
              <a:rPr lang="it-IT" sz="1100" dirty="0">
                <a:solidFill>
                  <a:schemeClr val="bg1"/>
                </a:solidFill>
              </a:rPr>
              <a:t>SOLO PER IL TESTO</a:t>
            </a:r>
          </a:p>
          <a:p>
            <a:pPr algn="ctr"/>
            <a:r>
              <a:rPr lang="it-IT" sz="1100" dirty="0">
                <a:solidFill>
                  <a:schemeClr val="bg1"/>
                </a:solidFill>
              </a:rPr>
              <a:t>E GRAFICI</a:t>
            </a:r>
          </a:p>
        </p:txBody>
      </p:sp>
      <p:sp>
        <p:nvSpPr>
          <p:cNvPr id="30" name="Rettangolo 29">
            <a:extLst>
              <a:ext uri="{FF2B5EF4-FFF2-40B4-BE49-F238E27FC236}">
                <a16:creationId xmlns:a16="http://schemas.microsoft.com/office/drawing/2014/main" id="{85D75062-42E6-CD49-98A1-BA12651538B6}"/>
              </a:ext>
            </a:extLst>
          </p:cNvPr>
          <p:cNvSpPr/>
          <p:nvPr userDrawn="1"/>
        </p:nvSpPr>
        <p:spPr>
          <a:xfrm>
            <a:off x="4295789" y="-1788147"/>
            <a:ext cx="1782962" cy="1122539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it-IT" sz="1400" b="1" dirty="0">
                <a:solidFill>
                  <a:schemeClr val="bg1"/>
                </a:solidFill>
              </a:rPr>
              <a:t>GRIGIO 2</a:t>
            </a:r>
          </a:p>
          <a:p>
            <a:pPr algn="ctr"/>
            <a:r>
              <a:rPr lang="it-IT" sz="1400" dirty="0">
                <a:solidFill>
                  <a:schemeClr val="bg1"/>
                </a:solidFill>
              </a:rPr>
              <a:t>RGB 112-111-111</a:t>
            </a:r>
          </a:p>
          <a:p>
            <a:pPr algn="ctr"/>
            <a:endParaRPr lang="it-IT" sz="1400" dirty="0">
              <a:solidFill>
                <a:schemeClr val="bg1"/>
              </a:solidFill>
            </a:endParaRPr>
          </a:p>
          <a:p>
            <a:pPr algn="ctr"/>
            <a:r>
              <a:rPr lang="it-IT" sz="1400" dirty="0">
                <a:solidFill>
                  <a:schemeClr val="bg1"/>
                </a:solidFill>
              </a:rPr>
              <a:t>TESTO </a:t>
            </a:r>
            <a:r>
              <a:rPr lang="it-IT" sz="1400" b="1" dirty="0">
                <a:solidFill>
                  <a:schemeClr val="bg1"/>
                </a:solidFill>
              </a:rPr>
              <a:t>BIANCO</a:t>
            </a:r>
          </a:p>
        </p:txBody>
      </p:sp>
      <p:sp>
        <p:nvSpPr>
          <p:cNvPr id="31" name="Rettangolo 30">
            <a:extLst>
              <a:ext uri="{FF2B5EF4-FFF2-40B4-BE49-F238E27FC236}">
                <a16:creationId xmlns:a16="http://schemas.microsoft.com/office/drawing/2014/main" id="{EDE17250-634F-CE42-93CE-D1C6B14B26D3}"/>
              </a:ext>
            </a:extLst>
          </p:cNvPr>
          <p:cNvSpPr/>
          <p:nvPr userDrawn="1"/>
        </p:nvSpPr>
        <p:spPr>
          <a:xfrm>
            <a:off x="12389784" y="-1788147"/>
            <a:ext cx="1782962" cy="1122539"/>
          </a:xfrm>
          <a:prstGeom prst="rect">
            <a:avLst/>
          </a:prstGeom>
          <a:solidFill>
            <a:srgbClr val="C0C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it-IT" sz="1400" b="1" dirty="0">
                <a:solidFill>
                  <a:schemeClr val="bg2">
                    <a:lumMod val="25000"/>
                  </a:schemeClr>
                </a:solidFill>
              </a:rPr>
              <a:t>GRIGIO 3</a:t>
            </a:r>
          </a:p>
          <a:p>
            <a:pPr algn="ctr"/>
            <a:r>
              <a:rPr lang="it-IT" sz="1400" dirty="0">
                <a:solidFill>
                  <a:srgbClr val="3B3B3A"/>
                </a:solidFill>
              </a:rPr>
              <a:t>RGB 192-192-192</a:t>
            </a:r>
            <a:endParaRPr lang="it-IT" sz="1400" b="1" dirty="0">
              <a:solidFill>
                <a:schemeClr val="bg2">
                  <a:lumMod val="25000"/>
                </a:schemeClr>
              </a:solidFill>
            </a:endParaRPr>
          </a:p>
          <a:p>
            <a:pPr algn="ctr"/>
            <a:endParaRPr lang="it-IT" sz="1400" b="1" dirty="0">
              <a:solidFill>
                <a:schemeClr val="accent5"/>
              </a:solidFill>
            </a:endParaRPr>
          </a:p>
          <a:p>
            <a:pPr algn="ctr"/>
            <a:r>
              <a:rPr lang="it-IT" sz="1400" dirty="0">
                <a:solidFill>
                  <a:schemeClr val="accent5"/>
                </a:solidFill>
              </a:rPr>
              <a:t>SOLO GRAFICI</a:t>
            </a:r>
            <a:endParaRPr lang="it-IT" sz="1400" b="1" dirty="0">
              <a:solidFill>
                <a:schemeClr val="accent5"/>
              </a:solidFill>
            </a:endParaRPr>
          </a:p>
        </p:txBody>
      </p:sp>
      <p:sp>
        <p:nvSpPr>
          <p:cNvPr id="32" name="Rettangolo 31">
            <a:extLst>
              <a:ext uri="{FF2B5EF4-FFF2-40B4-BE49-F238E27FC236}">
                <a16:creationId xmlns:a16="http://schemas.microsoft.com/office/drawing/2014/main" id="{F87EDD83-57A8-A249-9847-FACBBC50335A}"/>
              </a:ext>
            </a:extLst>
          </p:cNvPr>
          <p:cNvSpPr/>
          <p:nvPr userDrawn="1"/>
        </p:nvSpPr>
        <p:spPr>
          <a:xfrm>
            <a:off x="165807" y="-1788148"/>
            <a:ext cx="1782963" cy="1122539"/>
          </a:xfrm>
          <a:prstGeom prst="rect">
            <a:avLst/>
          </a:prstGeom>
          <a:solidFill>
            <a:srgbClr val="E6DC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it-IT" sz="1400" b="1" dirty="0">
                <a:solidFill>
                  <a:schemeClr val="bg1"/>
                </a:solidFill>
              </a:rPr>
              <a:t>GIALLO</a:t>
            </a:r>
          </a:p>
          <a:p>
            <a:pPr algn="ctr"/>
            <a:r>
              <a:rPr lang="it-IT" sz="1400" dirty="0">
                <a:solidFill>
                  <a:schemeClr val="bg1"/>
                </a:solidFill>
              </a:rPr>
              <a:t>RGB 61-134-255</a:t>
            </a:r>
          </a:p>
          <a:p>
            <a:pPr algn="ctr"/>
            <a:endParaRPr lang="it-IT" sz="1400" b="1" dirty="0">
              <a:solidFill>
                <a:schemeClr val="bg1"/>
              </a:solidFill>
            </a:endParaRPr>
          </a:p>
          <a:p>
            <a:pPr algn="ctr"/>
            <a:r>
              <a:rPr lang="it-IT" sz="1400" b="0" dirty="0">
                <a:solidFill>
                  <a:schemeClr val="bg1"/>
                </a:solidFill>
              </a:rPr>
              <a:t>GRAFICI /GRAFICA</a:t>
            </a:r>
            <a:endParaRPr lang="it-IT" sz="1400" b="1" dirty="0">
              <a:solidFill>
                <a:schemeClr val="bg1"/>
              </a:solidFill>
            </a:endParaRPr>
          </a:p>
        </p:txBody>
      </p:sp>
      <p:sp>
        <p:nvSpPr>
          <p:cNvPr id="33" name="Rettangolo 32">
            <a:extLst>
              <a:ext uri="{FF2B5EF4-FFF2-40B4-BE49-F238E27FC236}">
                <a16:creationId xmlns:a16="http://schemas.microsoft.com/office/drawing/2014/main" id="{F1B7DD3C-B85C-0948-A745-04C982FD0819}"/>
              </a:ext>
            </a:extLst>
          </p:cNvPr>
          <p:cNvSpPr/>
          <p:nvPr userDrawn="1"/>
        </p:nvSpPr>
        <p:spPr>
          <a:xfrm>
            <a:off x="10324793" y="-1788147"/>
            <a:ext cx="1782963" cy="1122539"/>
          </a:xfrm>
          <a:prstGeom prst="rect">
            <a:avLst/>
          </a:prstGeom>
          <a:solidFill>
            <a:schemeClr val="tx2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it-IT" sz="1400" b="1" dirty="0">
                <a:solidFill>
                  <a:schemeClr val="tx1"/>
                </a:solidFill>
              </a:rPr>
              <a:t>BLU 80%</a:t>
            </a:r>
          </a:p>
          <a:p>
            <a:pPr algn="ctr"/>
            <a:r>
              <a:rPr lang="it-IT" sz="1400" dirty="0">
                <a:solidFill>
                  <a:schemeClr val="tx1"/>
                </a:solidFill>
              </a:rPr>
              <a:t>RGB 0-71-187</a:t>
            </a:r>
            <a:endParaRPr lang="it-IT" sz="1400" b="1" dirty="0">
              <a:solidFill>
                <a:schemeClr val="tx1"/>
              </a:solidFill>
            </a:endParaRPr>
          </a:p>
          <a:p>
            <a:pPr algn="ctr"/>
            <a:endParaRPr lang="it-IT" sz="1400" b="1" dirty="0">
              <a:solidFill>
                <a:schemeClr val="tx1"/>
              </a:solidFill>
            </a:endParaRPr>
          </a:p>
          <a:p>
            <a:pPr algn="ctr"/>
            <a:r>
              <a:rPr lang="it-IT" sz="1400" dirty="0">
                <a:solidFill>
                  <a:schemeClr val="tx1"/>
                </a:solidFill>
              </a:rPr>
              <a:t>FONDINI</a:t>
            </a:r>
            <a:endParaRPr lang="it-IT" sz="1400" b="1" dirty="0">
              <a:solidFill>
                <a:schemeClr val="tx1"/>
              </a:solidFill>
            </a:endParaRPr>
          </a:p>
        </p:txBody>
      </p:sp>
      <p:sp>
        <p:nvSpPr>
          <p:cNvPr id="34" name="Rettangolo 33">
            <a:extLst>
              <a:ext uri="{FF2B5EF4-FFF2-40B4-BE49-F238E27FC236}">
                <a16:creationId xmlns:a16="http://schemas.microsoft.com/office/drawing/2014/main" id="{FF1E4584-4027-D345-8638-460B76BDA92E}"/>
              </a:ext>
            </a:extLst>
          </p:cNvPr>
          <p:cNvSpPr/>
          <p:nvPr userDrawn="1"/>
        </p:nvSpPr>
        <p:spPr>
          <a:xfrm>
            <a:off x="6357828" y="-1788147"/>
            <a:ext cx="1782962" cy="1122539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it-IT" sz="1400" b="1" dirty="0">
                <a:solidFill>
                  <a:schemeClr val="tx2"/>
                </a:solidFill>
              </a:rPr>
              <a:t>BIANCO</a:t>
            </a:r>
          </a:p>
          <a:p>
            <a:pPr algn="ctr"/>
            <a:r>
              <a:rPr lang="it-IT" sz="1400" dirty="0">
                <a:solidFill>
                  <a:schemeClr val="tx2"/>
                </a:solidFill>
              </a:rPr>
              <a:t>RGB 255-255-255</a:t>
            </a:r>
          </a:p>
          <a:p>
            <a:pPr algn="ctr"/>
            <a:endParaRPr lang="it-IT" sz="1400" dirty="0">
              <a:solidFill>
                <a:schemeClr val="tx2"/>
              </a:solidFill>
            </a:endParaRPr>
          </a:p>
          <a:p>
            <a:pPr algn="ctr"/>
            <a:r>
              <a:rPr lang="it-IT" sz="1200" dirty="0">
                <a:solidFill>
                  <a:schemeClr val="tx2"/>
                </a:solidFill>
              </a:rPr>
              <a:t>PER TESTO E FONDO</a:t>
            </a:r>
            <a:endParaRPr lang="it-IT" sz="1200" b="1" dirty="0">
              <a:solidFill>
                <a:schemeClr val="tx2"/>
              </a:solidFill>
            </a:endParaRPr>
          </a:p>
        </p:txBody>
      </p:sp>
      <p:sp>
        <p:nvSpPr>
          <p:cNvPr id="36" name="bg object 16">
            <a:extLst>
              <a:ext uri="{FF2B5EF4-FFF2-40B4-BE49-F238E27FC236}">
                <a16:creationId xmlns:a16="http://schemas.microsoft.com/office/drawing/2014/main" id="{EBCB70C9-69DA-4E5C-8AB4-BAB62C617C0F}"/>
              </a:ext>
            </a:extLst>
          </p:cNvPr>
          <p:cNvSpPr/>
          <p:nvPr userDrawn="1"/>
        </p:nvSpPr>
        <p:spPr>
          <a:xfrm>
            <a:off x="11330381" y="6448615"/>
            <a:ext cx="311785" cy="410845"/>
          </a:xfrm>
          <a:custGeom>
            <a:avLst/>
            <a:gdLst/>
            <a:ahLst/>
            <a:cxnLst/>
            <a:rect l="l" t="t" r="r" b="b"/>
            <a:pathLst>
              <a:path w="311784" h="410845">
                <a:moveTo>
                  <a:pt x="311645" y="0"/>
                </a:moveTo>
                <a:lnTo>
                  <a:pt x="0" y="0"/>
                </a:lnTo>
                <a:lnTo>
                  <a:pt x="0" y="410438"/>
                </a:lnTo>
                <a:lnTo>
                  <a:pt x="311645" y="410438"/>
                </a:lnTo>
                <a:lnTo>
                  <a:pt x="311645" y="0"/>
                </a:lnTo>
                <a:close/>
              </a:path>
            </a:pathLst>
          </a:custGeom>
          <a:solidFill>
            <a:srgbClr val="0047B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7" name="Holder 7">
            <a:extLst>
              <a:ext uri="{FF2B5EF4-FFF2-40B4-BE49-F238E27FC236}">
                <a16:creationId xmlns:a16="http://schemas.microsoft.com/office/drawing/2014/main" id="{19D73232-59FD-4846-9B82-25A828457460}"/>
              </a:ext>
            </a:extLst>
          </p:cNvPr>
          <p:cNvSpPr txBox="1">
            <a:spLocks/>
          </p:cNvSpPr>
          <p:nvPr userDrawn="1"/>
        </p:nvSpPr>
        <p:spPr>
          <a:xfrm>
            <a:off x="11251095" y="6520516"/>
            <a:ext cx="427187" cy="16158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it-IT"/>
            </a:defPPr>
            <a:lvl1pPr marL="0" algn="l" defTabSz="914400" rtl="0" eaLnBrk="1" latinLnBrk="0" hangingPunct="1">
              <a:defRPr sz="850" b="1" i="0" kern="1200">
                <a:solidFill>
                  <a:schemeClr val="bg1"/>
                </a:solidFill>
                <a:latin typeface="Verdana"/>
                <a:ea typeface="+mn-ea"/>
                <a:cs typeface="Verdana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8100" algn="ctr">
              <a:spcBef>
                <a:spcPts val="105"/>
              </a:spcBef>
            </a:pPr>
            <a:fld id="{81D60167-4931-47E6-BA6A-407CBD079E47}" type="slidenum">
              <a:rPr lang="it-IT" sz="1050" b="0" i="0" spc="5" smtClean="0">
                <a:latin typeface="Avenir Next LT Pro" pitchFamily="2" charset="0"/>
              </a:rPr>
              <a:pPr marL="38100" algn="ctr">
                <a:spcBef>
                  <a:spcPts val="105"/>
                </a:spcBef>
              </a:pPr>
              <a:t>‹N›</a:t>
            </a:fld>
            <a:endParaRPr lang="it-IT" sz="1050" b="0" i="0" spc="5" dirty="0">
              <a:latin typeface="Avenir Next LT Pro" pitchFamily="2" charset="0"/>
            </a:endParaRPr>
          </a:p>
        </p:txBody>
      </p:sp>
      <p:pic>
        <p:nvPicPr>
          <p:cNvPr id="40" name="Elemento grafico 2">
            <a:extLst>
              <a:ext uri="{FF2B5EF4-FFF2-40B4-BE49-F238E27FC236}">
                <a16:creationId xmlns:a16="http://schemas.microsoft.com/office/drawing/2014/main" id="{F4CFCDD8-F0D3-4795-8840-22E696CD1E5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081892" y="-5080"/>
            <a:ext cx="1560273" cy="309880"/>
          </a:xfrm>
          <a:prstGeom prst="rect">
            <a:avLst/>
          </a:prstGeom>
        </p:spPr>
      </p:pic>
      <p:sp>
        <p:nvSpPr>
          <p:cNvPr id="2" name="CasellaDiTesto 1">
            <a:extLst>
              <a:ext uri="{FF2B5EF4-FFF2-40B4-BE49-F238E27FC236}">
                <a16:creationId xmlns:a16="http://schemas.microsoft.com/office/drawing/2014/main" id="{7345A6F3-164D-6032-3217-A0A7A103CC40}"/>
              </a:ext>
            </a:extLst>
          </p:cNvPr>
          <p:cNvSpPr txBox="1"/>
          <p:nvPr userDrawn="1"/>
        </p:nvSpPr>
        <p:spPr>
          <a:xfrm>
            <a:off x="3916392" y="6623540"/>
            <a:ext cx="739499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it-IT" sz="800" i="1" dirty="0"/>
              <a:t>Documento ad uso esclusivamente interno, da intendersi come strettamente riservato; non è autorizzata la trasmissione ad altri e la divulgazione all’esterno.</a:t>
            </a:r>
            <a:endParaRPr lang="en-US" sz="800" i="1" dirty="0"/>
          </a:p>
        </p:txBody>
      </p:sp>
    </p:spTree>
    <p:extLst>
      <p:ext uri="{BB962C8B-B14F-4D97-AF65-F5344CB8AC3E}">
        <p14:creationId xmlns:p14="http://schemas.microsoft.com/office/powerpoint/2010/main" val="40577762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15">
          <p15:clr>
            <a:srgbClr val="C35EA4"/>
          </p15:clr>
        </p15:guide>
        <p15:guide id="2" pos="7333">
          <p15:clr>
            <a:srgbClr val="C35EA4"/>
          </p15:clr>
        </p15:guide>
        <p15:guide id="3" orient="horz" pos="4065">
          <p15:clr>
            <a:srgbClr val="C35EA4"/>
          </p15:clr>
        </p15:guide>
        <p15:guide id="4" orient="horz" pos="504">
          <p15:clr>
            <a:srgbClr val="FBAE4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iapositiva ba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7">
            <a:extLst>
              <a:ext uri="{FF2B5EF4-FFF2-40B4-BE49-F238E27FC236}">
                <a16:creationId xmlns:a16="http://schemas.microsoft.com/office/drawing/2014/main" id="{8EFC7E4F-F803-4DCD-9FEE-0939E599D776}"/>
              </a:ext>
            </a:extLst>
          </p:cNvPr>
          <p:cNvSpPr txBox="1">
            <a:spLocks/>
          </p:cNvSpPr>
          <p:nvPr userDrawn="1"/>
        </p:nvSpPr>
        <p:spPr>
          <a:xfrm>
            <a:off x="11251095" y="6520516"/>
            <a:ext cx="427187" cy="16158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it-IT"/>
            </a:defPPr>
            <a:lvl1pPr marL="0" algn="l" defTabSz="914400" rtl="0" eaLnBrk="1" latinLnBrk="0" hangingPunct="1">
              <a:defRPr sz="850" b="1" i="0" kern="1200">
                <a:solidFill>
                  <a:schemeClr val="bg1"/>
                </a:solidFill>
                <a:latin typeface="Verdana"/>
                <a:ea typeface="+mn-ea"/>
                <a:cs typeface="Verdana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8100" algn="ctr">
              <a:spcBef>
                <a:spcPts val="105"/>
              </a:spcBef>
            </a:pPr>
            <a:fld id="{81D60167-4931-47E6-BA6A-407CBD079E47}" type="slidenum">
              <a:rPr lang="it-IT" sz="1050" b="0" i="0" spc="5" smtClean="0">
                <a:latin typeface="Avenir Next LT Pro" pitchFamily="2" charset="0"/>
              </a:rPr>
              <a:pPr marL="38100" algn="ctr">
                <a:spcBef>
                  <a:spcPts val="105"/>
                </a:spcBef>
              </a:pPr>
              <a:t>‹N›</a:t>
            </a:fld>
            <a:endParaRPr lang="it-IT" sz="1050" b="0" i="0" spc="5" dirty="0">
              <a:latin typeface="Avenir Next LT Pro" pitchFamily="2" charset="0"/>
            </a:endParaRPr>
          </a:p>
        </p:txBody>
      </p:sp>
      <p:sp>
        <p:nvSpPr>
          <p:cNvPr id="3" name="CasellaDiTesto 2">
            <a:extLst>
              <a:ext uri="{FF2B5EF4-FFF2-40B4-BE49-F238E27FC236}">
                <a16:creationId xmlns:a16="http://schemas.microsoft.com/office/drawing/2014/main" id="{0CF437FC-6181-0BF1-6ACA-FF2B323EAF77}"/>
              </a:ext>
            </a:extLst>
          </p:cNvPr>
          <p:cNvSpPr txBox="1"/>
          <p:nvPr userDrawn="1"/>
        </p:nvSpPr>
        <p:spPr>
          <a:xfrm>
            <a:off x="3916392" y="6623540"/>
            <a:ext cx="739499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it-IT" sz="800" i="1" dirty="0"/>
              <a:t>Documento ad uso esclusivamente interno, da intendersi come strettamente riservato; non è autorizzata la trasmissione ad altri e la divulgazione all’esterno.</a:t>
            </a:r>
            <a:endParaRPr lang="en-US" sz="800" i="1" dirty="0"/>
          </a:p>
        </p:txBody>
      </p:sp>
    </p:spTree>
    <p:extLst>
      <p:ext uri="{BB962C8B-B14F-4D97-AF65-F5344CB8AC3E}">
        <p14:creationId xmlns:p14="http://schemas.microsoft.com/office/powerpoint/2010/main" val="31899080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40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3850">
          <p15:clr>
            <a:srgbClr val="FBAE40"/>
          </p15:clr>
        </p15:guide>
        <p15:guide id="4" pos="234">
          <p15:clr>
            <a:srgbClr val="FBAE40"/>
          </p15:clr>
        </p15:guide>
        <p15:guide id="5" pos="7450">
          <p15:clr>
            <a:srgbClr val="FBAE40"/>
          </p15:clr>
        </p15:guide>
        <p15:guide id="6" orient="horz" pos="2242">
          <p15:clr>
            <a:srgbClr val="FBAE40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 2 grafi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ggetto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3" name="Oggetto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Titolo 1"/>
          <p:cNvSpPr>
            <a:spLocks noGrp="1"/>
          </p:cNvSpPr>
          <p:nvPr>
            <p:ph type="title" hasCustomPrompt="1"/>
          </p:nvPr>
        </p:nvSpPr>
        <p:spPr>
          <a:xfrm>
            <a:off x="458561" y="35496"/>
            <a:ext cx="11418587" cy="358951"/>
          </a:xfrm>
          <a:prstGeom prst="rect">
            <a:avLst/>
          </a:prstGeom>
        </p:spPr>
        <p:txBody>
          <a:bodyPr vert="horz"/>
          <a:lstStyle>
            <a:lvl1pPr>
              <a:defRPr sz="2000" b="1">
                <a:solidFill>
                  <a:schemeClr val="tx2"/>
                </a:solidFill>
              </a:defRPr>
            </a:lvl1pPr>
          </a:lstStyle>
          <a:p>
            <a:r>
              <a:rPr lang="it-IT" dirty="0"/>
              <a:t>Titolo SLIDE (</a:t>
            </a:r>
            <a:r>
              <a:rPr lang="it-IT" dirty="0" err="1"/>
              <a:t>arial</a:t>
            </a:r>
            <a:r>
              <a:rPr lang="it-IT" dirty="0"/>
              <a:t> </a:t>
            </a:r>
            <a:r>
              <a:rPr lang="it-IT" dirty="0" err="1"/>
              <a:t>max</a:t>
            </a:r>
            <a:r>
              <a:rPr lang="it-IT" dirty="0"/>
              <a:t> 24, </a:t>
            </a:r>
            <a:r>
              <a:rPr lang="it-IT" dirty="0" err="1"/>
              <a:t>bold</a:t>
            </a:r>
            <a:r>
              <a:rPr lang="it-IT" dirty="0"/>
              <a:t>, maiuscolo, blu, </a:t>
            </a:r>
            <a:r>
              <a:rPr lang="it-IT" dirty="0" err="1"/>
              <a:t>max</a:t>
            </a:r>
            <a:r>
              <a:rPr lang="it-IT" dirty="0"/>
              <a:t> 2 righe)</a:t>
            </a:r>
          </a:p>
        </p:txBody>
      </p:sp>
      <p:sp>
        <p:nvSpPr>
          <p:cNvPr id="34" name="Segnaposto testo 24"/>
          <p:cNvSpPr>
            <a:spLocks noGrp="1"/>
          </p:cNvSpPr>
          <p:nvPr>
            <p:ph type="body" sz="quarter" idx="15" hasCustomPrompt="1"/>
          </p:nvPr>
        </p:nvSpPr>
        <p:spPr>
          <a:xfrm>
            <a:off x="458561" y="360573"/>
            <a:ext cx="11418587" cy="3857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0" indent="0">
              <a:buNone/>
              <a:defRPr lang="it-IT" sz="1800" cap="none" baseline="0" dirty="0">
                <a:solidFill>
                  <a:schemeClr val="tx2"/>
                </a:solidFill>
              </a:defRPr>
            </a:lvl1pPr>
          </a:lstStyle>
          <a:p>
            <a:pPr marL="228589" lvl="0" indent="-228589"/>
            <a:r>
              <a:rPr lang="it-IT" dirty="0"/>
              <a:t>SOTTOTITOLO (corpo </a:t>
            </a:r>
            <a:r>
              <a:rPr lang="it-IT" dirty="0" err="1"/>
              <a:t>arial</a:t>
            </a:r>
            <a:r>
              <a:rPr lang="it-IT" dirty="0"/>
              <a:t> </a:t>
            </a:r>
            <a:r>
              <a:rPr lang="it-IT" dirty="0" err="1"/>
              <a:t>max</a:t>
            </a:r>
            <a:r>
              <a:rPr lang="it-IT" dirty="0"/>
              <a:t> 18, maiuscolo, blu, </a:t>
            </a:r>
            <a:r>
              <a:rPr lang="it-IT" dirty="0" err="1"/>
              <a:t>max</a:t>
            </a:r>
            <a:r>
              <a:rPr lang="it-IT" dirty="0"/>
              <a:t> 1 riga)</a:t>
            </a:r>
          </a:p>
        </p:txBody>
      </p:sp>
      <p:sp>
        <p:nvSpPr>
          <p:cNvPr id="35" name="Segnaposto testo 6"/>
          <p:cNvSpPr>
            <a:spLocks noGrp="1"/>
          </p:cNvSpPr>
          <p:nvPr>
            <p:ph type="body" sz="quarter" idx="28" hasCustomPrompt="1"/>
          </p:nvPr>
        </p:nvSpPr>
        <p:spPr>
          <a:xfrm>
            <a:off x="447407" y="6578630"/>
            <a:ext cx="8505825" cy="15081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None/>
              <a:defRPr sz="1100" i="1"/>
            </a:lvl1pPr>
            <a:lvl2pPr marL="457178" indent="0">
              <a:buNone/>
              <a:defRPr sz="1051"/>
            </a:lvl2pPr>
            <a:lvl3pPr marL="914354" indent="0">
              <a:buNone/>
              <a:defRPr sz="1000"/>
            </a:lvl3pPr>
            <a:lvl4pPr marL="1371532" indent="0">
              <a:buNone/>
              <a:defRPr sz="900"/>
            </a:lvl4pPr>
            <a:lvl5pPr marL="1828709" indent="0">
              <a:buNone/>
              <a:defRPr sz="900"/>
            </a:lvl5pPr>
          </a:lstStyle>
          <a:p>
            <a:pPr lvl="0"/>
            <a:r>
              <a:rPr lang="it-IT" dirty="0"/>
              <a:t>Nota</a:t>
            </a:r>
          </a:p>
        </p:txBody>
      </p:sp>
      <p:sp>
        <p:nvSpPr>
          <p:cNvPr id="20" name="bg object 16">
            <a:extLst>
              <a:ext uri="{FF2B5EF4-FFF2-40B4-BE49-F238E27FC236}">
                <a16:creationId xmlns:a16="http://schemas.microsoft.com/office/drawing/2014/main" id="{81F4C310-3C05-FE4C-B3DF-4DF9339E0883}"/>
              </a:ext>
            </a:extLst>
          </p:cNvPr>
          <p:cNvSpPr/>
          <p:nvPr userDrawn="1"/>
        </p:nvSpPr>
        <p:spPr>
          <a:xfrm>
            <a:off x="11330381" y="6448615"/>
            <a:ext cx="311785" cy="410845"/>
          </a:xfrm>
          <a:custGeom>
            <a:avLst/>
            <a:gdLst/>
            <a:ahLst/>
            <a:cxnLst/>
            <a:rect l="l" t="t" r="r" b="b"/>
            <a:pathLst>
              <a:path w="311784" h="410845">
                <a:moveTo>
                  <a:pt x="311645" y="0"/>
                </a:moveTo>
                <a:lnTo>
                  <a:pt x="0" y="0"/>
                </a:lnTo>
                <a:lnTo>
                  <a:pt x="0" y="410438"/>
                </a:lnTo>
                <a:lnTo>
                  <a:pt x="311645" y="410438"/>
                </a:lnTo>
                <a:lnTo>
                  <a:pt x="311645" y="0"/>
                </a:lnTo>
                <a:close/>
              </a:path>
            </a:pathLst>
          </a:custGeom>
          <a:solidFill>
            <a:srgbClr val="0047B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" name="Holder 7">
            <a:extLst>
              <a:ext uri="{FF2B5EF4-FFF2-40B4-BE49-F238E27FC236}">
                <a16:creationId xmlns:a16="http://schemas.microsoft.com/office/drawing/2014/main" id="{0BF9D894-ACC6-4F45-956B-DCBC885154FC}"/>
              </a:ext>
            </a:extLst>
          </p:cNvPr>
          <p:cNvSpPr txBox="1">
            <a:spLocks/>
          </p:cNvSpPr>
          <p:nvPr userDrawn="1"/>
        </p:nvSpPr>
        <p:spPr>
          <a:xfrm>
            <a:off x="11251095" y="6520516"/>
            <a:ext cx="427187" cy="16158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it-IT"/>
            </a:defPPr>
            <a:lvl1pPr marL="0" algn="l" defTabSz="914400" rtl="0" eaLnBrk="1" latinLnBrk="0" hangingPunct="1">
              <a:defRPr sz="850" b="1" i="0" kern="1200">
                <a:solidFill>
                  <a:schemeClr val="bg1"/>
                </a:solidFill>
                <a:latin typeface="Verdana"/>
                <a:ea typeface="+mn-ea"/>
                <a:cs typeface="Verdana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8100" algn="ctr">
              <a:spcBef>
                <a:spcPts val="105"/>
              </a:spcBef>
            </a:pPr>
            <a:fld id="{81D60167-4931-47E6-BA6A-407CBD079E47}" type="slidenum">
              <a:rPr lang="it-IT" sz="1050" b="0" i="0" spc="5" smtClean="0">
                <a:latin typeface="Avenir Next LT Pro" pitchFamily="2" charset="0"/>
              </a:rPr>
              <a:pPr marL="38100" algn="ctr">
                <a:spcBef>
                  <a:spcPts val="105"/>
                </a:spcBef>
              </a:pPr>
              <a:t>‹N›</a:t>
            </a:fld>
            <a:endParaRPr lang="it-IT" sz="1050" b="0" i="0" spc="5" dirty="0">
              <a:latin typeface="Avenir Next LT Pro" pitchFamily="2" charset="0"/>
            </a:endParaRPr>
          </a:p>
        </p:txBody>
      </p:sp>
      <p:pic>
        <p:nvPicPr>
          <p:cNvPr id="23" name="Elemento grafico 9">
            <a:extLst>
              <a:ext uri="{FF2B5EF4-FFF2-40B4-BE49-F238E27FC236}">
                <a16:creationId xmlns:a16="http://schemas.microsoft.com/office/drawing/2014/main" id="{8E6A0C82-066E-284E-B357-890B43CA7205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081893" y="0"/>
            <a:ext cx="1560273" cy="309880"/>
          </a:xfrm>
          <a:prstGeom prst="rect">
            <a:avLst/>
          </a:prstGeom>
        </p:spPr>
      </p:pic>
      <p:sp>
        <p:nvSpPr>
          <p:cNvPr id="11" name="object 267">
            <a:extLst>
              <a:ext uri="{FF2B5EF4-FFF2-40B4-BE49-F238E27FC236}">
                <a16:creationId xmlns:a16="http://schemas.microsoft.com/office/drawing/2014/main" id="{4FCF67E8-9F6C-43A0-B290-F625921DA3D3}"/>
              </a:ext>
            </a:extLst>
          </p:cNvPr>
          <p:cNvSpPr/>
          <p:nvPr userDrawn="1"/>
        </p:nvSpPr>
        <p:spPr>
          <a:xfrm>
            <a:off x="0" y="1251482"/>
            <a:ext cx="675518" cy="45719"/>
          </a:xfrm>
          <a:custGeom>
            <a:avLst/>
            <a:gdLst/>
            <a:ahLst/>
            <a:cxnLst/>
            <a:rect l="l" t="t" r="r" b="b"/>
            <a:pathLst>
              <a:path w="657225">
                <a:moveTo>
                  <a:pt x="0" y="0"/>
                </a:moveTo>
                <a:lnTo>
                  <a:pt x="656678" y="0"/>
                </a:lnTo>
              </a:path>
            </a:pathLst>
          </a:custGeom>
          <a:ln w="76200">
            <a:solidFill>
              <a:srgbClr val="EEDC00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JhengHei UI Light" panose="020B0304030504040204" pitchFamily="34" charset="-120"/>
              <a:ea typeface="Microsoft JhengHei UI Light" panose="020B0304030504040204" pitchFamily="34" charset="-12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799609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STD Testo 2 Colon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egnaposto testo 4">
            <a:extLst>
              <a:ext uri="{FF2B5EF4-FFF2-40B4-BE49-F238E27FC236}">
                <a16:creationId xmlns:a16="http://schemas.microsoft.com/office/drawing/2014/main" id="{66BD8DA2-B6C3-DBB1-A872-FD6C9A456E3A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83991" y="1304925"/>
            <a:ext cx="5635146" cy="4808538"/>
          </a:xfrm>
        </p:spPr>
        <p:txBody>
          <a:bodyPr/>
          <a:lstStyle>
            <a:lvl1pPr marL="288000" indent="-288000"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it-IT" dirty="0"/>
              <a:t>Fare clic per modificare gli stili del testo dello schema</a:t>
            </a:r>
          </a:p>
          <a:p>
            <a:pPr lvl="1"/>
            <a:r>
              <a:rPr lang="it-IT" dirty="0"/>
              <a:t>Secondo livello</a:t>
            </a:r>
          </a:p>
          <a:p>
            <a:pPr lvl="2"/>
            <a:r>
              <a:rPr lang="it-IT" dirty="0"/>
              <a:t>Terzo livello</a:t>
            </a:r>
          </a:p>
          <a:p>
            <a:pPr lvl="3"/>
            <a:r>
              <a:rPr lang="it-IT" dirty="0"/>
              <a:t>Quarto livello</a:t>
            </a:r>
          </a:p>
          <a:p>
            <a:pPr lvl="4"/>
            <a:r>
              <a:rPr lang="it-IT" dirty="0"/>
              <a:t>Quinto livello</a:t>
            </a:r>
          </a:p>
        </p:txBody>
      </p:sp>
      <p:sp>
        <p:nvSpPr>
          <p:cNvPr id="14" name="Segnaposto testo 13">
            <a:extLst>
              <a:ext uri="{FF2B5EF4-FFF2-40B4-BE49-F238E27FC236}">
                <a16:creationId xmlns:a16="http://schemas.microsoft.com/office/drawing/2014/main" id="{4DBCE788-699C-A8C8-E18C-8F48DE1920D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096000" y="1304925"/>
            <a:ext cx="5724525" cy="4808538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6" name="Segnaposto testo 18">
            <a:extLst>
              <a:ext uri="{FF2B5EF4-FFF2-40B4-BE49-F238E27FC236}">
                <a16:creationId xmlns:a16="http://schemas.microsoft.com/office/drawing/2014/main" id="{4BE13200-0171-B003-47CB-81A132AA9C7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62378" y="415435"/>
            <a:ext cx="11161712" cy="3794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cap="none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it-IT" sz="2400" b="0" kern="1200" cap="all" baseline="0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TITOLO SLIDE (</a:t>
            </a:r>
            <a:r>
              <a:rPr lang="it-IT" sz="2400" b="0" kern="1200" cap="all" baseline="0" dirty="0" err="1">
                <a:solidFill>
                  <a:schemeClr val="tx2"/>
                </a:solidFill>
                <a:latin typeface="+mj-lt"/>
                <a:ea typeface="+mj-ea"/>
                <a:cs typeface="+mj-cs"/>
              </a:rPr>
              <a:t>Avenir</a:t>
            </a:r>
            <a:r>
              <a:rPr lang="it-IT" sz="2400" b="0" kern="1200" cap="all" baseline="0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 Next LT Pro MAX 24, MAIUSCOLO, BLU, MAX 2 RIGHE)</a:t>
            </a:r>
            <a:endParaRPr lang="it-IT" dirty="0"/>
          </a:p>
        </p:txBody>
      </p:sp>
      <p:sp>
        <p:nvSpPr>
          <p:cNvPr id="7" name="Segnaposto testo 20">
            <a:extLst>
              <a:ext uri="{FF2B5EF4-FFF2-40B4-BE49-F238E27FC236}">
                <a16:creationId xmlns:a16="http://schemas.microsoft.com/office/drawing/2014/main" id="{FF8F8746-508B-B31A-5A5F-145C741A731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62378" y="803474"/>
            <a:ext cx="9077325" cy="2880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it-IT" dirty="0"/>
              <a:t>SOTTOTITOLO (CORPO </a:t>
            </a:r>
            <a:r>
              <a:rPr lang="it-IT" dirty="0" err="1"/>
              <a:t>Avenir</a:t>
            </a:r>
            <a:r>
              <a:rPr lang="it-IT" dirty="0"/>
              <a:t> Next LT Pro MAX 16, MAIUSCOLO, BLU, MAX 1 RIGA)</a:t>
            </a:r>
          </a:p>
        </p:txBody>
      </p:sp>
      <p:sp>
        <p:nvSpPr>
          <p:cNvPr id="2" name="CasellaDiTesto 1">
            <a:extLst>
              <a:ext uri="{FF2B5EF4-FFF2-40B4-BE49-F238E27FC236}">
                <a16:creationId xmlns:a16="http://schemas.microsoft.com/office/drawing/2014/main" id="{793E4996-4AEB-5B8A-F0F3-B0CB9235F834}"/>
              </a:ext>
            </a:extLst>
          </p:cNvPr>
          <p:cNvSpPr txBox="1"/>
          <p:nvPr userDrawn="1"/>
        </p:nvSpPr>
        <p:spPr>
          <a:xfrm>
            <a:off x="3916392" y="6623540"/>
            <a:ext cx="739499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it-IT" sz="800" i="1" dirty="0"/>
              <a:t>Documento ad uso esclusivamente interno, da intendersi come strettamente riservato; non è autorizzata la trasmissione ad altri e la divulgazione all’esterno.</a:t>
            </a:r>
            <a:endParaRPr lang="en-US" sz="800" i="1" dirty="0"/>
          </a:p>
        </p:txBody>
      </p:sp>
    </p:spTree>
    <p:extLst>
      <p:ext uri="{BB962C8B-B14F-4D97-AF65-F5344CB8AC3E}">
        <p14:creationId xmlns:p14="http://schemas.microsoft.com/office/powerpoint/2010/main" val="22989044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Testo + Imm. d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Segnaposto immagine 26"/>
          <p:cNvSpPr>
            <a:spLocks noGrp="1"/>
          </p:cNvSpPr>
          <p:nvPr>
            <p:ph type="pic" sz="quarter" idx="16"/>
          </p:nvPr>
        </p:nvSpPr>
        <p:spPr>
          <a:xfrm>
            <a:off x="6095999" y="1304926"/>
            <a:ext cx="5724525" cy="4808538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txBody>
          <a:bodyPr vert="horz" lIns="0" tIns="0" rIns="0" bIns="0" rtlCol="0" anchor="t">
            <a:normAutofit/>
          </a:bodyPr>
          <a:lstStyle>
            <a:lvl1pPr marL="0" indent="0" algn="l">
              <a:buNone/>
              <a:defRPr lang="it-IT">
                <a:solidFill>
                  <a:schemeClr val="tx1"/>
                </a:solidFill>
              </a:defRPr>
            </a:lvl1pPr>
          </a:lstStyle>
          <a:p>
            <a:pPr lvl="0"/>
            <a:r>
              <a:rPr lang="it-IT" dirty="0"/>
              <a:t>Fare clic sull'icona per inserire un'immagine</a:t>
            </a:r>
          </a:p>
        </p:txBody>
      </p:sp>
      <p:sp>
        <p:nvSpPr>
          <p:cNvPr id="3" name="Segnaposto testo 2">
            <a:extLst>
              <a:ext uri="{FF2B5EF4-FFF2-40B4-BE49-F238E27FC236}">
                <a16:creationId xmlns:a16="http://schemas.microsoft.com/office/drawing/2014/main" id="{9D53E57C-B781-7A87-1990-307631BFFA6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91943" y="1304925"/>
            <a:ext cx="5437187" cy="4808538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6" name="Segnaposto testo 18">
            <a:extLst>
              <a:ext uri="{FF2B5EF4-FFF2-40B4-BE49-F238E27FC236}">
                <a16:creationId xmlns:a16="http://schemas.microsoft.com/office/drawing/2014/main" id="{B9979281-BB73-954C-C0E0-518DD5C9C42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0330" y="415435"/>
            <a:ext cx="11161712" cy="3794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cap="none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it-IT" sz="2400" b="0" kern="1200" cap="all" baseline="0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TITOLO SLIDE (</a:t>
            </a:r>
            <a:r>
              <a:rPr lang="it-IT" sz="2400" b="0" kern="1200" cap="all" baseline="0" dirty="0" err="1">
                <a:solidFill>
                  <a:schemeClr val="tx2"/>
                </a:solidFill>
                <a:latin typeface="+mj-lt"/>
                <a:ea typeface="+mj-ea"/>
                <a:cs typeface="+mj-cs"/>
              </a:rPr>
              <a:t>Avenir</a:t>
            </a:r>
            <a:r>
              <a:rPr lang="it-IT" sz="2400" b="0" kern="1200" cap="all" baseline="0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 Next LT Pro MAX 24, MAIUSCOLO, BLU, MAX 2 RIGHE)</a:t>
            </a:r>
            <a:endParaRPr lang="it-IT" dirty="0"/>
          </a:p>
        </p:txBody>
      </p:sp>
      <p:sp>
        <p:nvSpPr>
          <p:cNvPr id="7" name="Segnaposto testo 20">
            <a:extLst>
              <a:ext uri="{FF2B5EF4-FFF2-40B4-BE49-F238E27FC236}">
                <a16:creationId xmlns:a16="http://schemas.microsoft.com/office/drawing/2014/main" id="{C1309A84-348C-18D0-D48F-60ED45C464C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70330" y="803474"/>
            <a:ext cx="9077325" cy="2880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it-IT" dirty="0"/>
              <a:t>SOTTOTITOLO (CORPO </a:t>
            </a:r>
            <a:r>
              <a:rPr lang="it-IT" dirty="0" err="1"/>
              <a:t>Avenir</a:t>
            </a:r>
            <a:r>
              <a:rPr lang="it-IT" dirty="0"/>
              <a:t> Next LT Pro MAX 16, MAIUSCOLO, BLU, MAX 1 RIGA)</a:t>
            </a:r>
          </a:p>
        </p:txBody>
      </p:sp>
      <p:sp>
        <p:nvSpPr>
          <p:cNvPr id="2" name="CasellaDiTesto 1">
            <a:extLst>
              <a:ext uri="{FF2B5EF4-FFF2-40B4-BE49-F238E27FC236}">
                <a16:creationId xmlns:a16="http://schemas.microsoft.com/office/drawing/2014/main" id="{13B62EFB-B9E5-CDAC-78D6-BA8729EC620B}"/>
              </a:ext>
            </a:extLst>
          </p:cNvPr>
          <p:cNvSpPr txBox="1"/>
          <p:nvPr userDrawn="1"/>
        </p:nvSpPr>
        <p:spPr>
          <a:xfrm>
            <a:off x="3916392" y="6623540"/>
            <a:ext cx="739499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it-IT" sz="800" i="1" dirty="0"/>
              <a:t>Documento ad uso esclusivamente interno, da intendersi come strettamente riservato; non è autorizzata la trasmissione ad altri e la divulgazione all’esterno.</a:t>
            </a:r>
            <a:endParaRPr lang="en-US" sz="800" i="1" dirty="0"/>
          </a:p>
        </p:txBody>
      </p:sp>
    </p:spTree>
    <p:extLst>
      <p:ext uri="{BB962C8B-B14F-4D97-AF65-F5344CB8AC3E}">
        <p14:creationId xmlns:p14="http://schemas.microsoft.com/office/powerpoint/2010/main" val="36427251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Testo + Imm. s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egnaposto immagine 14"/>
          <p:cNvSpPr>
            <a:spLocks noGrp="1"/>
          </p:cNvSpPr>
          <p:nvPr>
            <p:ph type="pic" sz="quarter" idx="16"/>
          </p:nvPr>
        </p:nvSpPr>
        <p:spPr>
          <a:xfrm>
            <a:off x="393088" y="1304926"/>
            <a:ext cx="5437187" cy="4808538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txBody>
          <a:bodyPr anchor="t"/>
          <a:lstStyle>
            <a:lvl1pPr marL="0" indent="0" algn="l">
              <a:buNone/>
              <a:defRPr>
                <a:solidFill>
                  <a:schemeClr val="bg2"/>
                </a:solidFill>
              </a:defRPr>
            </a:lvl1pPr>
          </a:lstStyle>
          <a:p>
            <a:r>
              <a:rPr lang="it-IT" dirty="0"/>
              <a:t>Fare clic sull'icona per inserire un'immagine</a:t>
            </a:r>
          </a:p>
        </p:txBody>
      </p:sp>
      <p:sp>
        <p:nvSpPr>
          <p:cNvPr id="11" name="Segnaposto testo 10">
            <a:extLst>
              <a:ext uri="{FF2B5EF4-FFF2-40B4-BE49-F238E27FC236}">
                <a16:creationId xmlns:a16="http://schemas.microsoft.com/office/drawing/2014/main" id="{F77BBFBA-10D3-6546-1F80-56C71835F87C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096000" y="1304925"/>
            <a:ext cx="5724525" cy="4808538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6" name="Segnaposto testo 18">
            <a:extLst>
              <a:ext uri="{FF2B5EF4-FFF2-40B4-BE49-F238E27FC236}">
                <a16:creationId xmlns:a16="http://schemas.microsoft.com/office/drawing/2014/main" id="{5C37A82E-7797-4C21-77BC-E2FCE663E61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1475" y="415435"/>
            <a:ext cx="11161712" cy="3794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cap="none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it-IT" sz="2400" b="0" kern="1200" cap="all" baseline="0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TITOLO SLIDE (</a:t>
            </a:r>
            <a:r>
              <a:rPr lang="it-IT" sz="2400" b="0" kern="1200" cap="all" baseline="0" dirty="0" err="1">
                <a:solidFill>
                  <a:schemeClr val="tx2"/>
                </a:solidFill>
                <a:latin typeface="+mj-lt"/>
                <a:ea typeface="+mj-ea"/>
                <a:cs typeface="+mj-cs"/>
              </a:rPr>
              <a:t>Avenir</a:t>
            </a:r>
            <a:r>
              <a:rPr lang="it-IT" sz="2400" b="0" kern="1200" cap="all" baseline="0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 Next LT Pro MAX 24, MAIUSCOLO, BLU, MAX 2 RIGHE)</a:t>
            </a:r>
            <a:endParaRPr lang="it-IT" dirty="0"/>
          </a:p>
        </p:txBody>
      </p:sp>
      <p:sp>
        <p:nvSpPr>
          <p:cNvPr id="7" name="Segnaposto testo 20">
            <a:extLst>
              <a:ext uri="{FF2B5EF4-FFF2-40B4-BE49-F238E27FC236}">
                <a16:creationId xmlns:a16="http://schemas.microsoft.com/office/drawing/2014/main" id="{E9E08C70-F5F5-6068-C139-635FBB829F2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71475" y="803474"/>
            <a:ext cx="9077325" cy="2880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it-IT" dirty="0"/>
              <a:t>SOTTOTITOLO (CORPO </a:t>
            </a:r>
            <a:r>
              <a:rPr lang="it-IT" dirty="0" err="1"/>
              <a:t>Avenir</a:t>
            </a:r>
            <a:r>
              <a:rPr lang="it-IT" dirty="0"/>
              <a:t> Next LT Pro MAX 16, MAIUSCOLO, BLU, MAX 1 RIGA)</a:t>
            </a:r>
          </a:p>
        </p:txBody>
      </p:sp>
      <p:sp>
        <p:nvSpPr>
          <p:cNvPr id="2" name="TextBox 6">
            <a:extLst>
              <a:ext uri="{FF2B5EF4-FFF2-40B4-BE49-F238E27FC236}">
                <a16:creationId xmlns:a16="http://schemas.microsoft.com/office/drawing/2014/main" id="{C36B684A-6AE3-CF08-27BF-A7E07EEF972F}"/>
              </a:ext>
            </a:extLst>
          </p:cNvPr>
          <p:cNvSpPr txBox="1"/>
          <p:nvPr userDrawn="1"/>
        </p:nvSpPr>
        <p:spPr>
          <a:xfrm>
            <a:off x="4794258" y="6587150"/>
            <a:ext cx="6314549" cy="19883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sz="692" i="1" dirty="0"/>
              <a:t>Documento ad uso esclusivamente interno, da intendersi come strettamente riservato; non è autorizzata la trasmissione ad altri e la divulgazione all’esterno.</a:t>
            </a:r>
            <a:endParaRPr lang="en-US" sz="692" i="1" dirty="0"/>
          </a:p>
        </p:txBody>
      </p:sp>
    </p:spTree>
    <p:extLst>
      <p:ext uri="{BB962C8B-B14F-4D97-AF65-F5344CB8AC3E}">
        <p14:creationId xmlns:p14="http://schemas.microsoft.com/office/powerpoint/2010/main" val="31672468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GRAFICO + Tes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egnaposto grafico 14"/>
          <p:cNvSpPr>
            <a:spLocks noGrp="1"/>
          </p:cNvSpPr>
          <p:nvPr>
            <p:ph type="chart" sz="quarter" idx="16"/>
          </p:nvPr>
        </p:nvSpPr>
        <p:spPr>
          <a:xfrm>
            <a:off x="393088" y="1304926"/>
            <a:ext cx="5437187" cy="48085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bg2"/>
                </a:solidFill>
              </a:defRPr>
            </a:lvl1pPr>
          </a:lstStyle>
          <a:p>
            <a:r>
              <a:rPr lang="it-IT" dirty="0"/>
              <a:t>Fare clic sull'icona per inserire un grafico</a:t>
            </a:r>
          </a:p>
        </p:txBody>
      </p:sp>
      <p:sp>
        <p:nvSpPr>
          <p:cNvPr id="7" name="Segnaposto testo 10">
            <a:extLst>
              <a:ext uri="{FF2B5EF4-FFF2-40B4-BE49-F238E27FC236}">
                <a16:creationId xmlns:a16="http://schemas.microsoft.com/office/drawing/2014/main" id="{80F24E44-C98E-C7DD-42A5-9FB7E45CFE4B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096000" y="1304925"/>
            <a:ext cx="5724525" cy="4808538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6" name="Segnaposto testo 18">
            <a:extLst>
              <a:ext uri="{FF2B5EF4-FFF2-40B4-BE49-F238E27FC236}">
                <a16:creationId xmlns:a16="http://schemas.microsoft.com/office/drawing/2014/main" id="{E32208A5-1250-A289-74AC-2EAEE253CB3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1475" y="415435"/>
            <a:ext cx="11161712" cy="3794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cap="none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it-IT" sz="2400" b="0" kern="1200" cap="all" baseline="0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TITOLO SLIDE (</a:t>
            </a:r>
            <a:r>
              <a:rPr lang="it-IT" sz="2400" b="0" kern="1200" cap="all" baseline="0" dirty="0" err="1">
                <a:solidFill>
                  <a:schemeClr val="tx2"/>
                </a:solidFill>
                <a:latin typeface="+mj-lt"/>
                <a:ea typeface="+mj-ea"/>
                <a:cs typeface="+mj-cs"/>
              </a:rPr>
              <a:t>Avenir</a:t>
            </a:r>
            <a:r>
              <a:rPr lang="it-IT" sz="2400" b="0" kern="1200" cap="all" baseline="0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 Next LT Pro MAX 24, MAIUSCOLO, BLU, MAX 2 RIGHE)</a:t>
            </a:r>
            <a:endParaRPr lang="it-IT" dirty="0"/>
          </a:p>
        </p:txBody>
      </p:sp>
      <p:sp>
        <p:nvSpPr>
          <p:cNvPr id="8" name="Segnaposto testo 20">
            <a:extLst>
              <a:ext uri="{FF2B5EF4-FFF2-40B4-BE49-F238E27FC236}">
                <a16:creationId xmlns:a16="http://schemas.microsoft.com/office/drawing/2014/main" id="{A665310F-956A-BBDC-9CED-40B687FBD6D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71475" y="803474"/>
            <a:ext cx="9077325" cy="2880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it-IT" dirty="0"/>
              <a:t>SOTTOTITOLO (CORPO </a:t>
            </a:r>
            <a:r>
              <a:rPr lang="it-IT" dirty="0" err="1"/>
              <a:t>Avenir</a:t>
            </a:r>
            <a:r>
              <a:rPr lang="it-IT" dirty="0"/>
              <a:t> Next LT Pro MAX 16, MAIUSCOLO, BLU, MAX 1 RIGA)</a:t>
            </a:r>
          </a:p>
        </p:txBody>
      </p:sp>
      <p:sp>
        <p:nvSpPr>
          <p:cNvPr id="2" name="TextBox 6">
            <a:extLst>
              <a:ext uri="{FF2B5EF4-FFF2-40B4-BE49-F238E27FC236}">
                <a16:creationId xmlns:a16="http://schemas.microsoft.com/office/drawing/2014/main" id="{696A6E3A-612C-0097-5A63-1A6AB981ACE6}"/>
              </a:ext>
            </a:extLst>
          </p:cNvPr>
          <p:cNvSpPr txBox="1"/>
          <p:nvPr userDrawn="1"/>
        </p:nvSpPr>
        <p:spPr>
          <a:xfrm>
            <a:off x="4906406" y="6587150"/>
            <a:ext cx="6314549" cy="19883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it-IT" sz="692" i="1" dirty="0"/>
              <a:t>Documento ad uso esclusivamente interno, da intendersi come strettamente riservato; non è autorizzata la trasmissione ad altri e la divulgazione all’esterno.</a:t>
            </a:r>
            <a:endParaRPr lang="en-US" sz="692" i="1" dirty="0"/>
          </a:p>
        </p:txBody>
      </p:sp>
    </p:spTree>
    <p:extLst>
      <p:ext uri="{BB962C8B-B14F-4D97-AF65-F5344CB8AC3E}">
        <p14:creationId xmlns:p14="http://schemas.microsoft.com/office/powerpoint/2010/main" val="17587666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2.sv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13" Type="http://schemas.openxmlformats.org/officeDocument/2006/relationships/slideLayout" Target="../slideLayouts/slideLayout27.xml"/><Relationship Id="rId18" Type="http://schemas.openxmlformats.org/officeDocument/2006/relationships/slideLayout" Target="../slideLayouts/slideLayout32.xml"/><Relationship Id="rId3" Type="http://schemas.openxmlformats.org/officeDocument/2006/relationships/slideLayout" Target="../slideLayouts/slideLayout17.xml"/><Relationship Id="rId21" Type="http://schemas.openxmlformats.org/officeDocument/2006/relationships/tags" Target="../tags/tag1.xml"/><Relationship Id="rId7" Type="http://schemas.openxmlformats.org/officeDocument/2006/relationships/slideLayout" Target="../slideLayouts/slideLayout21.xml"/><Relationship Id="rId12" Type="http://schemas.openxmlformats.org/officeDocument/2006/relationships/slideLayout" Target="../slideLayouts/slideLayout26.xml"/><Relationship Id="rId17" Type="http://schemas.openxmlformats.org/officeDocument/2006/relationships/slideLayout" Target="../slideLayouts/slideLayout31.xml"/><Relationship Id="rId25" Type="http://schemas.openxmlformats.org/officeDocument/2006/relationships/image" Target="../media/image2.svg"/><Relationship Id="rId2" Type="http://schemas.openxmlformats.org/officeDocument/2006/relationships/slideLayout" Target="../slideLayouts/slideLayout16.xml"/><Relationship Id="rId16" Type="http://schemas.openxmlformats.org/officeDocument/2006/relationships/slideLayout" Target="../slideLayouts/slideLayout30.xml"/><Relationship Id="rId20" Type="http://schemas.openxmlformats.org/officeDocument/2006/relationships/theme" Target="../theme/theme2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24" Type="http://schemas.openxmlformats.org/officeDocument/2006/relationships/image" Target="../media/image1.png"/><Relationship Id="rId5" Type="http://schemas.openxmlformats.org/officeDocument/2006/relationships/slideLayout" Target="../slideLayouts/slideLayout19.xml"/><Relationship Id="rId15" Type="http://schemas.openxmlformats.org/officeDocument/2006/relationships/slideLayout" Target="../slideLayouts/slideLayout29.xml"/><Relationship Id="rId23" Type="http://schemas.openxmlformats.org/officeDocument/2006/relationships/image" Target="../media/image11.emf"/><Relationship Id="rId10" Type="http://schemas.openxmlformats.org/officeDocument/2006/relationships/slideLayout" Target="../slideLayouts/slideLayout24.xml"/><Relationship Id="rId19" Type="http://schemas.openxmlformats.org/officeDocument/2006/relationships/slideLayout" Target="../slideLayouts/slideLayout33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Relationship Id="rId14" Type="http://schemas.openxmlformats.org/officeDocument/2006/relationships/slideLayout" Target="../slideLayouts/slideLayout28.xml"/><Relationship Id="rId22" Type="http://schemas.openxmlformats.org/officeDocument/2006/relationships/oleObject" Target="../embeddings/oleObject1.bin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1.xml"/><Relationship Id="rId13" Type="http://schemas.openxmlformats.org/officeDocument/2006/relationships/slideLayout" Target="../slideLayouts/slideLayout46.xml"/><Relationship Id="rId18" Type="http://schemas.openxmlformats.org/officeDocument/2006/relationships/slideLayout" Target="../slideLayouts/slideLayout51.xml"/><Relationship Id="rId26" Type="http://schemas.openxmlformats.org/officeDocument/2006/relationships/image" Target="../media/image1.png"/><Relationship Id="rId3" Type="http://schemas.openxmlformats.org/officeDocument/2006/relationships/slideLayout" Target="../slideLayouts/slideLayout36.xml"/><Relationship Id="rId21" Type="http://schemas.openxmlformats.org/officeDocument/2006/relationships/slideLayout" Target="../slideLayouts/slideLayout54.xml"/><Relationship Id="rId7" Type="http://schemas.openxmlformats.org/officeDocument/2006/relationships/slideLayout" Target="../slideLayouts/slideLayout40.xml"/><Relationship Id="rId12" Type="http://schemas.openxmlformats.org/officeDocument/2006/relationships/slideLayout" Target="../slideLayouts/slideLayout45.xml"/><Relationship Id="rId17" Type="http://schemas.openxmlformats.org/officeDocument/2006/relationships/slideLayout" Target="../slideLayouts/slideLayout50.xml"/><Relationship Id="rId25" Type="http://schemas.openxmlformats.org/officeDocument/2006/relationships/image" Target="../media/image11.emf"/><Relationship Id="rId2" Type="http://schemas.openxmlformats.org/officeDocument/2006/relationships/slideLayout" Target="../slideLayouts/slideLayout35.xml"/><Relationship Id="rId16" Type="http://schemas.openxmlformats.org/officeDocument/2006/relationships/slideLayout" Target="../slideLayouts/slideLayout49.xml"/><Relationship Id="rId20" Type="http://schemas.openxmlformats.org/officeDocument/2006/relationships/slideLayout" Target="../slideLayouts/slideLayout53.xml"/><Relationship Id="rId1" Type="http://schemas.openxmlformats.org/officeDocument/2006/relationships/slideLayout" Target="../slideLayouts/slideLayout34.xml"/><Relationship Id="rId6" Type="http://schemas.openxmlformats.org/officeDocument/2006/relationships/slideLayout" Target="../slideLayouts/slideLayout39.xml"/><Relationship Id="rId11" Type="http://schemas.openxmlformats.org/officeDocument/2006/relationships/slideLayout" Target="../slideLayouts/slideLayout44.xml"/><Relationship Id="rId24" Type="http://schemas.openxmlformats.org/officeDocument/2006/relationships/oleObject" Target="../embeddings/oleObject2.bin"/><Relationship Id="rId5" Type="http://schemas.openxmlformats.org/officeDocument/2006/relationships/slideLayout" Target="../slideLayouts/slideLayout38.xml"/><Relationship Id="rId15" Type="http://schemas.openxmlformats.org/officeDocument/2006/relationships/slideLayout" Target="../slideLayouts/slideLayout48.xml"/><Relationship Id="rId23" Type="http://schemas.openxmlformats.org/officeDocument/2006/relationships/tags" Target="../tags/tag2.xml"/><Relationship Id="rId10" Type="http://schemas.openxmlformats.org/officeDocument/2006/relationships/slideLayout" Target="../slideLayouts/slideLayout43.xml"/><Relationship Id="rId19" Type="http://schemas.openxmlformats.org/officeDocument/2006/relationships/slideLayout" Target="../slideLayouts/slideLayout52.xml"/><Relationship Id="rId4" Type="http://schemas.openxmlformats.org/officeDocument/2006/relationships/slideLayout" Target="../slideLayouts/slideLayout37.xml"/><Relationship Id="rId9" Type="http://schemas.openxmlformats.org/officeDocument/2006/relationships/slideLayout" Target="../slideLayouts/slideLayout42.xml"/><Relationship Id="rId14" Type="http://schemas.openxmlformats.org/officeDocument/2006/relationships/slideLayout" Target="../slideLayouts/slideLayout47.xml"/><Relationship Id="rId22" Type="http://schemas.openxmlformats.org/officeDocument/2006/relationships/theme" Target="../theme/theme3.xml"/><Relationship Id="rId27" Type="http://schemas.openxmlformats.org/officeDocument/2006/relationships/image" Target="../media/image2.sv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1" name="Rettangolo 220">
            <a:extLst>
              <a:ext uri="{FF2B5EF4-FFF2-40B4-BE49-F238E27FC236}">
                <a16:creationId xmlns:a16="http://schemas.microsoft.com/office/drawing/2014/main" id="{C2E50F1B-C1C6-8538-E27B-DDE18A0658EE}"/>
              </a:ext>
            </a:extLst>
          </p:cNvPr>
          <p:cNvSpPr/>
          <p:nvPr userDrawn="1"/>
        </p:nvSpPr>
        <p:spPr>
          <a:xfrm>
            <a:off x="9181458" y="-1613903"/>
            <a:ext cx="1270350" cy="935774"/>
          </a:xfrm>
          <a:prstGeom prst="rect">
            <a:avLst/>
          </a:prstGeom>
          <a:solidFill>
            <a:srgbClr val="3D85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it-IT" sz="900" b="1" dirty="0">
                <a:solidFill>
                  <a:schemeClr val="bg1"/>
                </a:solidFill>
              </a:rPr>
              <a:t>CELESTE</a:t>
            </a:r>
          </a:p>
          <a:p>
            <a:pPr algn="ctr"/>
            <a:r>
              <a:rPr lang="it-IT" sz="900" dirty="0">
                <a:solidFill>
                  <a:schemeClr val="bg1"/>
                </a:solidFill>
              </a:rPr>
              <a:t>RGB 61-133-255</a:t>
            </a:r>
          </a:p>
          <a:p>
            <a:pPr algn="ctr"/>
            <a:endParaRPr lang="it-IT" sz="900" dirty="0">
              <a:solidFill>
                <a:schemeClr val="bg1"/>
              </a:solidFill>
            </a:endParaRPr>
          </a:p>
          <a:p>
            <a:pPr algn="ctr"/>
            <a:r>
              <a:rPr lang="it-IT" sz="900" dirty="0">
                <a:solidFill>
                  <a:schemeClr val="bg1"/>
                </a:solidFill>
              </a:rPr>
              <a:t>GRAFICA</a:t>
            </a:r>
            <a:endParaRPr lang="it-IT" sz="900" b="1" dirty="0">
              <a:solidFill>
                <a:schemeClr val="bg1"/>
              </a:solidFill>
            </a:endParaRPr>
          </a:p>
        </p:txBody>
      </p:sp>
      <p:sp>
        <p:nvSpPr>
          <p:cNvPr id="222" name="Rettangolo 221">
            <a:extLst>
              <a:ext uri="{FF2B5EF4-FFF2-40B4-BE49-F238E27FC236}">
                <a16:creationId xmlns:a16="http://schemas.microsoft.com/office/drawing/2014/main" id="{8C9F3624-D6B9-5A22-8139-2F7FFCE732EE}"/>
              </a:ext>
            </a:extLst>
          </p:cNvPr>
          <p:cNvSpPr/>
          <p:nvPr userDrawn="1"/>
        </p:nvSpPr>
        <p:spPr>
          <a:xfrm>
            <a:off x="371475" y="-1613902"/>
            <a:ext cx="1270350" cy="93577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it-IT" sz="900" b="1" dirty="0">
                <a:solidFill>
                  <a:schemeClr val="bg1"/>
                </a:solidFill>
              </a:rPr>
              <a:t>BLU</a:t>
            </a:r>
          </a:p>
          <a:p>
            <a:pPr algn="ctr"/>
            <a:r>
              <a:rPr lang="it-IT" sz="900" dirty="0">
                <a:solidFill>
                  <a:schemeClr val="bg1"/>
                </a:solidFill>
              </a:rPr>
              <a:t>RGB 0-71-187</a:t>
            </a:r>
          </a:p>
          <a:p>
            <a:pPr algn="ctr"/>
            <a:endParaRPr lang="it-IT" sz="900" dirty="0">
              <a:solidFill>
                <a:schemeClr val="bg1"/>
              </a:solidFill>
            </a:endParaRPr>
          </a:p>
          <a:p>
            <a:pPr algn="ctr"/>
            <a:r>
              <a:rPr lang="it-IT" sz="900" dirty="0">
                <a:solidFill>
                  <a:schemeClr val="bg1"/>
                </a:solidFill>
              </a:rPr>
              <a:t>TITOLI /GRAFICI /GRAFICA</a:t>
            </a:r>
            <a:endParaRPr lang="it-IT" sz="900" b="1" dirty="0">
              <a:solidFill>
                <a:schemeClr val="bg1"/>
              </a:solidFill>
            </a:endParaRPr>
          </a:p>
        </p:txBody>
      </p:sp>
      <p:sp>
        <p:nvSpPr>
          <p:cNvPr id="223" name="Rettangolo 222">
            <a:extLst>
              <a:ext uri="{FF2B5EF4-FFF2-40B4-BE49-F238E27FC236}">
                <a16:creationId xmlns:a16="http://schemas.microsoft.com/office/drawing/2014/main" id="{2F1E8539-6793-A4CC-FA83-AC9873E11B3B}"/>
              </a:ext>
            </a:extLst>
          </p:cNvPr>
          <p:cNvSpPr/>
          <p:nvPr userDrawn="1"/>
        </p:nvSpPr>
        <p:spPr>
          <a:xfrm>
            <a:off x="3314062" y="-1608824"/>
            <a:ext cx="1270350" cy="935774"/>
          </a:xfrm>
          <a:prstGeom prst="rect">
            <a:avLst/>
          </a:prstGeom>
          <a:solidFill>
            <a:srgbClr val="3B3B3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it-IT" sz="900" b="1" dirty="0">
                <a:solidFill>
                  <a:schemeClr val="bg1"/>
                </a:solidFill>
              </a:rPr>
              <a:t>GRIGIO 1 </a:t>
            </a:r>
            <a:br>
              <a:rPr lang="it-IT" sz="900" b="1" dirty="0">
                <a:solidFill>
                  <a:schemeClr val="bg1"/>
                </a:solidFill>
              </a:rPr>
            </a:br>
            <a:r>
              <a:rPr lang="it-IT" sz="900" dirty="0">
                <a:solidFill>
                  <a:schemeClr val="bg1"/>
                </a:solidFill>
              </a:rPr>
              <a:t>RGB 60-60-59</a:t>
            </a:r>
          </a:p>
          <a:p>
            <a:pPr algn="ctr"/>
            <a:endParaRPr lang="it-IT" sz="900" dirty="0">
              <a:solidFill>
                <a:schemeClr val="bg1"/>
              </a:solidFill>
            </a:endParaRPr>
          </a:p>
          <a:p>
            <a:pPr algn="ctr"/>
            <a:r>
              <a:rPr lang="it-IT" sz="900" dirty="0">
                <a:solidFill>
                  <a:schemeClr val="bg1"/>
                </a:solidFill>
              </a:rPr>
              <a:t>SOLO PER IL TESTO</a:t>
            </a:r>
          </a:p>
          <a:p>
            <a:pPr algn="ctr"/>
            <a:r>
              <a:rPr lang="it-IT" sz="900" dirty="0">
                <a:solidFill>
                  <a:schemeClr val="bg1"/>
                </a:solidFill>
              </a:rPr>
              <a:t>E GRAFICI</a:t>
            </a:r>
          </a:p>
        </p:txBody>
      </p:sp>
      <p:sp>
        <p:nvSpPr>
          <p:cNvPr id="224" name="Rettangolo 223">
            <a:extLst>
              <a:ext uri="{FF2B5EF4-FFF2-40B4-BE49-F238E27FC236}">
                <a16:creationId xmlns:a16="http://schemas.microsoft.com/office/drawing/2014/main" id="{EC0AC000-DBEA-D6A5-4C77-1453E11631B3}"/>
              </a:ext>
            </a:extLst>
          </p:cNvPr>
          <p:cNvSpPr/>
          <p:nvPr userDrawn="1"/>
        </p:nvSpPr>
        <p:spPr>
          <a:xfrm>
            <a:off x="4783253" y="-1613902"/>
            <a:ext cx="1270350" cy="93577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it-IT" sz="900" b="1" dirty="0">
                <a:solidFill>
                  <a:schemeClr val="bg1"/>
                </a:solidFill>
              </a:rPr>
              <a:t>GRIGIO 2</a:t>
            </a:r>
          </a:p>
          <a:p>
            <a:pPr algn="ctr"/>
            <a:r>
              <a:rPr lang="it-IT" sz="900" dirty="0">
                <a:solidFill>
                  <a:schemeClr val="bg1"/>
                </a:solidFill>
              </a:rPr>
              <a:t>RGB 112-111-111</a:t>
            </a:r>
          </a:p>
          <a:p>
            <a:pPr algn="ctr"/>
            <a:endParaRPr lang="it-IT" sz="900" dirty="0">
              <a:solidFill>
                <a:schemeClr val="bg1"/>
              </a:solidFill>
            </a:endParaRPr>
          </a:p>
          <a:p>
            <a:pPr algn="ctr"/>
            <a:r>
              <a:rPr lang="it-IT" sz="900" dirty="0">
                <a:solidFill>
                  <a:schemeClr val="bg1"/>
                </a:solidFill>
              </a:rPr>
              <a:t>TESTO </a:t>
            </a:r>
            <a:r>
              <a:rPr lang="it-IT" sz="900" b="1" dirty="0">
                <a:solidFill>
                  <a:schemeClr val="bg1"/>
                </a:solidFill>
              </a:rPr>
              <a:t>BIANCO</a:t>
            </a:r>
          </a:p>
        </p:txBody>
      </p:sp>
      <p:sp>
        <p:nvSpPr>
          <p:cNvPr id="225" name="Rettangolo 224">
            <a:extLst>
              <a:ext uri="{FF2B5EF4-FFF2-40B4-BE49-F238E27FC236}">
                <a16:creationId xmlns:a16="http://schemas.microsoft.com/office/drawing/2014/main" id="{71FFD4FB-43D0-993F-073E-6BC10B33601E}"/>
              </a:ext>
            </a:extLst>
          </p:cNvPr>
          <p:cNvSpPr/>
          <p:nvPr userDrawn="1"/>
        </p:nvSpPr>
        <p:spPr>
          <a:xfrm>
            <a:off x="6238870" y="-1613902"/>
            <a:ext cx="1270350" cy="935774"/>
          </a:xfrm>
          <a:prstGeom prst="rect">
            <a:avLst/>
          </a:prstGeom>
          <a:solidFill>
            <a:srgbClr val="C0C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it-IT" sz="900" b="1" dirty="0">
                <a:solidFill>
                  <a:schemeClr val="bg2">
                    <a:lumMod val="25000"/>
                  </a:schemeClr>
                </a:solidFill>
              </a:rPr>
              <a:t>GRIGIO 3</a:t>
            </a:r>
          </a:p>
          <a:p>
            <a:pPr algn="ctr"/>
            <a:r>
              <a:rPr lang="it-IT" sz="900" dirty="0">
                <a:solidFill>
                  <a:srgbClr val="3B3B3A"/>
                </a:solidFill>
              </a:rPr>
              <a:t>RGB 192-192-192</a:t>
            </a:r>
          </a:p>
          <a:p>
            <a:pPr algn="ctr"/>
            <a:endParaRPr lang="it-IT" sz="900" b="1" dirty="0">
              <a:solidFill>
                <a:srgbClr val="3B3B3A"/>
              </a:solidFill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 sz="900" dirty="0">
                <a:solidFill>
                  <a:schemeClr val="tx1"/>
                </a:solidFill>
              </a:rPr>
              <a:t>TESTO </a:t>
            </a:r>
            <a:r>
              <a:rPr lang="it-IT" sz="900" b="1" dirty="0">
                <a:solidFill>
                  <a:schemeClr val="tx1"/>
                </a:solidFill>
              </a:rPr>
              <a:t>GRIGIO1</a:t>
            </a:r>
          </a:p>
          <a:p>
            <a:pPr algn="ctr"/>
            <a:r>
              <a:rPr lang="it-IT" sz="900" dirty="0">
                <a:solidFill>
                  <a:schemeClr val="accent5"/>
                </a:solidFill>
              </a:rPr>
              <a:t>SOLO GRAFICI</a:t>
            </a:r>
            <a:endParaRPr lang="it-IT" sz="900" b="1" dirty="0">
              <a:solidFill>
                <a:schemeClr val="accent5"/>
              </a:solidFill>
            </a:endParaRPr>
          </a:p>
        </p:txBody>
      </p:sp>
      <p:sp>
        <p:nvSpPr>
          <p:cNvPr id="226" name="Rettangolo 225">
            <a:extLst>
              <a:ext uri="{FF2B5EF4-FFF2-40B4-BE49-F238E27FC236}">
                <a16:creationId xmlns:a16="http://schemas.microsoft.com/office/drawing/2014/main" id="{E83C18CF-1180-987B-AC47-2EB1C740C9AF}"/>
              </a:ext>
            </a:extLst>
          </p:cNvPr>
          <p:cNvSpPr/>
          <p:nvPr userDrawn="1"/>
        </p:nvSpPr>
        <p:spPr>
          <a:xfrm>
            <a:off x="1840665" y="-1613903"/>
            <a:ext cx="1270350" cy="935774"/>
          </a:xfrm>
          <a:prstGeom prst="rect">
            <a:avLst/>
          </a:prstGeom>
          <a:solidFill>
            <a:srgbClr val="E6DC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it-IT" sz="900" b="1" dirty="0">
                <a:solidFill>
                  <a:schemeClr val="bg1"/>
                </a:solidFill>
              </a:rPr>
              <a:t>GIALLO</a:t>
            </a:r>
          </a:p>
          <a:p>
            <a:pPr algn="ctr"/>
            <a:r>
              <a:rPr lang="it-IT" sz="900" dirty="0">
                <a:solidFill>
                  <a:schemeClr val="bg1"/>
                </a:solidFill>
              </a:rPr>
              <a:t>RGB 61-134-255</a:t>
            </a:r>
          </a:p>
          <a:p>
            <a:pPr algn="ctr"/>
            <a:endParaRPr lang="it-IT" sz="900" b="1" dirty="0">
              <a:solidFill>
                <a:schemeClr val="bg1"/>
              </a:solidFill>
            </a:endParaRPr>
          </a:p>
          <a:p>
            <a:pPr algn="ctr"/>
            <a:r>
              <a:rPr lang="it-IT" sz="900" b="0" dirty="0">
                <a:solidFill>
                  <a:schemeClr val="bg1"/>
                </a:solidFill>
              </a:rPr>
              <a:t>GRAFICI /GRAFICA</a:t>
            </a:r>
            <a:endParaRPr lang="it-IT" sz="900" b="1" dirty="0">
              <a:solidFill>
                <a:schemeClr val="bg1"/>
              </a:solidFill>
            </a:endParaRPr>
          </a:p>
        </p:txBody>
      </p:sp>
      <p:sp>
        <p:nvSpPr>
          <p:cNvPr id="227" name="Rettangolo 226">
            <a:extLst>
              <a:ext uri="{FF2B5EF4-FFF2-40B4-BE49-F238E27FC236}">
                <a16:creationId xmlns:a16="http://schemas.microsoft.com/office/drawing/2014/main" id="{779C8B37-697B-81F7-903A-210FE518BD90}"/>
              </a:ext>
            </a:extLst>
          </p:cNvPr>
          <p:cNvSpPr/>
          <p:nvPr userDrawn="1"/>
        </p:nvSpPr>
        <p:spPr>
          <a:xfrm>
            <a:off x="10552280" y="-1613902"/>
            <a:ext cx="1270350" cy="935774"/>
          </a:xfrm>
          <a:prstGeom prst="rect">
            <a:avLst/>
          </a:prstGeom>
          <a:solidFill>
            <a:schemeClr val="tx2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it-IT" sz="900" b="1" dirty="0">
                <a:solidFill>
                  <a:schemeClr val="tx1"/>
                </a:solidFill>
              </a:rPr>
              <a:t>BLU 80%</a:t>
            </a:r>
          </a:p>
          <a:p>
            <a:pPr algn="ctr"/>
            <a:r>
              <a:rPr lang="it-IT" sz="900" dirty="0">
                <a:solidFill>
                  <a:schemeClr val="tx1"/>
                </a:solidFill>
              </a:rPr>
              <a:t>RGB 0-71-187</a:t>
            </a:r>
            <a:endParaRPr lang="it-IT" sz="900" b="1" dirty="0">
              <a:solidFill>
                <a:schemeClr val="tx1"/>
              </a:solidFill>
            </a:endParaRPr>
          </a:p>
          <a:p>
            <a:pPr algn="ctr"/>
            <a:endParaRPr lang="it-IT" sz="900" b="1" dirty="0">
              <a:solidFill>
                <a:schemeClr val="tx1"/>
              </a:solidFill>
            </a:endParaRPr>
          </a:p>
          <a:p>
            <a:pPr algn="ctr"/>
            <a:r>
              <a:rPr lang="it-IT" sz="900" dirty="0">
                <a:solidFill>
                  <a:schemeClr val="tx1"/>
                </a:solidFill>
              </a:rPr>
              <a:t>FONDINI</a:t>
            </a:r>
            <a:endParaRPr lang="it-IT" sz="900" b="1" dirty="0">
              <a:solidFill>
                <a:schemeClr val="tx1"/>
              </a:solidFill>
            </a:endParaRPr>
          </a:p>
        </p:txBody>
      </p:sp>
      <p:sp>
        <p:nvSpPr>
          <p:cNvPr id="228" name="Rettangolo 227">
            <a:extLst>
              <a:ext uri="{FF2B5EF4-FFF2-40B4-BE49-F238E27FC236}">
                <a16:creationId xmlns:a16="http://schemas.microsoft.com/office/drawing/2014/main" id="{E69A6AFD-73AF-FE35-E347-5C4463B60681}"/>
              </a:ext>
            </a:extLst>
          </p:cNvPr>
          <p:cNvSpPr/>
          <p:nvPr userDrawn="1"/>
        </p:nvSpPr>
        <p:spPr>
          <a:xfrm>
            <a:off x="7725841" y="-1613902"/>
            <a:ext cx="1270350" cy="935774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it-IT" sz="900" b="1" dirty="0">
                <a:solidFill>
                  <a:schemeClr val="tx2"/>
                </a:solidFill>
              </a:rPr>
              <a:t>BIANCO</a:t>
            </a:r>
          </a:p>
          <a:p>
            <a:pPr algn="ctr"/>
            <a:r>
              <a:rPr lang="it-IT" sz="900" dirty="0">
                <a:solidFill>
                  <a:schemeClr val="tx2"/>
                </a:solidFill>
              </a:rPr>
              <a:t>RGB 255-255-255</a:t>
            </a:r>
          </a:p>
          <a:p>
            <a:pPr algn="ctr"/>
            <a:endParaRPr lang="it-IT" sz="900" dirty="0">
              <a:solidFill>
                <a:schemeClr val="tx2"/>
              </a:solidFill>
            </a:endParaRPr>
          </a:p>
          <a:p>
            <a:pPr algn="ctr"/>
            <a:r>
              <a:rPr lang="it-IT" sz="900" dirty="0">
                <a:solidFill>
                  <a:schemeClr val="tx2"/>
                </a:solidFill>
              </a:rPr>
              <a:t>PER TESTO E FONDO</a:t>
            </a:r>
            <a:endParaRPr lang="it-IT" sz="900" b="1" dirty="0">
              <a:solidFill>
                <a:schemeClr val="tx2"/>
              </a:solidFill>
            </a:endParaRPr>
          </a:p>
        </p:txBody>
      </p:sp>
      <p:sp>
        <p:nvSpPr>
          <p:cNvPr id="238" name="object 267">
            <a:extLst>
              <a:ext uri="{FF2B5EF4-FFF2-40B4-BE49-F238E27FC236}">
                <a16:creationId xmlns:a16="http://schemas.microsoft.com/office/drawing/2014/main" id="{8DDBE568-695D-421F-8B18-F4BC04A4660C}"/>
              </a:ext>
            </a:extLst>
          </p:cNvPr>
          <p:cNvSpPr/>
          <p:nvPr userDrawn="1"/>
        </p:nvSpPr>
        <p:spPr>
          <a:xfrm>
            <a:off x="0" y="1165222"/>
            <a:ext cx="675518" cy="45719"/>
          </a:xfrm>
          <a:custGeom>
            <a:avLst/>
            <a:gdLst/>
            <a:ahLst/>
            <a:cxnLst/>
            <a:rect l="l" t="t" r="r" b="b"/>
            <a:pathLst>
              <a:path w="657225">
                <a:moveTo>
                  <a:pt x="0" y="0"/>
                </a:moveTo>
                <a:lnTo>
                  <a:pt x="656678" y="0"/>
                </a:lnTo>
              </a:path>
            </a:pathLst>
          </a:custGeom>
          <a:ln w="76200">
            <a:solidFill>
              <a:srgbClr val="EEDC00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JhengHei UI Light" panose="020B0304030504040204" pitchFamily="34" charset="-120"/>
              <a:ea typeface="Microsoft JhengHei UI Light" panose="020B0304030504040204" pitchFamily="34" charset="-120"/>
              <a:cs typeface="+mn-cs"/>
            </a:endParaRPr>
          </a:p>
        </p:txBody>
      </p:sp>
      <p:sp>
        <p:nvSpPr>
          <p:cNvPr id="239" name="Triangolo isoscele 31">
            <a:extLst>
              <a:ext uri="{FF2B5EF4-FFF2-40B4-BE49-F238E27FC236}">
                <a16:creationId xmlns:a16="http://schemas.microsoft.com/office/drawing/2014/main" id="{355D2544-B5F3-1652-C6CC-51B59367F0FE}"/>
              </a:ext>
            </a:extLst>
          </p:cNvPr>
          <p:cNvSpPr/>
          <p:nvPr userDrawn="1"/>
        </p:nvSpPr>
        <p:spPr>
          <a:xfrm rot="10800000">
            <a:off x="303127" y="-324737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240" name="Triangolo isoscele 32">
            <a:extLst>
              <a:ext uri="{FF2B5EF4-FFF2-40B4-BE49-F238E27FC236}">
                <a16:creationId xmlns:a16="http://schemas.microsoft.com/office/drawing/2014/main" id="{6A7BE8CA-31E2-8A0A-13BB-D7EA80932015}"/>
              </a:ext>
            </a:extLst>
          </p:cNvPr>
          <p:cNvSpPr/>
          <p:nvPr userDrawn="1"/>
        </p:nvSpPr>
        <p:spPr>
          <a:xfrm rot="10800000">
            <a:off x="11756536" y="-324737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241" name="Triangolo isoscele 33">
            <a:extLst>
              <a:ext uri="{FF2B5EF4-FFF2-40B4-BE49-F238E27FC236}">
                <a16:creationId xmlns:a16="http://schemas.microsoft.com/office/drawing/2014/main" id="{FEC6F0C8-BD46-CA2B-C310-20D1BD21C63F}"/>
              </a:ext>
            </a:extLst>
          </p:cNvPr>
          <p:cNvSpPr/>
          <p:nvPr userDrawn="1"/>
        </p:nvSpPr>
        <p:spPr>
          <a:xfrm>
            <a:off x="303127" y="6950754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242" name="Triangolo isoscele 34">
            <a:extLst>
              <a:ext uri="{FF2B5EF4-FFF2-40B4-BE49-F238E27FC236}">
                <a16:creationId xmlns:a16="http://schemas.microsoft.com/office/drawing/2014/main" id="{260D928F-C4F7-931C-BEC3-698BB76F8A23}"/>
              </a:ext>
            </a:extLst>
          </p:cNvPr>
          <p:cNvSpPr/>
          <p:nvPr userDrawn="1"/>
        </p:nvSpPr>
        <p:spPr>
          <a:xfrm>
            <a:off x="11756536" y="6950754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243" name="Triangolo isoscele 35">
            <a:extLst>
              <a:ext uri="{FF2B5EF4-FFF2-40B4-BE49-F238E27FC236}">
                <a16:creationId xmlns:a16="http://schemas.microsoft.com/office/drawing/2014/main" id="{664A57D8-4633-EB45-7375-62687D7B425F}"/>
              </a:ext>
            </a:extLst>
          </p:cNvPr>
          <p:cNvSpPr/>
          <p:nvPr userDrawn="1"/>
        </p:nvSpPr>
        <p:spPr>
          <a:xfrm rot="5400000">
            <a:off x="-276040" y="885372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244" name="Triangolo isoscele 36">
            <a:extLst>
              <a:ext uri="{FF2B5EF4-FFF2-40B4-BE49-F238E27FC236}">
                <a16:creationId xmlns:a16="http://schemas.microsoft.com/office/drawing/2014/main" id="{620F79D2-28B6-8679-7D72-7BBFD6AEA525}"/>
              </a:ext>
            </a:extLst>
          </p:cNvPr>
          <p:cNvSpPr/>
          <p:nvPr userDrawn="1"/>
        </p:nvSpPr>
        <p:spPr>
          <a:xfrm rot="5400000">
            <a:off x="-276039" y="5997124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245" name="Triangolo isoscele 37">
            <a:extLst>
              <a:ext uri="{FF2B5EF4-FFF2-40B4-BE49-F238E27FC236}">
                <a16:creationId xmlns:a16="http://schemas.microsoft.com/office/drawing/2014/main" id="{7ABEE47F-3C10-E749-386B-D6010CA02A8E}"/>
              </a:ext>
            </a:extLst>
          </p:cNvPr>
          <p:cNvSpPr/>
          <p:nvPr userDrawn="1"/>
        </p:nvSpPr>
        <p:spPr>
          <a:xfrm rot="16200000">
            <a:off x="12331119" y="885372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246" name="Triangolo isoscele 38">
            <a:extLst>
              <a:ext uri="{FF2B5EF4-FFF2-40B4-BE49-F238E27FC236}">
                <a16:creationId xmlns:a16="http://schemas.microsoft.com/office/drawing/2014/main" id="{6F1ABC79-B310-4289-9186-A4B5941B6AA2}"/>
              </a:ext>
            </a:extLst>
          </p:cNvPr>
          <p:cNvSpPr/>
          <p:nvPr userDrawn="1"/>
        </p:nvSpPr>
        <p:spPr>
          <a:xfrm rot="16200000">
            <a:off x="12331120" y="5997124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247" name="bg object 16">
            <a:extLst>
              <a:ext uri="{FF2B5EF4-FFF2-40B4-BE49-F238E27FC236}">
                <a16:creationId xmlns:a16="http://schemas.microsoft.com/office/drawing/2014/main" id="{41F942E3-76B1-39DE-CCE1-6B136A42C2B7}"/>
              </a:ext>
            </a:extLst>
          </p:cNvPr>
          <p:cNvSpPr/>
          <p:nvPr userDrawn="1"/>
        </p:nvSpPr>
        <p:spPr>
          <a:xfrm>
            <a:off x="11330381" y="6448615"/>
            <a:ext cx="311785" cy="410845"/>
          </a:xfrm>
          <a:custGeom>
            <a:avLst/>
            <a:gdLst/>
            <a:ahLst/>
            <a:cxnLst/>
            <a:rect l="l" t="t" r="r" b="b"/>
            <a:pathLst>
              <a:path w="311784" h="410845">
                <a:moveTo>
                  <a:pt x="311645" y="0"/>
                </a:moveTo>
                <a:lnTo>
                  <a:pt x="0" y="0"/>
                </a:lnTo>
                <a:lnTo>
                  <a:pt x="0" y="410438"/>
                </a:lnTo>
                <a:lnTo>
                  <a:pt x="311645" y="410438"/>
                </a:lnTo>
                <a:lnTo>
                  <a:pt x="311645" y="0"/>
                </a:lnTo>
                <a:close/>
              </a:path>
            </a:pathLst>
          </a:custGeom>
          <a:solidFill>
            <a:srgbClr val="0047B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48" name="Holder 7">
            <a:extLst>
              <a:ext uri="{FF2B5EF4-FFF2-40B4-BE49-F238E27FC236}">
                <a16:creationId xmlns:a16="http://schemas.microsoft.com/office/drawing/2014/main" id="{E0CF0D01-46AE-069F-BF17-513F0EC7CB7D}"/>
              </a:ext>
            </a:extLst>
          </p:cNvPr>
          <p:cNvSpPr txBox="1">
            <a:spLocks/>
          </p:cNvSpPr>
          <p:nvPr userDrawn="1"/>
        </p:nvSpPr>
        <p:spPr>
          <a:xfrm>
            <a:off x="11342726" y="6520516"/>
            <a:ext cx="256044" cy="16158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it-IT"/>
            </a:defPPr>
            <a:lvl1pPr marL="0" algn="l" defTabSz="914400" rtl="0" eaLnBrk="1" latinLnBrk="0" hangingPunct="1">
              <a:defRPr sz="850" b="1" i="0" kern="1200">
                <a:solidFill>
                  <a:schemeClr val="bg1"/>
                </a:solidFill>
                <a:latin typeface="Verdana"/>
                <a:ea typeface="+mn-ea"/>
                <a:cs typeface="Verdana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8100" algn="ctr">
              <a:spcBef>
                <a:spcPts val="105"/>
              </a:spcBef>
            </a:pPr>
            <a:fld id="{81D60167-4931-47E6-BA6A-407CBD079E47}" type="slidenum">
              <a:rPr lang="it-IT" sz="1050" b="0" i="0" spc="5" smtClean="0">
                <a:latin typeface="Avenir Next LT Pro" pitchFamily="2" charset="0"/>
              </a:rPr>
              <a:pPr marL="38100" algn="ctr">
                <a:spcBef>
                  <a:spcPts val="105"/>
                </a:spcBef>
              </a:pPr>
              <a:t>‹N›</a:t>
            </a:fld>
            <a:endParaRPr lang="it-IT" sz="1050" b="0" i="0" spc="5" dirty="0">
              <a:latin typeface="Avenir Next LT Pro" pitchFamily="2" charset="0"/>
            </a:endParaRPr>
          </a:p>
        </p:txBody>
      </p:sp>
      <p:pic>
        <p:nvPicPr>
          <p:cNvPr id="249" name="Elemento grafico 248">
            <a:extLst>
              <a:ext uri="{FF2B5EF4-FFF2-40B4-BE49-F238E27FC236}">
                <a16:creationId xmlns:a16="http://schemas.microsoft.com/office/drawing/2014/main" id="{4D406767-41C7-2B09-BB5F-EF68CC9D1BE6}"/>
              </a:ext>
            </a:extLst>
          </p:cNvPr>
          <p:cNvPicPr>
            <a:picLocks noChangeAspect="1"/>
          </p:cNvPicPr>
          <p:nvPr userDrawn="1"/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10081892" y="-5080"/>
            <a:ext cx="1560273" cy="309880"/>
          </a:xfrm>
          <a:prstGeom prst="rect">
            <a:avLst/>
          </a:prstGeom>
        </p:spPr>
      </p:pic>
      <p:sp>
        <p:nvSpPr>
          <p:cNvPr id="4" name="Segnaposto titolo 3">
            <a:extLst>
              <a:ext uri="{FF2B5EF4-FFF2-40B4-BE49-F238E27FC236}">
                <a16:creationId xmlns:a16="http://schemas.microsoft.com/office/drawing/2014/main" id="{6F874097-FCAC-ADF4-2845-243F19A326E6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371475" y="414000"/>
            <a:ext cx="11449050" cy="37800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</a:pPr>
            <a:r>
              <a:rPr lang="it-IT" sz="2400" b="0" kern="1200" cap="all" baseline="0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TITOLO SLIDE (</a:t>
            </a:r>
            <a:r>
              <a:rPr lang="it-IT" sz="2400" b="0" kern="1200" cap="all" baseline="0" dirty="0" err="1">
                <a:solidFill>
                  <a:schemeClr val="tx2"/>
                </a:solidFill>
                <a:latin typeface="+mj-lt"/>
                <a:ea typeface="+mj-ea"/>
                <a:cs typeface="+mj-cs"/>
              </a:rPr>
              <a:t>Avenir</a:t>
            </a:r>
            <a:r>
              <a:rPr lang="it-IT" sz="2400" b="0" kern="1200" cap="all" baseline="0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 Next LT Pro MAX 24, MAIUSCOLO, BLU, MAX 2 RIGHE)</a:t>
            </a:r>
          </a:p>
        </p:txBody>
      </p:sp>
      <p:sp>
        <p:nvSpPr>
          <p:cNvPr id="5" name="Segnaposto testo 4">
            <a:extLst>
              <a:ext uri="{FF2B5EF4-FFF2-40B4-BE49-F238E27FC236}">
                <a16:creationId xmlns:a16="http://schemas.microsoft.com/office/drawing/2014/main" id="{C8352C9F-544A-7386-B63B-9F3D3CD79CFA}"/>
              </a:ext>
            </a:extLst>
          </p:cNvPr>
          <p:cNvSpPr>
            <a:spLocks noGrp="1"/>
          </p:cNvSpPr>
          <p:nvPr userDrawn="1">
            <p:ph type="body" idx="1"/>
          </p:nvPr>
        </p:nvSpPr>
        <p:spPr>
          <a:xfrm>
            <a:off x="398876" y="1306715"/>
            <a:ext cx="10515600" cy="4806747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it-IT" dirty="0"/>
              <a:t>Fare clic per modificare gli stili del testo dello schema</a:t>
            </a:r>
          </a:p>
          <a:p>
            <a:pPr lvl="1"/>
            <a:r>
              <a:rPr lang="it-IT" dirty="0"/>
              <a:t>Secondo livello</a:t>
            </a:r>
          </a:p>
          <a:p>
            <a:pPr lvl="2"/>
            <a:r>
              <a:rPr lang="it-IT" dirty="0"/>
              <a:t>Terzo livello</a:t>
            </a:r>
          </a:p>
          <a:p>
            <a:pPr lvl="3"/>
            <a:r>
              <a:rPr lang="it-IT" dirty="0"/>
              <a:t>Quarto livello</a:t>
            </a:r>
          </a:p>
          <a:p>
            <a:pPr lvl="4"/>
            <a:r>
              <a:rPr lang="it-IT" dirty="0"/>
              <a:t>Quinto livello</a:t>
            </a:r>
          </a:p>
        </p:txBody>
      </p:sp>
    </p:spTree>
    <p:extLst>
      <p:ext uri="{BB962C8B-B14F-4D97-AF65-F5344CB8AC3E}">
        <p14:creationId xmlns:p14="http://schemas.microsoft.com/office/powerpoint/2010/main" val="32909623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5" r:id="rId1"/>
    <p:sldLayoutId id="2147483713" r:id="rId2"/>
    <p:sldLayoutId id="2147483727" r:id="rId3"/>
    <p:sldLayoutId id="2147483715" r:id="rId4"/>
    <p:sldLayoutId id="2147483716" r:id="rId5"/>
    <p:sldLayoutId id="2147483717" r:id="rId6"/>
    <p:sldLayoutId id="2147483718" r:id="rId7"/>
    <p:sldLayoutId id="2147483719" r:id="rId8"/>
    <p:sldLayoutId id="2147483720" r:id="rId9"/>
    <p:sldLayoutId id="2147483721" r:id="rId10"/>
    <p:sldLayoutId id="2147483722" r:id="rId11"/>
    <p:sldLayoutId id="2147483726" r:id="rId12"/>
    <p:sldLayoutId id="2147483724" r:id="rId13"/>
    <p:sldLayoutId id="2147483771" r:id="rId14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400" b="0" kern="1200" cap="none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88000" indent="-288000" algn="l" defTabSz="914400" rtl="0" eaLnBrk="1" latinLnBrk="0" hangingPunct="1">
        <a:lnSpc>
          <a:spcPct val="100000"/>
        </a:lnSpc>
        <a:spcBef>
          <a:spcPts val="1000"/>
        </a:spcBef>
        <a:buClr>
          <a:srgbClr val="EFDC01"/>
        </a:buClr>
        <a:buSzPct val="120000"/>
        <a:buFont typeface="Arial" panose="020B0604020202020204" pitchFamily="34" charset="0"/>
        <a:buChar char="•"/>
        <a:defRPr lang="it-IT" sz="2000" kern="1200" dirty="0" smtClean="0">
          <a:solidFill>
            <a:schemeClr val="bg2"/>
          </a:solidFill>
          <a:latin typeface="+mn-lt"/>
          <a:ea typeface="+mn-ea"/>
          <a:cs typeface="+mn-cs"/>
        </a:defRPr>
      </a:lvl1pPr>
      <a:lvl2pPr marL="540000" indent="-288000" algn="l" defTabSz="914400" rtl="0" eaLnBrk="1" latinLnBrk="0" hangingPunct="1">
        <a:lnSpc>
          <a:spcPct val="100000"/>
        </a:lnSpc>
        <a:spcBef>
          <a:spcPts val="500"/>
        </a:spcBef>
        <a:buClr>
          <a:srgbClr val="EFDC01"/>
        </a:buClr>
        <a:buSzPct val="120000"/>
        <a:buFont typeface="Wingdings" panose="05000000000000000000" pitchFamily="2" charset="2"/>
        <a:buChar char="§"/>
        <a:defRPr lang="it-IT" sz="1800" kern="1200" dirty="0" smtClean="0">
          <a:solidFill>
            <a:schemeClr val="bg2"/>
          </a:solidFill>
          <a:latin typeface="+mn-lt"/>
          <a:ea typeface="+mn-ea"/>
          <a:cs typeface="+mn-cs"/>
        </a:defRPr>
      </a:lvl2pPr>
      <a:lvl3pPr marL="828000" indent="-288000" algn="l" defTabSz="914400" rtl="0" eaLnBrk="1" latinLnBrk="0" hangingPunct="1">
        <a:lnSpc>
          <a:spcPct val="100000"/>
        </a:lnSpc>
        <a:spcBef>
          <a:spcPts val="500"/>
        </a:spcBef>
        <a:buClr>
          <a:srgbClr val="EFDC01"/>
        </a:buClr>
        <a:buSzPct val="115000"/>
        <a:buFont typeface="Courier New" panose="02070309020205020404" pitchFamily="49" charset="0"/>
        <a:buChar char="o"/>
        <a:defRPr lang="it-IT" sz="1600" kern="1200" dirty="0" smtClean="0">
          <a:solidFill>
            <a:schemeClr val="bg2"/>
          </a:solidFill>
          <a:latin typeface="+mn-lt"/>
          <a:ea typeface="+mn-ea"/>
          <a:cs typeface="+mn-cs"/>
        </a:defRPr>
      </a:lvl3pPr>
      <a:lvl4pPr marL="1080000" indent="-288000" algn="l" defTabSz="914400" rtl="0" eaLnBrk="1" latinLnBrk="0" hangingPunct="1">
        <a:lnSpc>
          <a:spcPct val="100000"/>
        </a:lnSpc>
        <a:spcBef>
          <a:spcPts val="500"/>
        </a:spcBef>
        <a:buClr>
          <a:srgbClr val="EFDC01"/>
        </a:buClr>
        <a:buSzPct val="80000"/>
        <a:buFont typeface="Arial" panose="020B0604020202020204" pitchFamily="34" charset="0"/>
        <a:buChar char="•"/>
        <a:defRPr lang="it-IT" sz="1400" kern="1200" dirty="0" smtClean="0">
          <a:solidFill>
            <a:schemeClr val="bg2"/>
          </a:solidFill>
          <a:latin typeface="+mn-lt"/>
          <a:ea typeface="+mn-ea"/>
          <a:cs typeface="+mn-cs"/>
        </a:defRPr>
      </a:lvl4pPr>
      <a:lvl5pPr marL="1368000" indent="-288000" algn="l" defTabSz="914400" rtl="0" eaLnBrk="1" latinLnBrk="0" hangingPunct="1">
        <a:lnSpc>
          <a:spcPct val="100000"/>
        </a:lnSpc>
        <a:spcBef>
          <a:spcPts val="500"/>
        </a:spcBef>
        <a:buClr>
          <a:srgbClr val="EFDC01"/>
        </a:buClr>
        <a:buSzPct val="60000"/>
        <a:buFont typeface="Arial" panose="020B0604020202020204" pitchFamily="34" charset="0"/>
        <a:buChar char="•"/>
        <a:defRPr lang="it-IT" sz="1400" kern="1200" dirty="0" smtClean="0">
          <a:solidFill>
            <a:schemeClr val="bg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244">
          <p15:clr>
            <a:srgbClr val="9FCC3B"/>
          </p15:clr>
        </p15:guide>
        <p15:guide id="2" pos="3840" userDrawn="1">
          <p15:clr>
            <a:srgbClr val="9FCC3B"/>
          </p15:clr>
        </p15:guide>
        <p15:guide id="3" orient="horz" pos="3851">
          <p15:clr>
            <a:srgbClr val="9FCC3B"/>
          </p15:clr>
        </p15:guide>
        <p15:guide id="4" orient="horz" pos="640" userDrawn="1">
          <p15:clr>
            <a:srgbClr val="9FCC3B"/>
          </p15:clr>
        </p15:guide>
        <p15:guide id="6" pos="7446">
          <p15:clr>
            <a:srgbClr val="9FCC3B"/>
          </p15:clr>
        </p15:guide>
        <p15:guide id="7" pos="415" userDrawn="1">
          <p15:clr>
            <a:srgbClr val="9FCC3B"/>
          </p15:clr>
        </p15:guide>
        <p15:guide id="8" orient="horz" pos="822" userDrawn="1">
          <p15:clr>
            <a:srgbClr val="9FCC3B"/>
          </p15:clr>
        </p15:guide>
        <p15:guide id="9" pos="234" userDrawn="1">
          <p15:clr>
            <a:srgbClr val="9FCC3B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ggetto 1" hidden="1">
            <a:extLst>
              <a:ext uri="{FF2B5EF4-FFF2-40B4-BE49-F238E27FC236}">
                <a16:creationId xmlns:a16="http://schemas.microsoft.com/office/drawing/2014/main" id="{E62DC88D-1251-443A-A3A5-B2C45AEE5927}"/>
              </a:ext>
            </a:extLst>
          </p:cNvPr>
          <p:cNvGraphicFramePr>
            <a:graphicFrameLocks noChangeAspect="1"/>
          </p:cNvGraphicFramePr>
          <p:nvPr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19737793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2" imgW="347" imgH="348" progId="TCLayout.ActiveDocument.1">
                  <p:embed/>
                </p:oleObj>
              </mc:Choice>
              <mc:Fallback>
                <p:oleObj name="think-cell Slide" r:id="rId22" imgW="347" imgH="348" progId="TCLayout.ActiveDocument.1">
                  <p:embed/>
                  <p:pic>
                    <p:nvPicPr>
                      <p:cNvPr id="2" name="Oggetto 1" hidden="1">
                        <a:extLst>
                          <a:ext uri="{FF2B5EF4-FFF2-40B4-BE49-F238E27FC236}">
                            <a16:creationId xmlns:a16="http://schemas.microsoft.com/office/drawing/2014/main" id="{E62DC88D-1251-443A-A3A5-B2C45AEE59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" name="Triangolo isoscele 20">
            <a:extLst>
              <a:ext uri="{FF2B5EF4-FFF2-40B4-BE49-F238E27FC236}">
                <a16:creationId xmlns:a16="http://schemas.microsoft.com/office/drawing/2014/main" id="{42A6E088-BF93-9145-BEB6-0079B80A74EA}"/>
              </a:ext>
            </a:extLst>
          </p:cNvPr>
          <p:cNvSpPr/>
          <p:nvPr/>
        </p:nvSpPr>
        <p:spPr>
          <a:xfrm rot="5400000">
            <a:off x="-276040" y="885372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40" name="Triangolo isoscele 21">
            <a:extLst>
              <a:ext uri="{FF2B5EF4-FFF2-40B4-BE49-F238E27FC236}">
                <a16:creationId xmlns:a16="http://schemas.microsoft.com/office/drawing/2014/main" id="{55996117-CCDB-D146-854D-B5215C2D54B9}"/>
              </a:ext>
            </a:extLst>
          </p:cNvPr>
          <p:cNvSpPr/>
          <p:nvPr/>
        </p:nvSpPr>
        <p:spPr>
          <a:xfrm rot="5400000">
            <a:off x="-276039" y="5982836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47" name="Triangolo isoscele 35">
            <a:extLst>
              <a:ext uri="{FF2B5EF4-FFF2-40B4-BE49-F238E27FC236}">
                <a16:creationId xmlns:a16="http://schemas.microsoft.com/office/drawing/2014/main" id="{254EE742-0588-7C4B-A512-C0CA6015326A}"/>
              </a:ext>
            </a:extLst>
          </p:cNvPr>
          <p:cNvSpPr/>
          <p:nvPr/>
        </p:nvSpPr>
        <p:spPr>
          <a:xfrm rot="5400000">
            <a:off x="-276040" y="885372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48" name="Triangolo isoscele 36">
            <a:extLst>
              <a:ext uri="{FF2B5EF4-FFF2-40B4-BE49-F238E27FC236}">
                <a16:creationId xmlns:a16="http://schemas.microsoft.com/office/drawing/2014/main" id="{269D51BA-E244-764B-9506-A01AB53AC984}"/>
              </a:ext>
            </a:extLst>
          </p:cNvPr>
          <p:cNvSpPr/>
          <p:nvPr/>
        </p:nvSpPr>
        <p:spPr>
          <a:xfrm rot="5400000">
            <a:off x="-276039" y="5982836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26" name="bg object 16">
            <a:extLst>
              <a:ext uri="{FF2B5EF4-FFF2-40B4-BE49-F238E27FC236}">
                <a16:creationId xmlns:a16="http://schemas.microsoft.com/office/drawing/2014/main" id="{5342AA34-E2CD-4039-B161-E5045A51E3A7}"/>
              </a:ext>
            </a:extLst>
          </p:cNvPr>
          <p:cNvSpPr/>
          <p:nvPr/>
        </p:nvSpPr>
        <p:spPr>
          <a:xfrm>
            <a:off x="11330381" y="6448615"/>
            <a:ext cx="311785" cy="410845"/>
          </a:xfrm>
          <a:custGeom>
            <a:avLst/>
            <a:gdLst/>
            <a:ahLst/>
            <a:cxnLst/>
            <a:rect l="l" t="t" r="r" b="b"/>
            <a:pathLst>
              <a:path w="311784" h="410845">
                <a:moveTo>
                  <a:pt x="311645" y="0"/>
                </a:moveTo>
                <a:lnTo>
                  <a:pt x="0" y="0"/>
                </a:lnTo>
                <a:lnTo>
                  <a:pt x="0" y="410438"/>
                </a:lnTo>
                <a:lnTo>
                  <a:pt x="311645" y="410438"/>
                </a:lnTo>
                <a:lnTo>
                  <a:pt x="311645" y="0"/>
                </a:lnTo>
                <a:close/>
              </a:path>
            </a:pathLst>
          </a:custGeom>
          <a:solidFill>
            <a:srgbClr val="0047B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2" name="Holder 7">
            <a:extLst>
              <a:ext uri="{FF2B5EF4-FFF2-40B4-BE49-F238E27FC236}">
                <a16:creationId xmlns:a16="http://schemas.microsoft.com/office/drawing/2014/main" id="{FDEFED15-B93A-496F-9C46-E60D03970F7E}"/>
              </a:ext>
            </a:extLst>
          </p:cNvPr>
          <p:cNvSpPr txBox="1">
            <a:spLocks/>
          </p:cNvSpPr>
          <p:nvPr/>
        </p:nvSpPr>
        <p:spPr>
          <a:xfrm>
            <a:off x="11342726" y="6520516"/>
            <a:ext cx="256044" cy="16158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it-IT"/>
            </a:defPPr>
            <a:lvl1pPr marL="0" algn="l" defTabSz="914400" rtl="0" eaLnBrk="1" latinLnBrk="0" hangingPunct="1">
              <a:defRPr sz="850" b="1" i="0" kern="1200">
                <a:solidFill>
                  <a:schemeClr val="bg1"/>
                </a:solidFill>
                <a:latin typeface="Verdana"/>
                <a:ea typeface="+mn-ea"/>
                <a:cs typeface="Verdana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8100" algn="ctr">
              <a:spcBef>
                <a:spcPts val="105"/>
              </a:spcBef>
            </a:pPr>
            <a:fld id="{81D60167-4931-47E6-BA6A-407CBD079E47}" type="slidenum">
              <a:rPr lang="it-IT" sz="1050" b="0" i="0" spc="5" smtClean="0">
                <a:latin typeface="Avenir Next LT Pro" pitchFamily="2" charset="0"/>
              </a:rPr>
              <a:pPr marL="38100" algn="ctr">
                <a:spcBef>
                  <a:spcPts val="105"/>
                </a:spcBef>
              </a:pPr>
              <a:t>‹N›</a:t>
            </a:fld>
            <a:endParaRPr lang="it-IT" sz="1050" b="0" i="0" spc="5" dirty="0">
              <a:latin typeface="Avenir Next LT Pro" pitchFamily="2" charset="0"/>
            </a:endParaRPr>
          </a:p>
        </p:txBody>
      </p:sp>
      <p:sp>
        <p:nvSpPr>
          <p:cNvPr id="34" name="Triangolo isoscele 16">
            <a:extLst>
              <a:ext uri="{FF2B5EF4-FFF2-40B4-BE49-F238E27FC236}">
                <a16:creationId xmlns:a16="http://schemas.microsoft.com/office/drawing/2014/main" id="{F8306141-B2DB-4728-A2E2-9B2FB8354CC7}"/>
              </a:ext>
            </a:extLst>
          </p:cNvPr>
          <p:cNvSpPr/>
          <p:nvPr/>
        </p:nvSpPr>
        <p:spPr>
          <a:xfrm rot="10800000">
            <a:off x="303127" y="-324737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35" name="Triangolo isoscele 17">
            <a:extLst>
              <a:ext uri="{FF2B5EF4-FFF2-40B4-BE49-F238E27FC236}">
                <a16:creationId xmlns:a16="http://schemas.microsoft.com/office/drawing/2014/main" id="{4EC76C3A-F6E8-4ADA-85C7-A2F2B2368C33}"/>
              </a:ext>
            </a:extLst>
          </p:cNvPr>
          <p:cNvSpPr/>
          <p:nvPr/>
        </p:nvSpPr>
        <p:spPr>
          <a:xfrm rot="10800000">
            <a:off x="11756536" y="-324737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36" name="Triangolo isoscele 18">
            <a:extLst>
              <a:ext uri="{FF2B5EF4-FFF2-40B4-BE49-F238E27FC236}">
                <a16:creationId xmlns:a16="http://schemas.microsoft.com/office/drawing/2014/main" id="{96E6B948-C9F1-481F-8A92-EA25F4C9327A}"/>
              </a:ext>
            </a:extLst>
          </p:cNvPr>
          <p:cNvSpPr/>
          <p:nvPr/>
        </p:nvSpPr>
        <p:spPr>
          <a:xfrm>
            <a:off x="303127" y="6950754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37" name="Triangolo isoscele 19">
            <a:extLst>
              <a:ext uri="{FF2B5EF4-FFF2-40B4-BE49-F238E27FC236}">
                <a16:creationId xmlns:a16="http://schemas.microsoft.com/office/drawing/2014/main" id="{78AF6B57-A8FA-4C02-9C76-0DF99A840125}"/>
              </a:ext>
            </a:extLst>
          </p:cNvPr>
          <p:cNvSpPr/>
          <p:nvPr/>
        </p:nvSpPr>
        <p:spPr>
          <a:xfrm>
            <a:off x="11756536" y="6950754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38" name="Triangolo isoscele 20">
            <a:extLst>
              <a:ext uri="{FF2B5EF4-FFF2-40B4-BE49-F238E27FC236}">
                <a16:creationId xmlns:a16="http://schemas.microsoft.com/office/drawing/2014/main" id="{DBE41F2A-B5B3-440B-A761-DD93A3E847D4}"/>
              </a:ext>
            </a:extLst>
          </p:cNvPr>
          <p:cNvSpPr/>
          <p:nvPr/>
        </p:nvSpPr>
        <p:spPr>
          <a:xfrm rot="5400000">
            <a:off x="-276040" y="885372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39" name="Triangolo isoscele 21">
            <a:extLst>
              <a:ext uri="{FF2B5EF4-FFF2-40B4-BE49-F238E27FC236}">
                <a16:creationId xmlns:a16="http://schemas.microsoft.com/office/drawing/2014/main" id="{08F26964-525D-4D14-A8AF-9C14DD0243C5}"/>
              </a:ext>
            </a:extLst>
          </p:cNvPr>
          <p:cNvSpPr/>
          <p:nvPr/>
        </p:nvSpPr>
        <p:spPr>
          <a:xfrm rot="5400000">
            <a:off x="-276039" y="5982836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50" name="Triangolo isoscele 22">
            <a:extLst>
              <a:ext uri="{FF2B5EF4-FFF2-40B4-BE49-F238E27FC236}">
                <a16:creationId xmlns:a16="http://schemas.microsoft.com/office/drawing/2014/main" id="{3E13A3B0-0D8B-4631-A4F9-0518CFD0F892}"/>
              </a:ext>
            </a:extLst>
          </p:cNvPr>
          <p:cNvSpPr/>
          <p:nvPr/>
        </p:nvSpPr>
        <p:spPr>
          <a:xfrm rot="16200000">
            <a:off x="12331119" y="885372"/>
            <a:ext cx="132336" cy="261257"/>
          </a:xfrm>
          <a:prstGeom prst="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51" name="Triangolo isoscele 23">
            <a:extLst>
              <a:ext uri="{FF2B5EF4-FFF2-40B4-BE49-F238E27FC236}">
                <a16:creationId xmlns:a16="http://schemas.microsoft.com/office/drawing/2014/main" id="{2C68851E-3FCD-4DAC-B627-319AE624157C}"/>
              </a:ext>
            </a:extLst>
          </p:cNvPr>
          <p:cNvSpPr/>
          <p:nvPr/>
        </p:nvSpPr>
        <p:spPr>
          <a:xfrm rot="16200000">
            <a:off x="12331120" y="5982836"/>
            <a:ext cx="132336" cy="261257"/>
          </a:xfrm>
          <a:prstGeom prst="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52" name="Triangolo isoscele 31">
            <a:extLst>
              <a:ext uri="{FF2B5EF4-FFF2-40B4-BE49-F238E27FC236}">
                <a16:creationId xmlns:a16="http://schemas.microsoft.com/office/drawing/2014/main" id="{2798A368-2776-4D7A-AD3F-83612B3F78DF}"/>
              </a:ext>
            </a:extLst>
          </p:cNvPr>
          <p:cNvSpPr/>
          <p:nvPr/>
        </p:nvSpPr>
        <p:spPr>
          <a:xfrm rot="10800000">
            <a:off x="303127" y="-324737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53" name="Triangolo isoscele 32">
            <a:extLst>
              <a:ext uri="{FF2B5EF4-FFF2-40B4-BE49-F238E27FC236}">
                <a16:creationId xmlns:a16="http://schemas.microsoft.com/office/drawing/2014/main" id="{42E882F1-97B9-4B62-B9C2-AEDA801EE2D2}"/>
              </a:ext>
            </a:extLst>
          </p:cNvPr>
          <p:cNvSpPr/>
          <p:nvPr/>
        </p:nvSpPr>
        <p:spPr>
          <a:xfrm rot="10800000">
            <a:off x="11756536" y="-324737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54" name="Triangolo isoscele 33">
            <a:extLst>
              <a:ext uri="{FF2B5EF4-FFF2-40B4-BE49-F238E27FC236}">
                <a16:creationId xmlns:a16="http://schemas.microsoft.com/office/drawing/2014/main" id="{1D49DBA4-5831-4E86-A4AC-074B5E24D39C}"/>
              </a:ext>
            </a:extLst>
          </p:cNvPr>
          <p:cNvSpPr/>
          <p:nvPr/>
        </p:nvSpPr>
        <p:spPr>
          <a:xfrm>
            <a:off x="303127" y="6950754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55" name="Triangolo isoscele 34">
            <a:extLst>
              <a:ext uri="{FF2B5EF4-FFF2-40B4-BE49-F238E27FC236}">
                <a16:creationId xmlns:a16="http://schemas.microsoft.com/office/drawing/2014/main" id="{8FC3B080-7C76-440F-861F-2D20896D2108}"/>
              </a:ext>
            </a:extLst>
          </p:cNvPr>
          <p:cNvSpPr/>
          <p:nvPr/>
        </p:nvSpPr>
        <p:spPr>
          <a:xfrm>
            <a:off x="11756536" y="6950754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56" name="Triangolo isoscele 35">
            <a:extLst>
              <a:ext uri="{FF2B5EF4-FFF2-40B4-BE49-F238E27FC236}">
                <a16:creationId xmlns:a16="http://schemas.microsoft.com/office/drawing/2014/main" id="{F9218F3E-8719-411A-8133-F81EE1AD951F}"/>
              </a:ext>
            </a:extLst>
          </p:cNvPr>
          <p:cNvSpPr/>
          <p:nvPr/>
        </p:nvSpPr>
        <p:spPr>
          <a:xfrm rot="5400000">
            <a:off x="-276040" y="885372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57" name="Triangolo isoscele 36">
            <a:extLst>
              <a:ext uri="{FF2B5EF4-FFF2-40B4-BE49-F238E27FC236}">
                <a16:creationId xmlns:a16="http://schemas.microsoft.com/office/drawing/2014/main" id="{81709264-62CB-49F2-B774-BD1E7262F147}"/>
              </a:ext>
            </a:extLst>
          </p:cNvPr>
          <p:cNvSpPr/>
          <p:nvPr/>
        </p:nvSpPr>
        <p:spPr>
          <a:xfrm rot="5400000">
            <a:off x="-276039" y="5982836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59" name="Triangolo isoscele 37">
            <a:extLst>
              <a:ext uri="{FF2B5EF4-FFF2-40B4-BE49-F238E27FC236}">
                <a16:creationId xmlns:a16="http://schemas.microsoft.com/office/drawing/2014/main" id="{8052EB76-DEF2-44DE-84BD-ED3AEA4214FF}"/>
              </a:ext>
            </a:extLst>
          </p:cNvPr>
          <p:cNvSpPr/>
          <p:nvPr/>
        </p:nvSpPr>
        <p:spPr>
          <a:xfrm rot="16200000">
            <a:off x="12331119" y="885372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60" name="Triangolo isoscele 38">
            <a:extLst>
              <a:ext uri="{FF2B5EF4-FFF2-40B4-BE49-F238E27FC236}">
                <a16:creationId xmlns:a16="http://schemas.microsoft.com/office/drawing/2014/main" id="{CF808EDF-72E6-472E-9EDD-AED9DED5F490}"/>
              </a:ext>
            </a:extLst>
          </p:cNvPr>
          <p:cNvSpPr/>
          <p:nvPr/>
        </p:nvSpPr>
        <p:spPr>
          <a:xfrm rot="16200000">
            <a:off x="12331120" y="5982836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pic>
        <p:nvPicPr>
          <p:cNvPr id="62" name="Elemento grafico 61">
            <a:extLst>
              <a:ext uri="{FF2B5EF4-FFF2-40B4-BE49-F238E27FC236}">
                <a16:creationId xmlns:a16="http://schemas.microsoft.com/office/drawing/2014/main" id="{534CBEB8-C103-495B-ADBB-DEC19A427D05}"/>
              </a:ext>
            </a:extLst>
          </p:cNvPr>
          <p:cNvPicPr>
            <a:picLocks noChangeAspect="1"/>
          </p:cNvPicPr>
          <p:nvPr/>
        </p:nvPicPr>
        <p:blipFill>
          <a:blip r:embed="rId2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10081892" y="-5080"/>
            <a:ext cx="1560273" cy="309880"/>
          </a:xfrm>
          <a:prstGeom prst="rect">
            <a:avLst/>
          </a:prstGeom>
        </p:spPr>
      </p:pic>
      <p:sp>
        <p:nvSpPr>
          <p:cNvPr id="63" name="object 267">
            <a:extLst>
              <a:ext uri="{FF2B5EF4-FFF2-40B4-BE49-F238E27FC236}">
                <a16:creationId xmlns:a16="http://schemas.microsoft.com/office/drawing/2014/main" id="{DF4D029B-D53C-4F12-BE0A-BC3499A7D7E5}"/>
              </a:ext>
            </a:extLst>
          </p:cNvPr>
          <p:cNvSpPr/>
          <p:nvPr/>
        </p:nvSpPr>
        <p:spPr>
          <a:xfrm>
            <a:off x="0" y="1251482"/>
            <a:ext cx="675518" cy="45719"/>
          </a:xfrm>
          <a:custGeom>
            <a:avLst/>
            <a:gdLst/>
            <a:ahLst/>
            <a:cxnLst/>
            <a:rect l="l" t="t" r="r" b="b"/>
            <a:pathLst>
              <a:path w="657225">
                <a:moveTo>
                  <a:pt x="0" y="0"/>
                </a:moveTo>
                <a:lnTo>
                  <a:pt x="656678" y="0"/>
                </a:lnTo>
              </a:path>
            </a:pathLst>
          </a:custGeom>
          <a:ln w="76200">
            <a:solidFill>
              <a:srgbClr val="EEDC00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JhengHei UI Light" panose="020B0304030504040204" pitchFamily="34" charset="-120"/>
              <a:ea typeface="Microsoft JhengHei UI Light" panose="020B0304030504040204" pitchFamily="34" charset="-120"/>
              <a:cs typeface="+mn-cs"/>
            </a:endParaRPr>
          </a:p>
        </p:txBody>
      </p:sp>
      <p:sp>
        <p:nvSpPr>
          <p:cNvPr id="42" name="Triangolo isoscele 20">
            <a:extLst>
              <a:ext uri="{FF2B5EF4-FFF2-40B4-BE49-F238E27FC236}">
                <a16:creationId xmlns:a16="http://schemas.microsoft.com/office/drawing/2014/main" id="{EE3864A0-3631-CA4B-A5A0-AB3E8C4CF8FA}"/>
              </a:ext>
            </a:extLst>
          </p:cNvPr>
          <p:cNvSpPr/>
          <p:nvPr/>
        </p:nvSpPr>
        <p:spPr>
          <a:xfrm rot="5400000">
            <a:off x="-276040" y="885372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43" name="Triangolo isoscele 21">
            <a:extLst>
              <a:ext uri="{FF2B5EF4-FFF2-40B4-BE49-F238E27FC236}">
                <a16:creationId xmlns:a16="http://schemas.microsoft.com/office/drawing/2014/main" id="{7A7DFF51-B1C4-F84D-A148-77219AC93593}"/>
              </a:ext>
            </a:extLst>
          </p:cNvPr>
          <p:cNvSpPr/>
          <p:nvPr/>
        </p:nvSpPr>
        <p:spPr>
          <a:xfrm rot="5400000">
            <a:off x="-276039" y="5982836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44" name="Triangolo isoscele 35">
            <a:extLst>
              <a:ext uri="{FF2B5EF4-FFF2-40B4-BE49-F238E27FC236}">
                <a16:creationId xmlns:a16="http://schemas.microsoft.com/office/drawing/2014/main" id="{1E8DD0EB-CAC4-E241-8B7C-3170775F3AFB}"/>
              </a:ext>
            </a:extLst>
          </p:cNvPr>
          <p:cNvSpPr/>
          <p:nvPr/>
        </p:nvSpPr>
        <p:spPr>
          <a:xfrm rot="5400000">
            <a:off x="-276040" y="885372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45" name="Triangolo isoscele 36">
            <a:extLst>
              <a:ext uri="{FF2B5EF4-FFF2-40B4-BE49-F238E27FC236}">
                <a16:creationId xmlns:a16="http://schemas.microsoft.com/office/drawing/2014/main" id="{B59F167F-1A86-8E40-80FB-4CC099E7B153}"/>
              </a:ext>
            </a:extLst>
          </p:cNvPr>
          <p:cNvSpPr/>
          <p:nvPr/>
        </p:nvSpPr>
        <p:spPr>
          <a:xfrm rot="5400000">
            <a:off x="-276039" y="5982836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49" name="bg object 16">
            <a:extLst>
              <a:ext uri="{FF2B5EF4-FFF2-40B4-BE49-F238E27FC236}">
                <a16:creationId xmlns:a16="http://schemas.microsoft.com/office/drawing/2014/main" id="{7F65980A-63FD-3E4B-9F16-7A47F53DD3FA}"/>
              </a:ext>
            </a:extLst>
          </p:cNvPr>
          <p:cNvSpPr/>
          <p:nvPr/>
        </p:nvSpPr>
        <p:spPr>
          <a:xfrm>
            <a:off x="11330381" y="6448615"/>
            <a:ext cx="311785" cy="410845"/>
          </a:xfrm>
          <a:custGeom>
            <a:avLst/>
            <a:gdLst/>
            <a:ahLst/>
            <a:cxnLst/>
            <a:rect l="l" t="t" r="r" b="b"/>
            <a:pathLst>
              <a:path w="311784" h="410845">
                <a:moveTo>
                  <a:pt x="311645" y="0"/>
                </a:moveTo>
                <a:lnTo>
                  <a:pt x="0" y="0"/>
                </a:lnTo>
                <a:lnTo>
                  <a:pt x="0" y="410438"/>
                </a:lnTo>
                <a:lnTo>
                  <a:pt x="311645" y="410438"/>
                </a:lnTo>
                <a:lnTo>
                  <a:pt x="311645" y="0"/>
                </a:lnTo>
                <a:close/>
              </a:path>
            </a:pathLst>
          </a:custGeom>
          <a:solidFill>
            <a:srgbClr val="0047B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8" name="Holder 7">
            <a:extLst>
              <a:ext uri="{FF2B5EF4-FFF2-40B4-BE49-F238E27FC236}">
                <a16:creationId xmlns:a16="http://schemas.microsoft.com/office/drawing/2014/main" id="{A799BF65-9F56-AB48-9888-006A47A0FBF5}"/>
              </a:ext>
            </a:extLst>
          </p:cNvPr>
          <p:cNvSpPr txBox="1">
            <a:spLocks/>
          </p:cNvSpPr>
          <p:nvPr/>
        </p:nvSpPr>
        <p:spPr>
          <a:xfrm>
            <a:off x="11342726" y="6520516"/>
            <a:ext cx="256044" cy="16158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it-IT"/>
            </a:defPPr>
            <a:lvl1pPr marL="0" algn="l" defTabSz="914400" rtl="0" eaLnBrk="1" latinLnBrk="0" hangingPunct="1">
              <a:defRPr sz="850" b="1" i="0" kern="1200">
                <a:solidFill>
                  <a:schemeClr val="bg1"/>
                </a:solidFill>
                <a:latin typeface="Verdana"/>
                <a:ea typeface="+mn-ea"/>
                <a:cs typeface="Verdana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8100" algn="ctr">
              <a:spcBef>
                <a:spcPts val="105"/>
              </a:spcBef>
            </a:pPr>
            <a:fld id="{81D60167-4931-47E6-BA6A-407CBD079E47}" type="slidenum">
              <a:rPr lang="it-IT" sz="1050" b="0" i="0" spc="5" smtClean="0">
                <a:latin typeface="Avenir Next LT Pro" pitchFamily="2" charset="0"/>
              </a:rPr>
              <a:pPr marL="38100" algn="ctr">
                <a:spcBef>
                  <a:spcPts val="105"/>
                </a:spcBef>
              </a:pPr>
              <a:t>‹N›</a:t>
            </a:fld>
            <a:endParaRPr lang="it-IT" sz="1050" b="0" i="0" spc="5" dirty="0">
              <a:latin typeface="Avenir Next LT Pro" pitchFamily="2" charset="0"/>
            </a:endParaRPr>
          </a:p>
        </p:txBody>
      </p:sp>
      <p:sp>
        <p:nvSpPr>
          <p:cNvPr id="66" name="Triangolo isoscele 16">
            <a:extLst>
              <a:ext uri="{FF2B5EF4-FFF2-40B4-BE49-F238E27FC236}">
                <a16:creationId xmlns:a16="http://schemas.microsoft.com/office/drawing/2014/main" id="{0320084D-93DB-104A-B313-66BE0CB26F9B}"/>
              </a:ext>
            </a:extLst>
          </p:cNvPr>
          <p:cNvSpPr/>
          <p:nvPr/>
        </p:nvSpPr>
        <p:spPr>
          <a:xfrm rot="10800000">
            <a:off x="303127" y="-324737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67" name="Triangolo isoscele 17">
            <a:extLst>
              <a:ext uri="{FF2B5EF4-FFF2-40B4-BE49-F238E27FC236}">
                <a16:creationId xmlns:a16="http://schemas.microsoft.com/office/drawing/2014/main" id="{96E221F3-D91B-FA42-A3CE-69C84951F9B0}"/>
              </a:ext>
            </a:extLst>
          </p:cNvPr>
          <p:cNvSpPr/>
          <p:nvPr/>
        </p:nvSpPr>
        <p:spPr>
          <a:xfrm rot="10800000">
            <a:off x="11756536" y="-324737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68" name="Triangolo isoscele 18">
            <a:extLst>
              <a:ext uri="{FF2B5EF4-FFF2-40B4-BE49-F238E27FC236}">
                <a16:creationId xmlns:a16="http://schemas.microsoft.com/office/drawing/2014/main" id="{AA0B9116-2F35-3845-8012-AC042B19F8D9}"/>
              </a:ext>
            </a:extLst>
          </p:cNvPr>
          <p:cNvSpPr/>
          <p:nvPr/>
        </p:nvSpPr>
        <p:spPr>
          <a:xfrm>
            <a:off x="303127" y="6950754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69" name="Triangolo isoscele 19">
            <a:extLst>
              <a:ext uri="{FF2B5EF4-FFF2-40B4-BE49-F238E27FC236}">
                <a16:creationId xmlns:a16="http://schemas.microsoft.com/office/drawing/2014/main" id="{33B0A58E-0AEC-8649-A7C5-1927C51BACF4}"/>
              </a:ext>
            </a:extLst>
          </p:cNvPr>
          <p:cNvSpPr/>
          <p:nvPr/>
        </p:nvSpPr>
        <p:spPr>
          <a:xfrm>
            <a:off x="11756536" y="6950754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70" name="Triangolo isoscele 20">
            <a:extLst>
              <a:ext uri="{FF2B5EF4-FFF2-40B4-BE49-F238E27FC236}">
                <a16:creationId xmlns:a16="http://schemas.microsoft.com/office/drawing/2014/main" id="{A4F298B0-86BC-0F42-93D0-35B6740F1FE6}"/>
              </a:ext>
            </a:extLst>
          </p:cNvPr>
          <p:cNvSpPr/>
          <p:nvPr/>
        </p:nvSpPr>
        <p:spPr>
          <a:xfrm rot="5400000">
            <a:off x="-276040" y="885372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71" name="Triangolo isoscele 21">
            <a:extLst>
              <a:ext uri="{FF2B5EF4-FFF2-40B4-BE49-F238E27FC236}">
                <a16:creationId xmlns:a16="http://schemas.microsoft.com/office/drawing/2014/main" id="{6542EBB0-FD57-2549-81E3-9721B41D32F4}"/>
              </a:ext>
            </a:extLst>
          </p:cNvPr>
          <p:cNvSpPr/>
          <p:nvPr/>
        </p:nvSpPr>
        <p:spPr>
          <a:xfrm rot="5400000">
            <a:off x="-276039" y="5982836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72" name="Triangolo isoscele 22">
            <a:extLst>
              <a:ext uri="{FF2B5EF4-FFF2-40B4-BE49-F238E27FC236}">
                <a16:creationId xmlns:a16="http://schemas.microsoft.com/office/drawing/2014/main" id="{3867C7F9-7430-B04B-8953-3F4FC08B7998}"/>
              </a:ext>
            </a:extLst>
          </p:cNvPr>
          <p:cNvSpPr/>
          <p:nvPr/>
        </p:nvSpPr>
        <p:spPr>
          <a:xfrm rot="16200000">
            <a:off x="12331119" y="885372"/>
            <a:ext cx="132336" cy="261257"/>
          </a:xfrm>
          <a:prstGeom prst="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74" name="Triangolo isoscele 23">
            <a:extLst>
              <a:ext uri="{FF2B5EF4-FFF2-40B4-BE49-F238E27FC236}">
                <a16:creationId xmlns:a16="http://schemas.microsoft.com/office/drawing/2014/main" id="{5562C8A5-34D2-5C40-932B-E90D7E00DAA8}"/>
              </a:ext>
            </a:extLst>
          </p:cNvPr>
          <p:cNvSpPr/>
          <p:nvPr/>
        </p:nvSpPr>
        <p:spPr>
          <a:xfrm rot="16200000">
            <a:off x="12331120" y="5982836"/>
            <a:ext cx="132336" cy="261257"/>
          </a:xfrm>
          <a:prstGeom prst="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75" name="Triangolo isoscele 31">
            <a:extLst>
              <a:ext uri="{FF2B5EF4-FFF2-40B4-BE49-F238E27FC236}">
                <a16:creationId xmlns:a16="http://schemas.microsoft.com/office/drawing/2014/main" id="{7A80B56B-D893-3F4D-8644-BA8C48B6017F}"/>
              </a:ext>
            </a:extLst>
          </p:cNvPr>
          <p:cNvSpPr/>
          <p:nvPr/>
        </p:nvSpPr>
        <p:spPr>
          <a:xfrm rot="10800000">
            <a:off x="303127" y="-324737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76" name="Triangolo isoscele 32">
            <a:extLst>
              <a:ext uri="{FF2B5EF4-FFF2-40B4-BE49-F238E27FC236}">
                <a16:creationId xmlns:a16="http://schemas.microsoft.com/office/drawing/2014/main" id="{46DF462B-43D5-3340-849E-997691018B35}"/>
              </a:ext>
            </a:extLst>
          </p:cNvPr>
          <p:cNvSpPr/>
          <p:nvPr/>
        </p:nvSpPr>
        <p:spPr>
          <a:xfrm rot="10800000">
            <a:off x="11756536" y="-324737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77" name="Triangolo isoscele 33">
            <a:extLst>
              <a:ext uri="{FF2B5EF4-FFF2-40B4-BE49-F238E27FC236}">
                <a16:creationId xmlns:a16="http://schemas.microsoft.com/office/drawing/2014/main" id="{85548BAE-9AA2-0F45-863A-CA4E0A912299}"/>
              </a:ext>
            </a:extLst>
          </p:cNvPr>
          <p:cNvSpPr/>
          <p:nvPr/>
        </p:nvSpPr>
        <p:spPr>
          <a:xfrm>
            <a:off x="303127" y="6950754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78" name="Triangolo isoscele 34">
            <a:extLst>
              <a:ext uri="{FF2B5EF4-FFF2-40B4-BE49-F238E27FC236}">
                <a16:creationId xmlns:a16="http://schemas.microsoft.com/office/drawing/2014/main" id="{F4D92F4C-206B-F745-A66D-BF3B719B7ED0}"/>
              </a:ext>
            </a:extLst>
          </p:cNvPr>
          <p:cNvSpPr/>
          <p:nvPr/>
        </p:nvSpPr>
        <p:spPr>
          <a:xfrm>
            <a:off x="11756536" y="6950754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79" name="Triangolo isoscele 35">
            <a:extLst>
              <a:ext uri="{FF2B5EF4-FFF2-40B4-BE49-F238E27FC236}">
                <a16:creationId xmlns:a16="http://schemas.microsoft.com/office/drawing/2014/main" id="{B9D34269-B96D-7F42-8EEC-7910165A075A}"/>
              </a:ext>
            </a:extLst>
          </p:cNvPr>
          <p:cNvSpPr/>
          <p:nvPr/>
        </p:nvSpPr>
        <p:spPr>
          <a:xfrm rot="5400000">
            <a:off x="-276040" y="885372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80" name="Triangolo isoscele 36">
            <a:extLst>
              <a:ext uri="{FF2B5EF4-FFF2-40B4-BE49-F238E27FC236}">
                <a16:creationId xmlns:a16="http://schemas.microsoft.com/office/drawing/2014/main" id="{DD872F01-5502-1F48-9A58-736AE104ED97}"/>
              </a:ext>
            </a:extLst>
          </p:cNvPr>
          <p:cNvSpPr/>
          <p:nvPr/>
        </p:nvSpPr>
        <p:spPr>
          <a:xfrm rot="5400000">
            <a:off x="-276039" y="5982836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81" name="Triangolo isoscele 37">
            <a:extLst>
              <a:ext uri="{FF2B5EF4-FFF2-40B4-BE49-F238E27FC236}">
                <a16:creationId xmlns:a16="http://schemas.microsoft.com/office/drawing/2014/main" id="{4BA8AEFE-89CE-074A-BB11-B5C18AA009A9}"/>
              </a:ext>
            </a:extLst>
          </p:cNvPr>
          <p:cNvSpPr/>
          <p:nvPr/>
        </p:nvSpPr>
        <p:spPr>
          <a:xfrm rot="16200000">
            <a:off x="12331119" y="885372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82" name="Triangolo isoscele 38">
            <a:extLst>
              <a:ext uri="{FF2B5EF4-FFF2-40B4-BE49-F238E27FC236}">
                <a16:creationId xmlns:a16="http://schemas.microsoft.com/office/drawing/2014/main" id="{3F51AF59-AC80-5541-B354-89B781746623}"/>
              </a:ext>
            </a:extLst>
          </p:cNvPr>
          <p:cNvSpPr/>
          <p:nvPr/>
        </p:nvSpPr>
        <p:spPr>
          <a:xfrm rot="16200000">
            <a:off x="12331120" y="5982836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pic>
        <p:nvPicPr>
          <p:cNvPr id="84" name="Elemento grafico 83">
            <a:extLst>
              <a:ext uri="{FF2B5EF4-FFF2-40B4-BE49-F238E27FC236}">
                <a16:creationId xmlns:a16="http://schemas.microsoft.com/office/drawing/2014/main" id="{2BD6C0B8-8F22-3141-9CCA-575076163DAB}"/>
              </a:ext>
            </a:extLst>
          </p:cNvPr>
          <p:cNvPicPr>
            <a:picLocks noChangeAspect="1"/>
          </p:cNvPicPr>
          <p:nvPr/>
        </p:nvPicPr>
        <p:blipFill>
          <a:blip r:embed="rId2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10081892" y="-5080"/>
            <a:ext cx="1560273" cy="309880"/>
          </a:xfrm>
          <a:prstGeom prst="rect">
            <a:avLst/>
          </a:prstGeom>
        </p:spPr>
      </p:pic>
      <p:sp>
        <p:nvSpPr>
          <p:cNvPr id="85" name="object 267">
            <a:extLst>
              <a:ext uri="{FF2B5EF4-FFF2-40B4-BE49-F238E27FC236}">
                <a16:creationId xmlns:a16="http://schemas.microsoft.com/office/drawing/2014/main" id="{D1A6BF65-1ED8-074E-B8B6-E4E1F9AAF1B9}"/>
              </a:ext>
            </a:extLst>
          </p:cNvPr>
          <p:cNvSpPr/>
          <p:nvPr/>
        </p:nvSpPr>
        <p:spPr>
          <a:xfrm>
            <a:off x="0" y="1251482"/>
            <a:ext cx="675518" cy="45719"/>
          </a:xfrm>
          <a:custGeom>
            <a:avLst/>
            <a:gdLst/>
            <a:ahLst/>
            <a:cxnLst/>
            <a:rect l="l" t="t" r="r" b="b"/>
            <a:pathLst>
              <a:path w="657225">
                <a:moveTo>
                  <a:pt x="0" y="0"/>
                </a:moveTo>
                <a:lnTo>
                  <a:pt x="656678" y="0"/>
                </a:lnTo>
              </a:path>
            </a:pathLst>
          </a:custGeom>
          <a:ln w="76200">
            <a:solidFill>
              <a:srgbClr val="EEDC00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JhengHei UI Light" panose="020B0304030504040204" pitchFamily="34" charset="-120"/>
              <a:ea typeface="Microsoft JhengHei UI Light" panose="020B0304030504040204" pitchFamily="34" charset="-120"/>
              <a:cs typeface="+mn-cs"/>
            </a:endParaRPr>
          </a:p>
        </p:txBody>
      </p:sp>
      <p:sp>
        <p:nvSpPr>
          <p:cNvPr id="90" name="Segnaposto testo 2">
            <a:extLst>
              <a:ext uri="{FF2B5EF4-FFF2-40B4-BE49-F238E27FC236}">
                <a16:creationId xmlns:a16="http://schemas.microsoft.com/office/drawing/2014/main" id="{A3A48F2D-9524-9747-A5B0-AE29FDF9203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75518" y="1548863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it-IT" dirty="0"/>
              <a:t>Fare clic per modificare gli stili del testo dello schema</a:t>
            </a:r>
          </a:p>
          <a:p>
            <a:pPr lvl="1"/>
            <a:r>
              <a:rPr lang="it-IT" dirty="0"/>
              <a:t>Secondo livello</a:t>
            </a:r>
          </a:p>
          <a:p>
            <a:pPr lvl="2"/>
            <a:r>
              <a:rPr lang="it-IT" dirty="0"/>
              <a:t>Terzo livello</a:t>
            </a:r>
          </a:p>
          <a:p>
            <a:pPr lvl="3"/>
            <a:r>
              <a:rPr lang="it-IT" dirty="0"/>
              <a:t>Quarto livello</a:t>
            </a:r>
          </a:p>
          <a:p>
            <a:pPr lvl="4"/>
            <a:r>
              <a:rPr lang="it-IT" dirty="0"/>
              <a:t>Quinto livello</a:t>
            </a:r>
          </a:p>
        </p:txBody>
      </p:sp>
      <p:sp>
        <p:nvSpPr>
          <p:cNvPr id="92" name="Segnaposto titolo 1">
            <a:extLst>
              <a:ext uri="{FF2B5EF4-FFF2-40B4-BE49-F238E27FC236}">
                <a16:creationId xmlns:a16="http://schemas.microsoft.com/office/drawing/2014/main" id="{883FEED5-D0F2-9B4C-9534-88DF93924B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7394" y="504194"/>
            <a:ext cx="10515600" cy="725421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it-IT" dirty="0"/>
              <a:t>FARE CLIC PER MODIFICARE LO STILE DEL TITOLO DELLO SCHEMA</a:t>
            </a:r>
          </a:p>
        </p:txBody>
      </p:sp>
      <p:sp>
        <p:nvSpPr>
          <p:cNvPr id="64" name="Triangolo isoscele 16">
            <a:extLst>
              <a:ext uri="{FF2B5EF4-FFF2-40B4-BE49-F238E27FC236}">
                <a16:creationId xmlns:a16="http://schemas.microsoft.com/office/drawing/2014/main" id="{085F4287-ABF4-154A-AC72-076F69E36B18}"/>
              </a:ext>
            </a:extLst>
          </p:cNvPr>
          <p:cNvSpPr/>
          <p:nvPr userDrawn="1"/>
        </p:nvSpPr>
        <p:spPr>
          <a:xfrm rot="10800000">
            <a:off x="303127" y="-324737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83" name="Triangolo isoscele 17">
            <a:extLst>
              <a:ext uri="{FF2B5EF4-FFF2-40B4-BE49-F238E27FC236}">
                <a16:creationId xmlns:a16="http://schemas.microsoft.com/office/drawing/2014/main" id="{68C5E2B0-936B-074B-AD90-0B874864B205}"/>
              </a:ext>
            </a:extLst>
          </p:cNvPr>
          <p:cNvSpPr/>
          <p:nvPr userDrawn="1"/>
        </p:nvSpPr>
        <p:spPr>
          <a:xfrm rot="10800000">
            <a:off x="11756536" y="-324737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86" name="Triangolo isoscele 18">
            <a:extLst>
              <a:ext uri="{FF2B5EF4-FFF2-40B4-BE49-F238E27FC236}">
                <a16:creationId xmlns:a16="http://schemas.microsoft.com/office/drawing/2014/main" id="{3A3F062C-197A-D745-9049-A0F8B183AF2D}"/>
              </a:ext>
            </a:extLst>
          </p:cNvPr>
          <p:cNvSpPr/>
          <p:nvPr userDrawn="1"/>
        </p:nvSpPr>
        <p:spPr>
          <a:xfrm>
            <a:off x="303127" y="6950754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87" name="Triangolo isoscele 19">
            <a:extLst>
              <a:ext uri="{FF2B5EF4-FFF2-40B4-BE49-F238E27FC236}">
                <a16:creationId xmlns:a16="http://schemas.microsoft.com/office/drawing/2014/main" id="{6C3531AA-8E07-D843-B516-609ECC85B5DD}"/>
              </a:ext>
            </a:extLst>
          </p:cNvPr>
          <p:cNvSpPr/>
          <p:nvPr userDrawn="1"/>
        </p:nvSpPr>
        <p:spPr>
          <a:xfrm>
            <a:off x="11756536" y="6950754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88" name="Triangolo isoscele 20">
            <a:extLst>
              <a:ext uri="{FF2B5EF4-FFF2-40B4-BE49-F238E27FC236}">
                <a16:creationId xmlns:a16="http://schemas.microsoft.com/office/drawing/2014/main" id="{FAD5D516-D38B-9A42-993F-6D7A438EE56F}"/>
              </a:ext>
            </a:extLst>
          </p:cNvPr>
          <p:cNvSpPr/>
          <p:nvPr userDrawn="1"/>
        </p:nvSpPr>
        <p:spPr>
          <a:xfrm rot="5400000">
            <a:off x="-276040" y="885372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89" name="Triangolo isoscele 21">
            <a:extLst>
              <a:ext uri="{FF2B5EF4-FFF2-40B4-BE49-F238E27FC236}">
                <a16:creationId xmlns:a16="http://schemas.microsoft.com/office/drawing/2014/main" id="{6A39F99F-C98F-9A43-B04A-27CA14227B5A}"/>
              </a:ext>
            </a:extLst>
          </p:cNvPr>
          <p:cNvSpPr/>
          <p:nvPr userDrawn="1"/>
        </p:nvSpPr>
        <p:spPr>
          <a:xfrm rot="5400000">
            <a:off x="-276039" y="5982836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91" name="Triangolo isoscele 22">
            <a:extLst>
              <a:ext uri="{FF2B5EF4-FFF2-40B4-BE49-F238E27FC236}">
                <a16:creationId xmlns:a16="http://schemas.microsoft.com/office/drawing/2014/main" id="{5BC2BEDA-43D9-BB4F-AF7F-E899EADC4B38}"/>
              </a:ext>
            </a:extLst>
          </p:cNvPr>
          <p:cNvSpPr/>
          <p:nvPr userDrawn="1"/>
        </p:nvSpPr>
        <p:spPr>
          <a:xfrm rot="16200000">
            <a:off x="12331119" y="885372"/>
            <a:ext cx="132336" cy="261257"/>
          </a:xfrm>
          <a:prstGeom prst="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93" name="Triangolo isoscele 23">
            <a:extLst>
              <a:ext uri="{FF2B5EF4-FFF2-40B4-BE49-F238E27FC236}">
                <a16:creationId xmlns:a16="http://schemas.microsoft.com/office/drawing/2014/main" id="{AEC5D42B-9010-0547-9C67-D5A36BEA6002}"/>
              </a:ext>
            </a:extLst>
          </p:cNvPr>
          <p:cNvSpPr/>
          <p:nvPr userDrawn="1"/>
        </p:nvSpPr>
        <p:spPr>
          <a:xfrm rot="16200000">
            <a:off x="12331120" y="5982836"/>
            <a:ext cx="132336" cy="261257"/>
          </a:xfrm>
          <a:prstGeom prst="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94" name="Triangolo isoscele 31">
            <a:extLst>
              <a:ext uri="{FF2B5EF4-FFF2-40B4-BE49-F238E27FC236}">
                <a16:creationId xmlns:a16="http://schemas.microsoft.com/office/drawing/2014/main" id="{6B4BAD9F-F69A-E34B-8174-1122C3FA2F31}"/>
              </a:ext>
            </a:extLst>
          </p:cNvPr>
          <p:cNvSpPr/>
          <p:nvPr userDrawn="1"/>
        </p:nvSpPr>
        <p:spPr>
          <a:xfrm rot="10800000">
            <a:off x="303127" y="-324737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95" name="Triangolo isoscele 32">
            <a:extLst>
              <a:ext uri="{FF2B5EF4-FFF2-40B4-BE49-F238E27FC236}">
                <a16:creationId xmlns:a16="http://schemas.microsoft.com/office/drawing/2014/main" id="{B3F086B0-1F25-484C-91D9-DD2EECD0D057}"/>
              </a:ext>
            </a:extLst>
          </p:cNvPr>
          <p:cNvSpPr/>
          <p:nvPr userDrawn="1"/>
        </p:nvSpPr>
        <p:spPr>
          <a:xfrm rot="10800000">
            <a:off x="11756536" y="-324737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96" name="Triangolo isoscele 33">
            <a:extLst>
              <a:ext uri="{FF2B5EF4-FFF2-40B4-BE49-F238E27FC236}">
                <a16:creationId xmlns:a16="http://schemas.microsoft.com/office/drawing/2014/main" id="{456A5037-21DB-CF41-99BF-A661592ACF30}"/>
              </a:ext>
            </a:extLst>
          </p:cNvPr>
          <p:cNvSpPr/>
          <p:nvPr userDrawn="1"/>
        </p:nvSpPr>
        <p:spPr>
          <a:xfrm>
            <a:off x="303127" y="6950754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97" name="Triangolo isoscele 34">
            <a:extLst>
              <a:ext uri="{FF2B5EF4-FFF2-40B4-BE49-F238E27FC236}">
                <a16:creationId xmlns:a16="http://schemas.microsoft.com/office/drawing/2014/main" id="{8D5D1E83-D855-3D45-BBE8-427CA31DC548}"/>
              </a:ext>
            </a:extLst>
          </p:cNvPr>
          <p:cNvSpPr/>
          <p:nvPr userDrawn="1"/>
        </p:nvSpPr>
        <p:spPr>
          <a:xfrm>
            <a:off x="11756536" y="6950754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98" name="Triangolo isoscele 35">
            <a:extLst>
              <a:ext uri="{FF2B5EF4-FFF2-40B4-BE49-F238E27FC236}">
                <a16:creationId xmlns:a16="http://schemas.microsoft.com/office/drawing/2014/main" id="{3940C4AF-C194-7247-A3B1-5C178CE8B0B0}"/>
              </a:ext>
            </a:extLst>
          </p:cNvPr>
          <p:cNvSpPr/>
          <p:nvPr userDrawn="1"/>
        </p:nvSpPr>
        <p:spPr>
          <a:xfrm rot="5400000">
            <a:off x="-276040" y="885372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99" name="Triangolo isoscele 36">
            <a:extLst>
              <a:ext uri="{FF2B5EF4-FFF2-40B4-BE49-F238E27FC236}">
                <a16:creationId xmlns:a16="http://schemas.microsoft.com/office/drawing/2014/main" id="{8BF83D60-B2BD-5744-8105-4462686E4E68}"/>
              </a:ext>
            </a:extLst>
          </p:cNvPr>
          <p:cNvSpPr/>
          <p:nvPr userDrawn="1"/>
        </p:nvSpPr>
        <p:spPr>
          <a:xfrm rot="5400000">
            <a:off x="-276039" y="5997124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100" name="Triangolo isoscele 37">
            <a:extLst>
              <a:ext uri="{FF2B5EF4-FFF2-40B4-BE49-F238E27FC236}">
                <a16:creationId xmlns:a16="http://schemas.microsoft.com/office/drawing/2014/main" id="{73404EA2-0943-9D41-AEAE-BB5783111E98}"/>
              </a:ext>
            </a:extLst>
          </p:cNvPr>
          <p:cNvSpPr/>
          <p:nvPr userDrawn="1"/>
        </p:nvSpPr>
        <p:spPr>
          <a:xfrm rot="16200000">
            <a:off x="12331119" y="885372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101" name="Triangolo isoscele 38">
            <a:extLst>
              <a:ext uri="{FF2B5EF4-FFF2-40B4-BE49-F238E27FC236}">
                <a16:creationId xmlns:a16="http://schemas.microsoft.com/office/drawing/2014/main" id="{3A920059-835C-6641-ADAA-73ADA957BDFB}"/>
              </a:ext>
            </a:extLst>
          </p:cNvPr>
          <p:cNvSpPr/>
          <p:nvPr userDrawn="1"/>
        </p:nvSpPr>
        <p:spPr>
          <a:xfrm rot="16200000">
            <a:off x="12331120" y="5997124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103" name="bg object 16">
            <a:extLst>
              <a:ext uri="{FF2B5EF4-FFF2-40B4-BE49-F238E27FC236}">
                <a16:creationId xmlns:a16="http://schemas.microsoft.com/office/drawing/2014/main" id="{11DD3B47-3596-FF47-8336-9E5C4F545F89}"/>
              </a:ext>
            </a:extLst>
          </p:cNvPr>
          <p:cNvSpPr/>
          <p:nvPr userDrawn="1"/>
        </p:nvSpPr>
        <p:spPr>
          <a:xfrm>
            <a:off x="11330381" y="6448615"/>
            <a:ext cx="311785" cy="410845"/>
          </a:xfrm>
          <a:custGeom>
            <a:avLst/>
            <a:gdLst/>
            <a:ahLst/>
            <a:cxnLst/>
            <a:rect l="l" t="t" r="r" b="b"/>
            <a:pathLst>
              <a:path w="311784" h="410845">
                <a:moveTo>
                  <a:pt x="311645" y="0"/>
                </a:moveTo>
                <a:lnTo>
                  <a:pt x="0" y="0"/>
                </a:lnTo>
                <a:lnTo>
                  <a:pt x="0" y="410438"/>
                </a:lnTo>
                <a:lnTo>
                  <a:pt x="311645" y="410438"/>
                </a:lnTo>
                <a:lnTo>
                  <a:pt x="311645" y="0"/>
                </a:lnTo>
                <a:close/>
              </a:path>
            </a:pathLst>
          </a:custGeom>
          <a:solidFill>
            <a:srgbClr val="0047B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4" name="Holder 7">
            <a:extLst>
              <a:ext uri="{FF2B5EF4-FFF2-40B4-BE49-F238E27FC236}">
                <a16:creationId xmlns:a16="http://schemas.microsoft.com/office/drawing/2014/main" id="{1929AB2D-37AF-E844-B0ED-60637521FF0D}"/>
              </a:ext>
            </a:extLst>
          </p:cNvPr>
          <p:cNvSpPr txBox="1">
            <a:spLocks/>
          </p:cNvSpPr>
          <p:nvPr userDrawn="1"/>
        </p:nvSpPr>
        <p:spPr>
          <a:xfrm>
            <a:off x="11342726" y="6520516"/>
            <a:ext cx="256044" cy="16158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it-IT"/>
            </a:defPPr>
            <a:lvl1pPr marL="0" algn="l" defTabSz="914400" rtl="0" eaLnBrk="1" latinLnBrk="0" hangingPunct="1">
              <a:defRPr sz="850" b="1" i="0" kern="1200">
                <a:solidFill>
                  <a:schemeClr val="bg1"/>
                </a:solidFill>
                <a:latin typeface="Verdana"/>
                <a:ea typeface="+mn-ea"/>
                <a:cs typeface="Verdana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8100" algn="ctr">
              <a:spcBef>
                <a:spcPts val="105"/>
              </a:spcBef>
            </a:pPr>
            <a:fld id="{81D60167-4931-47E6-BA6A-407CBD079E47}" type="slidenum">
              <a:rPr lang="it-IT" sz="1050" b="0" i="0" spc="5" smtClean="0">
                <a:latin typeface="Avenir Next LT Pro" pitchFamily="2" charset="0"/>
              </a:rPr>
              <a:pPr marL="38100" algn="ctr">
                <a:spcBef>
                  <a:spcPts val="105"/>
                </a:spcBef>
              </a:pPr>
              <a:t>‹N›</a:t>
            </a:fld>
            <a:endParaRPr lang="it-IT" sz="1050" b="0" i="0" spc="5" dirty="0">
              <a:latin typeface="Avenir Next LT Pro" pitchFamily="2" charset="0"/>
            </a:endParaRPr>
          </a:p>
        </p:txBody>
      </p:sp>
      <p:pic>
        <p:nvPicPr>
          <p:cNvPr id="105" name="Elemento grafico 104">
            <a:extLst>
              <a:ext uri="{FF2B5EF4-FFF2-40B4-BE49-F238E27FC236}">
                <a16:creationId xmlns:a16="http://schemas.microsoft.com/office/drawing/2014/main" id="{EBBD5612-37AA-1749-8410-EDED60389C08}"/>
              </a:ext>
            </a:extLst>
          </p:cNvPr>
          <p:cNvPicPr>
            <a:picLocks noChangeAspect="1"/>
          </p:cNvPicPr>
          <p:nvPr userDrawn="1"/>
        </p:nvPicPr>
        <p:blipFill>
          <a:blip r:embed="rId2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5"/>
              </a:ext>
            </a:extLst>
          </a:blip>
          <a:stretch>
            <a:fillRect/>
          </a:stretch>
        </p:blipFill>
        <p:spPr>
          <a:xfrm>
            <a:off x="10081892" y="-5080"/>
            <a:ext cx="1560273" cy="309880"/>
          </a:xfrm>
          <a:prstGeom prst="rect">
            <a:avLst/>
          </a:prstGeom>
        </p:spPr>
      </p:pic>
      <p:sp>
        <p:nvSpPr>
          <p:cNvPr id="106" name="object 267">
            <a:extLst>
              <a:ext uri="{FF2B5EF4-FFF2-40B4-BE49-F238E27FC236}">
                <a16:creationId xmlns:a16="http://schemas.microsoft.com/office/drawing/2014/main" id="{30B2FF09-E725-C442-A539-6088B13A47D8}"/>
              </a:ext>
            </a:extLst>
          </p:cNvPr>
          <p:cNvSpPr/>
          <p:nvPr userDrawn="1"/>
        </p:nvSpPr>
        <p:spPr>
          <a:xfrm>
            <a:off x="0" y="1251482"/>
            <a:ext cx="675518" cy="45719"/>
          </a:xfrm>
          <a:custGeom>
            <a:avLst/>
            <a:gdLst/>
            <a:ahLst/>
            <a:cxnLst/>
            <a:rect l="l" t="t" r="r" b="b"/>
            <a:pathLst>
              <a:path w="657225">
                <a:moveTo>
                  <a:pt x="0" y="0"/>
                </a:moveTo>
                <a:lnTo>
                  <a:pt x="656678" y="0"/>
                </a:lnTo>
              </a:path>
            </a:pathLst>
          </a:custGeom>
          <a:ln w="76200">
            <a:solidFill>
              <a:srgbClr val="EEDC00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JhengHei UI Light" panose="020B0304030504040204" pitchFamily="34" charset="-120"/>
              <a:ea typeface="Microsoft JhengHei UI Light" panose="020B0304030504040204" pitchFamily="34" charset="-120"/>
              <a:cs typeface="+mn-cs"/>
            </a:endParaRPr>
          </a:p>
        </p:txBody>
      </p:sp>
      <p:sp>
        <p:nvSpPr>
          <p:cNvPr id="108" name="Rettangolo 107">
            <a:extLst>
              <a:ext uri="{FF2B5EF4-FFF2-40B4-BE49-F238E27FC236}">
                <a16:creationId xmlns:a16="http://schemas.microsoft.com/office/drawing/2014/main" id="{C3447F6E-CB2F-204D-9F0F-9AD90C329E38}"/>
              </a:ext>
            </a:extLst>
          </p:cNvPr>
          <p:cNvSpPr/>
          <p:nvPr userDrawn="1"/>
        </p:nvSpPr>
        <p:spPr>
          <a:xfrm>
            <a:off x="8400817" y="-1788148"/>
            <a:ext cx="1782962" cy="1122539"/>
          </a:xfrm>
          <a:prstGeom prst="rect">
            <a:avLst/>
          </a:prstGeom>
          <a:solidFill>
            <a:srgbClr val="3D85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it-IT" sz="1400" b="1" dirty="0">
                <a:solidFill>
                  <a:schemeClr val="bg1"/>
                </a:solidFill>
              </a:rPr>
              <a:t>CELESTE</a:t>
            </a:r>
          </a:p>
          <a:p>
            <a:pPr algn="ctr"/>
            <a:r>
              <a:rPr lang="it-IT" sz="1400" dirty="0">
                <a:solidFill>
                  <a:schemeClr val="bg1"/>
                </a:solidFill>
              </a:rPr>
              <a:t>RGB 61-133-255</a:t>
            </a:r>
          </a:p>
          <a:p>
            <a:pPr algn="ctr"/>
            <a:endParaRPr lang="it-IT" sz="1400" dirty="0">
              <a:solidFill>
                <a:schemeClr val="bg1"/>
              </a:solidFill>
            </a:endParaRPr>
          </a:p>
          <a:p>
            <a:pPr algn="ctr"/>
            <a:r>
              <a:rPr lang="it-IT" sz="1400" dirty="0">
                <a:solidFill>
                  <a:schemeClr val="bg1"/>
                </a:solidFill>
              </a:rPr>
              <a:t>GRAFICA</a:t>
            </a:r>
            <a:endParaRPr lang="it-IT" sz="1400" b="1" dirty="0">
              <a:solidFill>
                <a:schemeClr val="bg1"/>
              </a:solidFill>
            </a:endParaRPr>
          </a:p>
        </p:txBody>
      </p:sp>
      <p:sp>
        <p:nvSpPr>
          <p:cNvPr id="109" name="Rettangolo 108">
            <a:extLst>
              <a:ext uri="{FF2B5EF4-FFF2-40B4-BE49-F238E27FC236}">
                <a16:creationId xmlns:a16="http://schemas.microsoft.com/office/drawing/2014/main" id="{BB16F996-2E74-5542-A0F7-9C87787F6C24}"/>
              </a:ext>
            </a:extLst>
          </p:cNvPr>
          <p:cNvSpPr/>
          <p:nvPr userDrawn="1"/>
        </p:nvSpPr>
        <p:spPr>
          <a:xfrm>
            <a:off x="-1896232" y="-1788147"/>
            <a:ext cx="1782963" cy="112253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it-IT" sz="1400" b="1" dirty="0">
                <a:solidFill>
                  <a:schemeClr val="bg1"/>
                </a:solidFill>
              </a:rPr>
              <a:t>BLU</a:t>
            </a:r>
          </a:p>
          <a:p>
            <a:pPr algn="ctr"/>
            <a:r>
              <a:rPr lang="it-IT" sz="1400" dirty="0">
                <a:solidFill>
                  <a:schemeClr val="bg1"/>
                </a:solidFill>
              </a:rPr>
              <a:t>RGB 0-71-187</a:t>
            </a:r>
          </a:p>
          <a:p>
            <a:pPr algn="ctr"/>
            <a:endParaRPr lang="it-IT" sz="1400" dirty="0">
              <a:solidFill>
                <a:schemeClr val="bg1"/>
              </a:solidFill>
            </a:endParaRPr>
          </a:p>
          <a:p>
            <a:pPr algn="ctr"/>
            <a:r>
              <a:rPr lang="it-IT" sz="1400" dirty="0">
                <a:solidFill>
                  <a:schemeClr val="bg1"/>
                </a:solidFill>
              </a:rPr>
              <a:t>TITOLI /GRAFICI /GRAFICA</a:t>
            </a:r>
            <a:endParaRPr lang="it-IT" sz="1400" b="1" dirty="0">
              <a:solidFill>
                <a:schemeClr val="bg1"/>
              </a:solidFill>
            </a:endParaRPr>
          </a:p>
        </p:txBody>
      </p:sp>
      <p:sp>
        <p:nvSpPr>
          <p:cNvPr id="110" name="Rettangolo 109">
            <a:extLst>
              <a:ext uri="{FF2B5EF4-FFF2-40B4-BE49-F238E27FC236}">
                <a16:creationId xmlns:a16="http://schemas.microsoft.com/office/drawing/2014/main" id="{0E4E971E-D77C-AB49-B0A3-6DA69670C75E}"/>
              </a:ext>
            </a:extLst>
          </p:cNvPr>
          <p:cNvSpPr/>
          <p:nvPr userDrawn="1"/>
        </p:nvSpPr>
        <p:spPr>
          <a:xfrm>
            <a:off x="2233750" y="-1782055"/>
            <a:ext cx="1782962" cy="1122539"/>
          </a:xfrm>
          <a:prstGeom prst="rect">
            <a:avLst/>
          </a:prstGeom>
          <a:solidFill>
            <a:srgbClr val="3B3B3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it-IT" sz="1400" b="1" dirty="0">
                <a:solidFill>
                  <a:schemeClr val="bg1"/>
                </a:solidFill>
              </a:rPr>
              <a:t>GRIGIO 1 </a:t>
            </a:r>
            <a:br>
              <a:rPr lang="it-IT" sz="1400" b="1" dirty="0">
                <a:solidFill>
                  <a:schemeClr val="bg1"/>
                </a:solidFill>
              </a:rPr>
            </a:br>
            <a:r>
              <a:rPr lang="it-IT" sz="1400" dirty="0">
                <a:solidFill>
                  <a:schemeClr val="bg1"/>
                </a:solidFill>
              </a:rPr>
              <a:t>RGB 60-60-59</a:t>
            </a:r>
          </a:p>
          <a:p>
            <a:pPr algn="ctr"/>
            <a:endParaRPr lang="it-IT" sz="1400" dirty="0">
              <a:solidFill>
                <a:schemeClr val="bg1"/>
              </a:solidFill>
            </a:endParaRPr>
          </a:p>
          <a:p>
            <a:pPr algn="ctr"/>
            <a:r>
              <a:rPr lang="it-IT" sz="1100" dirty="0">
                <a:solidFill>
                  <a:schemeClr val="bg1"/>
                </a:solidFill>
              </a:rPr>
              <a:t>SOLO PER IL TESTO</a:t>
            </a:r>
          </a:p>
          <a:p>
            <a:pPr algn="ctr"/>
            <a:r>
              <a:rPr lang="it-IT" sz="1100" dirty="0">
                <a:solidFill>
                  <a:schemeClr val="bg1"/>
                </a:solidFill>
              </a:rPr>
              <a:t>E GRAFICI</a:t>
            </a:r>
          </a:p>
        </p:txBody>
      </p:sp>
      <p:sp>
        <p:nvSpPr>
          <p:cNvPr id="111" name="Rettangolo 110">
            <a:extLst>
              <a:ext uri="{FF2B5EF4-FFF2-40B4-BE49-F238E27FC236}">
                <a16:creationId xmlns:a16="http://schemas.microsoft.com/office/drawing/2014/main" id="{98B65F32-29B4-5448-9A6B-207DEC386E59}"/>
              </a:ext>
            </a:extLst>
          </p:cNvPr>
          <p:cNvSpPr/>
          <p:nvPr userDrawn="1"/>
        </p:nvSpPr>
        <p:spPr>
          <a:xfrm>
            <a:off x="4295789" y="-1788147"/>
            <a:ext cx="1782962" cy="1122539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it-IT" sz="1400" b="1" dirty="0">
                <a:solidFill>
                  <a:schemeClr val="bg1"/>
                </a:solidFill>
              </a:rPr>
              <a:t>GRIGIO 2</a:t>
            </a:r>
          </a:p>
          <a:p>
            <a:pPr algn="ctr"/>
            <a:r>
              <a:rPr lang="it-IT" sz="1400" dirty="0">
                <a:solidFill>
                  <a:schemeClr val="bg1"/>
                </a:solidFill>
              </a:rPr>
              <a:t>RGB 112-111-111</a:t>
            </a:r>
          </a:p>
          <a:p>
            <a:pPr algn="ctr"/>
            <a:endParaRPr lang="it-IT" sz="1400" dirty="0">
              <a:solidFill>
                <a:schemeClr val="bg1"/>
              </a:solidFill>
            </a:endParaRPr>
          </a:p>
          <a:p>
            <a:pPr algn="ctr"/>
            <a:r>
              <a:rPr lang="it-IT" sz="1400" dirty="0">
                <a:solidFill>
                  <a:schemeClr val="bg1"/>
                </a:solidFill>
              </a:rPr>
              <a:t>TESTO </a:t>
            </a:r>
            <a:r>
              <a:rPr lang="it-IT" sz="1400" b="1" dirty="0">
                <a:solidFill>
                  <a:schemeClr val="bg1"/>
                </a:solidFill>
              </a:rPr>
              <a:t>BIANCO</a:t>
            </a:r>
          </a:p>
        </p:txBody>
      </p:sp>
      <p:sp>
        <p:nvSpPr>
          <p:cNvPr id="112" name="Rettangolo 111">
            <a:extLst>
              <a:ext uri="{FF2B5EF4-FFF2-40B4-BE49-F238E27FC236}">
                <a16:creationId xmlns:a16="http://schemas.microsoft.com/office/drawing/2014/main" id="{2D4ECE48-734A-7F49-9737-6D328E437451}"/>
              </a:ext>
            </a:extLst>
          </p:cNvPr>
          <p:cNvSpPr/>
          <p:nvPr userDrawn="1"/>
        </p:nvSpPr>
        <p:spPr>
          <a:xfrm>
            <a:off x="12389784" y="-1788147"/>
            <a:ext cx="1782962" cy="1122539"/>
          </a:xfrm>
          <a:prstGeom prst="rect">
            <a:avLst/>
          </a:prstGeom>
          <a:solidFill>
            <a:srgbClr val="C0C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it-IT" sz="1400" b="1" dirty="0">
                <a:solidFill>
                  <a:schemeClr val="bg2">
                    <a:lumMod val="25000"/>
                  </a:schemeClr>
                </a:solidFill>
              </a:rPr>
              <a:t>GRIGIO 3</a:t>
            </a:r>
          </a:p>
          <a:p>
            <a:pPr algn="ctr"/>
            <a:r>
              <a:rPr lang="it-IT" sz="1400" dirty="0">
                <a:solidFill>
                  <a:srgbClr val="3B3B3A"/>
                </a:solidFill>
              </a:rPr>
              <a:t>RGB 192-192-192</a:t>
            </a:r>
            <a:endParaRPr lang="it-IT" sz="1400" b="1" dirty="0">
              <a:solidFill>
                <a:schemeClr val="bg2">
                  <a:lumMod val="25000"/>
                </a:schemeClr>
              </a:solidFill>
            </a:endParaRPr>
          </a:p>
          <a:p>
            <a:pPr algn="ctr"/>
            <a:endParaRPr lang="it-IT" sz="1400" b="1" dirty="0">
              <a:solidFill>
                <a:schemeClr val="accent5"/>
              </a:solidFill>
            </a:endParaRPr>
          </a:p>
          <a:p>
            <a:pPr algn="ctr"/>
            <a:r>
              <a:rPr lang="it-IT" sz="1400" dirty="0">
                <a:solidFill>
                  <a:schemeClr val="accent5"/>
                </a:solidFill>
              </a:rPr>
              <a:t>SOLO GRAFICI</a:t>
            </a:r>
            <a:endParaRPr lang="it-IT" sz="1400" b="1" dirty="0">
              <a:solidFill>
                <a:schemeClr val="accent5"/>
              </a:solidFill>
            </a:endParaRPr>
          </a:p>
        </p:txBody>
      </p:sp>
      <p:sp>
        <p:nvSpPr>
          <p:cNvPr id="113" name="Rettangolo 112">
            <a:extLst>
              <a:ext uri="{FF2B5EF4-FFF2-40B4-BE49-F238E27FC236}">
                <a16:creationId xmlns:a16="http://schemas.microsoft.com/office/drawing/2014/main" id="{0A0ACA57-E6DB-F848-B26B-C09B0E76F347}"/>
              </a:ext>
            </a:extLst>
          </p:cNvPr>
          <p:cNvSpPr/>
          <p:nvPr userDrawn="1"/>
        </p:nvSpPr>
        <p:spPr>
          <a:xfrm>
            <a:off x="165807" y="-1788148"/>
            <a:ext cx="1782963" cy="1122539"/>
          </a:xfrm>
          <a:prstGeom prst="rect">
            <a:avLst/>
          </a:prstGeom>
          <a:solidFill>
            <a:srgbClr val="E6DC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it-IT" sz="1400" b="1" dirty="0">
                <a:solidFill>
                  <a:schemeClr val="bg1"/>
                </a:solidFill>
              </a:rPr>
              <a:t>GIALLO</a:t>
            </a:r>
          </a:p>
          <a:p>
            <a:pPr algn="ctr"/>
            <a:r>
              <a:rPr lang="it-IT" sz="1400" dirty="0">
                <a:solidFill>
                  <a:schemeClr val="bg1"/>
                </a:solidFill>
              </a:rPr>
              <a:t>RGB 61-134-255</a:t>
            </a:r>
          </a:p>
          <a:p>
            <a:pPr algn="ctr"/>
            <a:endParaRPr lang="it-IT" sz="1400" b="1" dirty="0">
              <a:solidFill>
                <a:schemeClr val="bg1"/>
              </a:solidFill>
            </a:endParaRPr>
          </a:p>
          <a:p>
            <a:pPr algn="ctr"/>
            <a:r>
              <a:rPr lang="it-IT" sz="1400" b="0" dirty="0">
                <a:solidFill>
                  <a:schemeClr val="bg1"/>
                </a:solidFill>
              </a:rPr>
              <a:t>GRAFICI /GRAFICA</a:t>
            </a:r>
            <a:endParaRPr lang="it-IT" sz="1400" b="1" dirty="0">
              <a:solidFill>
                <a:schemeClr val="bg1"/>
              </a:solidFill>
            </a:endParaRPr>
          </a:p>
        </p:txBody>
      </p:sp>
      <p:sp>
        <p:nvSpPr>
          <p:cNvPr id="114" name="Rettangolo 113">
            <a:extLst>
              <a:ext uri="{FF2B5EF4-FFF2-40B4-BE49-F238E27FC236}">
                <a16:creationId xmlns:a16="http://schemas.microsoft.com/office/drawing/2014/main" id="{AA6175D5-D40B-8945-8639-375BDADD474B}"/>
              </a:ext>
            </a:extLst>
          </p:cNvPr>
          <p:cNvSpPr/>
          <p:nvPr userDrawn="1"/>
        </p:nvSpPr>
        <p:spPr>
          <a:xfrm>
            <a:off x="10324793" y="-1788147"/>
            <a:ext cx="1782963" cy="1122539"/>
          </a:xfrm>
          <a:prstGeom prst="rect">
            <a:avLst/>
          </a:prstGeom>
          <a:solidFill>
            <a:schemeClr val="tx2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it-IT" sz="1400" b="1" dirty="0">
                <a:solidFill>
                  <a:schemeClr val="tx1"/>
                </a:solidFill>
              </a:rPr>
              <a:t>BLU 80%</a:t>
            </a:r>
          </a:p>
          <a:p>
            <a:pPr algn="ctr"/>
            <a:r>
              <a:rPr lang="it-IT" sz="1400" dirty="0">
                <a:solidFill>
                  <a:schemeClr val="tx1"/>
                </a:solidFill>
              </a:rPr>
              <a:t>RGB 0-71-187</a:t>
            </a:r>
            <a:endParaRPr lang="it-IT" sz="1400" b="1" dirty="0">
              <a:solidFill>
                <a:schemeClr val="tx1"/>
              </a:solidFill>
            </a:endParaRPr>
          </a:p>
          <a:p>
            <a:pPr algn="ctr"/>
            <a:endParaRPr lang="it-IT" sz="1400" b="1" dirty="0">
              <a:solidFill>
                <a:schemeClr val="tx1"/>
              </a:solidFill>
            </a:endParaRPr>
          </a:p>
          <a:p>
            <a:pPr algn="ctr"/>
            <a:r>
              <a:rPr lang="it-IT" sz="1400" dirty="0">
                <a:solidFill>
                  <a:schemeClr val="tx1"/>
                </a:solidFill>
              </a:rPr>
              <a:t>FONDINI</a:t>
            </a:r>
            <a:endParaRPr lang="it-IT" sz="1400" b="1" dirty="0">
              <a:solidFill>
                <a:schemeClr val="tx1"/>
              </a:solidFill>
            </a:endParaRPr>
          </a:p>
        </p:txBody>
      </p:sp>
      <p:sp>
        <p:nvSpPr>
          <p:cNvPr id="115" name="Rettangolo 114">
            <a:extLst>
              <a:ext uri="{FF2B5EF4-FFF2-40B4-BE49-F238E27FC236}">
                <a16:creationId xmlns:a16="http://schemas.microsoft.com/office/drawing/2014/main" id="{873900C8-B344-5E44-BDB6-1E1B09B2C772}"/>
              </a:ext>
            </a:extLst>
          </p:cNvPr>
          <p:cNvSpPr/>
          <p:nvPr userDrawn="1"/>
        </p:nvSpPr>
        <p:spPr>
          <a:xfrm>
            <a:off x="6357828" y="-1788147"/>
            <a:ext cx="1782962" cy="1122539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it-IT" sz="1400" b="1" dirty="0">
                <a:solidFill>
                  <a:schemeClr val="tx2"/>
                </a:solidFill>
              </a:rPr>
              <a:t>BIANCO</a:t>
            </a:r>
          </a:p>
          <a:p>
            <a:pPr algn="ctr"/>
            <a:r>
              <a:rPr lang="it-IT" sz="1400" dirty="0">
                <a:solidFill>
                  <a:schemeClr val="tx2"/>
                </a:solidFill>
              </a:rPr>
              <a:t>RGB 255-255-255</a:t>
            </a:r>
          </a:p>
          <a:p>
            <a:pPr algn="ctr"/>
            <a:endParaRPr lang="it-IT" sz="1400" dirty="0">
              <a:solidFill>
                <a:schemeClr val="tx2"/>
              </a:solidFill>
            </a:endParaRPr>
          </a:p>
          <a:p>
            <a:pPr algn="ctr"/>
            <a:r>
              <a:rPr lang="it-IT" sz="1200" dirty="0">
                <a:solidFill>
                  <a:schemeClr val="tx2"/>
                </a:solidFill>
              </a:rPr>
              <a:t>PER TESTO E FONDO</a:t>
            </a:r>
            <a:endParaRPr lang="it-IT" sz="1200" b="1" dirty="0">
              <a:solidFill>
                <a:schemeClr val="tx2"/>
              </a:solidFill>
            </a:endParaRPr>
          </a:p>
        </p:txBody>
      </p:sp>
      <p:sp>
        <p:nvSpPr>
          <p:cNvPr id="3" name="CasellaDiTesto 2">
            <a:extLst>
              <a:ext uri="{FF2B5EF4-FFF2-40B4-BE49-F238E27FC236}">
                <a16:creationId xmlns:a16="http://schemas.microsoft.com/office/drawing/2014/main" id="{8D53A10F-C7EA-A3AE-41B4-5E1BF2B00F4D}"/>
              </a:ext>
            </a:extLst>
          </p:cNvPr>
          <p:cNvSpPr txBox="1"/>
          <p:nvPr userDrawn="1"/>
        </p:nvSpPr>
        <p:spPr>
          <a:xfrm>
            <a:off x="3916392" y="6623540"/>
            <a:ext cx="739499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it-IT" sz="800" i="1" dirty="0"/>
              <a:t>Documento ad uso esclusivamente interno, da intendersi come strettamente riservato; non è autorizzata la trasmissione ad altri e la divulgazione all’esterno.</a:t>
            </a:r>
            <a:endParaRPr lang="en-US" sz="800" i="1" dirty="0"/>
          </a:p>
        </p:txBody>
      </p:sp>
    </p:spTree>
    <p:extLst>
      <p:ext uri="{BB962C8B-B14F-4D97-AF65-F5344CB8AC3E}">
        <p14:creationId xmlns:p14="http://schemas.microsoft.com/office/powerpoint/2010/main" val="40016651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9" r:id="rId1"/>
    <p:sldLayoutId id="2147483730" r:id="rId2"/>
    <p:sldLayoutId id="2147483731" r:id="rId3"/>
    <p:sldLayoutId id="2147483732" r:id="rId4"/>
    <p:sldLayoutId id="2147483733" r:id="rId5"/>
    <p:sldLayoutId id="2147483734" r:id="rId6"/>
    <p:sldLayoutId id="2147483735" r:id="rId7"/>
    <p:sldLayoutId id="2147483736" r:id="rId8"/>
    <p:sldLayoutId id="2147483737" r:id="rId9"/>
    <p:sldLayoutId id="2147483738" r:id="rId10"/>
    <p:sldLayoutId id="2147483739" r:id="rId11"/>
    <p:sldLayoutId id="2147483740" r:id="rId12"/>
    <p:sldLayoutId id="2147483741" r:id="rId13"/>
    <p:sldLayoutId id="2147483742" r:id="rId14"/>
    <p:sldLayoutId id="2147483743" r:id="rId15"/>
    <p:sldLayoutId id="2147483744" r:id="rId16"/>
    <p:sldLayoutId id="2147483745" r:id="rId17"/>
    <p:sldLayoutId id="2147483746" r:id="rId18"/>
    <p:sldLayoutId id="2147483748" r:id="rId19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accent2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34">
          <p15:clr>
            <a:srgbClr val="FDE53C"/>
          </p15:clr>
        </p15:guide>
        <p15:guide id="2" pos="3840">
          <p15:clr>
            <a:srgbClr val="FDE53C"/>
          </p15:clr>
        </p15:guide>
        <p15:guide id="3" pos="7446">
          <p15:clr>
            <a:srgbClr val="FDE53C"/>
          </p15:clr>
        </p15:guide>
        <p15:guide id="5" orient="horz" pos="3861">
          <p15:clr>
            <a:srgbClr val="FDE53C"/>
          </p15:clr>
        </p15:guide>
        <p15:guide id="6" orient="horz" pos="2160">
          <p15:clr>
            <a:srgbClr val="FDE53C"/>
          </p15:clr>
        </p15:guide>
        <p15:guide id="7" pos="415">
          <p15:clr>
            <a:srgbClr val="F26B43"/>
          </p15:clr>
        </p15:guide>
        <p15:guide id="8" orient="horz" pos="504">
          <p15:clr>
            <a:srgbClr val="F26B43"/>
          </p15:clr>
        </p15:guide>
        <p15:guide id="9" orient="horz" pos="640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ggetto 1" hidden="1">
            <a:extLst>
              <a:ext uri="{FF2B5EF4-FFF2-40B4-BE49-F238E27FC236}">
                <a16:creationId xmlns:a16="http://schemas.microsoft.com/office/drawing/2014/main" id="{E62DC88D-1251-443A-A3A5-B2C45AEE5927}"/>
              </a:ext>
            </a:extLst>
          </p:cNvPr>
          <p:cNvGraphicFramePr>
            <a:graphicFrameLocks noChangeAspect="1"/>
          </p:cNvGraphicFramePr>
          <p:nvPr>
            <p:custDataLst>
              <p:tags r:id="rId23"/>
            </p:custDataLst>
            <p:extLst>
              <p:ext uri="{D42A27DB-BD31-4B8C-83A1-F6EECF244321}">
                <p14:modId xmlns:p14="http://schemas.microsoft.com/office/powerpoint/2010/main" val="19737793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4" imgW="347" imgH="348" progId="TCLayout.ActiveDocument.1">
                  <p:embed/>
                </p:oleObj>
              </mc:Choice>
              <mc:Fallback>
                <p:oleObj name="think-cell Slide" r:id="rId24" imgW="347" imgH="348" progId="TCLayout.ActiveDocument.1">
                  <p:embed/>
                  <p:pic>
                    <p:nvPicPr>
                      <p:cNvPr id="2" name="Oggetto 1" hidden="1">
                        <a:extLst>
                          <a:ext uri="{FF2B5EF4-FFF2-40B4-BE49-F238E27FC236}">
                            <a16:creationId xmlns:a16="http://schemas.microsoft.com/office/drawing/2014/main" id="{E62DC88D-1251-443A-A3A5-B2C45AEE59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" name="Triangolo isoscele 20">
            <a:extLst>
              <a:ext uri="{FF2B5EF4-FFF2-40B4-BE49-F238E27FC236}">
                <a16:creationId xmlns:a16="http://schemas.microsoft.com/office/drawing/2014/main" id="{42A6E088-BF93-9145-BEB6-0079B80A74EA}"/>
              </a:ext>
            </a:extLst>
          </p:cNvPr>
          <p:cNvSpPr/>
          <p:nvPr/>
        </p:nvSpPr>
        <p:spPr>
          <a:xfrm rot="5400000">
            <a:off x="-276040" y="885372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40" name="Triangolo isoscele 21">
            <a:extLst>
              <a:ext uri="{FF2B5EF4-FFF2-40B4-BE49-F238E27FC236}">
                <a16:creationId xmlns:a16="http://schemas.microsoft.com/office/drawing/2014/main" id="{55996117-CCDB-D146-854D-B5215C2D54B9}"/>
              </a:ext>
            </a:extLst>
          </p:cNvPr>
          <p:cNvSpPr/>
          <p:nvPr/>
        </p:nvSpPr>
        <p:spPr>
          <a:xfrm rot="5400000">
            <a:off x="-276039" y="5982836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47" name="Triangolo isoscele 35">
            <a:extLst>
              <a:ext uri="{FF2B5EF4-FFF2-40B4-BE49-F238E27FC236}">
                <a16:creationId xmlns:a16="http://schemas.microsoft.com/office/drawing/2014/main" id="{254EE742-0588-7C4B-A512-C0CA6015326A}"/>
              </a:ext>
            </a:extLst>
          </p:cNvPr>
          <p:cNvSpPr/>
          <p:nvPr/>
        </p:nvSpPr>
        <p:spPr>
          <a:xfrm rot="5400000">
            <a:off x="-276040" y="885372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48" name="Triangolo isoscele 36">
            <a:extLst>
              <a:ext uri="{FF2B5EF4-FFF2-40B4-BE49-F238E27FC236}">
                <a16:creationId xmlns:a16="http://schemas.microsoft.com/office/drawing/2014/main" id="{269D51BA-E244-764B-9506-A01AB53AC984}"/>
              </a:ext>
            </a:extLst>
          </p:cNvPr>
          <p:cNvSpPr/>
          <p:nvPr/>
        </p:nvSpPr>
        <p:spPr>
          <a:xfrm rot="5400000">
            <a:off x="-276039" y="5982836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26" name="bg object 16">
            <a:extLst>
              <a:ext uri="{FF2B5EF4-FFF2-40B4-BE49-F238E27FC236}">
                <a16:creationId xmlns:a16="http://schemas.microsoft.com/office/drawing/2014/main" id="{5342AA34-E2CD-4039-B161-E5045A51E3A7}"/>
              </a:ext>
            </a:extLst>
          </p:cNvPr>
          <p:cNvSpPr/>
          <p:nvPr/>
        </p:nvSpPr>
        <p:spPr>
          <a:xfrm>
            <a:off x="11330381" y="6448615"/>
            <a:ext cx="311785" cy="410845"/>
          </a:xfrm>
          <a:custGeom>
            <a:avLst/>
            <a:gdLst/>
            <a:ahLst/>
            <a:cxnLst/>
            <a:rect l="l" t="t" r="r" b="b"/>
            <a:pathLst>
              <a:path w="311784" h="410845">
                <a:moveTo>
                  <a:pt x="311645" y="0"/>
                </a:moveTo>
                <a:lnTo>
                  <a:pt x="0" y="0"/>
                </a:lnTo>
                <a:lnTo>
                  <a:pt x="0" y="410438"/>
                </a:lnTo>
                <a:lnTo>
                  <a:pt x="311645" y="410438"/>
                </a:lnTo>
                <a:lnTo>
                  <a:pt x="311645" y="0"/>
                </a:lnTo>
                <a:close/>
              </a:path>
            </a:pathLst>
          </a:custGeom>
          <a:solidFill>
            <a:srgbClr val="0047B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2" name="Holder 7">
            <a:extLst>
              <a:ext uri="{FF2B5EF4-FFF2-40B4-BE49-F238E27FC236}">
                <a16:creationId xmlns:a16="http://schemas.microsoft.com/office/drawing/2014/main" id="{FDEFED15-B93A-496F-9C46-E60D03970F7E}"/>
              </a:ext>
            </a:extLst>
          </p:cNvPr>
          <p:cNvSpPr txBox="1">
            <a:spLocks/>
          </p:cNvSpPr>
          <p:nvPr/>
        </p:nvSpPr>
        <p:spPr>
          <a:xfrm>
            <a:off x="11342726" y="6520516"/>
            <a:ext cx="256044" cy="16158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it-IT"/>
            </a:defPPr>
            <a:lvl1pPr marL="0" algn="l" defTabSz="914400" rtl="0" eaLnBrk="1" latinLnBrk="0" hangingPunct="1">
              <a:defRPr sz="850" b="1" i="0" kern="1200">
                <a:solidFill>
                  <a:schemeClr val="bg1"/>
                </a:solidFill>
                <a:latin typeface="Verdana"/>
                <a:ea typeface="+mn-ea"/>
                <a:cs typeface="Verdana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8100" algn="ctr">
              <a:spcBef>
                <a:spcPts val="105"/>
              </a:spcBef>
            </a:pPr>
            <a:fld id="{81D60167-4931-47E6-BA6A-407CBD079E47}" type="slidenum">
              <a:rPr lang="it-IT" sz="1050" b="0" i="0" spc="5" smtClean="0">
                <a:latin typeface="Avenir Next LT Pro" pitchFamily="2" charset="0"/>
              </a:rPr>
              <a:pPr marL="38100" algn="ctr">
                <a:spcBef>
                  <a:spcPts val="105"/>
                </a:spcBef>
              </a:pPr>
              <a:t>‹N›</a:t>
            </a:fld>
            <a:endParaRPr lang="it-IT" sz="1050" b="0" i="0" spc="5" dirty="0">
              <a:latin typeface="Avenir Next LT Pro" pitchFamily="2" charset="0"/>
            </a:endParaRPr>
          </a:p>
        </p:txBody>
      </p:sp>
      <p:sp>
        <p:nvSpPr>
          <p:cNvPr id="34" name="Triangolo isoscele 16">
            <a:extLst>
              <a:ext uri="{FF2B5EF4-FFF2-40B4-BE49-F238E27FC236}">
                <a16:creationId xmlns:a16="http://schemas.microsoft.com/office/drawing/2014/main" id="{F8306141-B2DB-4728-A2E2-9B2FB8354CC7}"/>
              </a:ext>
            </a:extLst>
          </p:cNvPr>
          <p:cNvSpPr/>
          <p:nvPr/>
        </p:nvSpPr>
        <p:spPr>
          <a:xfrm rot="10800000">
            <a:off x="303127" y="-324737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35" name="Triangolo isoscele 17">
            <a:extLst>
              <a:ext uri="{FF2B5EF4-FFF2-40B4-BE49-F238E27FC236}">
                <a16:creationId xmlns:a16="http://schemas.microsoft.com/office/drawing/2014/main" id="{4EC76C3A-F6E8-4ADA-85C7-A2F2B2368C33}"/>
              </a:ext>
            </a:extLst>
          </p:cNvPr>
          <p:cNvSpPr/>
          <p:nvPr/>
        </p:nvSpPr>
        <p:spPr>
          <a:xfrm rot="10800000">
            <a:off x="11756536" y="-324737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36" name="Triangolo isoscele 18">
            <a:extLst>
              <a:ext uri="{FF2B5EF4-FFF2-40B4-BE49-F238E27FC236}">
                <a16:creationId xmlns:a16="http://schemas.microsoft.com/office/drawing/2014/main" id="{96E6B948-C9F1-481F-8A92-EA25F4C9327A}"/>
              </a:ext>
            </a:extLst>
          </p:cNvPr>
          <p:cNvSpPr/>
          <p:nvPr/>
        </p:nvSpPr>
        <p:spPr>
          <a:xfrm>
            <a:off x="303127" y="6950754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37" name="Triangolo isoscele 19">
            <a:extLst>
              <a:ext uri="{FF2B5EF4-FFF2-40B4-BE49-F238E27FC236}">
                <a16:creationId xmlns:a16="http://schemas.microsoft.com/office/drawing/2014/main" id="{78AF6B57-A8FA-4C02-9C76-0DF99A840125}"/>
              </a:ext>
            </a:extLst>
          </p:cNvPr>
          <p:cNvSpPr/>
          <p:nvPr/>
        </p:nvSpPr>
        <p:spPr>
          <a:xfrm>
            <a:off x="11756536" y="6950754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38" name="Triangolo isoscele 20">
            <a:extLst>
              <a:ext uri="{FF2B5EF4-FFF2-40B4-BE49-F238E27FC236}">
                <a16:creationId xmlns:a16="http://schemas.microsoft.com/office/drawing/2014/main" id="{DBE41F2A-B5B3-440B-A761-DD93A3E847D4}"/>
              </a:ext>
            </a:extLst>
          </p:cNvPr>
          <p:cNvSpPr/>
          <p:nvPr/>
        </p:nvSpPr>
        <p:spPr>
          <a:xfrm rot="5400000">
            <a:off x="-276040" y="885372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39" name="Triangolo isoscele 21">
            <a:extLst>
              <a:ext uri="{FF2B5EF4-FFF2-40B4-BE49-F238E27FC236}">
                <a16:creationId xmlns:a16="http://schemas.microsoft.com/office/drawing/2014/main" id="{08F26964-525D-4D14-A8AF-9C14DD0243C5}"/>
              </a:ext>
            </a:extLst>
          </p:cNvPr>
          <p:cNvSpPr/>
          <p:nvPr/>
        </p:nvSpPr>
        <p:spPr>
          <a:xfrm rot="5400000">
            <a:off x="-276039" y="5982836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50" name="Triangolo isoscele 22">
            <a:extLst>
              <a:ext uri="{FF2B5EF4-FFF2-40B4-BE49-F238E27FC236}">
                <a16:creationId xmlns:a16="http://schemas.microsoft.com/office/drawing/2014/main" id="{3E13A3B0-0D8B-4631-A4F9-0518CFD0F892}"/>
              </a:ext>
            </a:extLst>
          </p:cNvPr>
          <p:cNvSpPr/>
          <p:nvPr/>
        </p:nvSpPr>
        <p:spPr>
          <a:xfrm rot="16200000">
            <a:off x="12331119" y="885372"/>
            <a:ext cx="132336" cy="261257"/>
          </a:xfrm>
          <a:prstGeom prst="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51" name="Triangolo isoscele 23">
            <a:extLst>
              <a:ext uri="{FF2B5EF4-FFF2-40B4-BE49-F238E27FC236}">
                <a16:creationId xmlns:a16="http://schemas.microsoft.com/office/drawing/2014/main" id="{2C68851E-3FCD-4DAC-B627-319AE624157C}"/>
              </a:ext>
            </a:extLst>
          </p:cNvPr>
          <p:cNvSpPr/>
          <p:nvPr/>
        </p:nvSpPr>
        <p:spPr>
          <a:xfrm rot="16200000">
            <a:off x="12331120" y="5982836"/>
            <a:ext cx="132336" cy="261257"/>
          </a:xfrm>
          <a:prstGeom prst="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52" name="Triangolo isoscele 31">
            <a:extLst>
              <a:ext uri="{FF2B5EF4-FFF2-40B4-BE49-F238E27FC236}">
                <a16:creationId xmlns:a16="http://schemas.microsoft.com/office/drawing/2014/main" id="{2798A368-2776-4D7A-AD3F-83612B3F78DF}"/>
              </a:ext>
            </a:extLst>
          </p:cNvPr>
          <p:cNvSpPr/>
          <p:nvPr/>
        </p:nvSpPr>
        <p:spPr>
          <a:xfrm rot="10800000">
            <a:off x="303127" y="-324737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53" name="Triangolo isoscele 32">
            <a:extLst>
              <a:ext uri="{FF2B5EF4-FFF2-40B4-BE49-F238E27FC236}">
                <a16:creationId xmlns:a16="http://schemas.microsoft.com/office/drawing/2014/main" id="{42E882F1-97B9-4B62-B9C2-AEDA801EE2D2}"/>
              </a:ext>
            </a:extLst>
          </p:cNvPr>
          <p:cNvSpPr/>
          <p:nvPr/>
        </p:nvSpPr>
        <p:spPr>
          <a:xfrm rot="10800000">
            <a:off x="11756536" y="-324737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54" name="Triangolo isoscele 33">
            <a:extLst>
              <a:ext uri="{FF2B5EF4-FFF2-40B4-BE49-F238E27FC236}">
                <a16:creationId xmlns:a16="http://schemas.microsoft.com/office/drawing/2014/main" id="{1D49DBA4-5831-4E86-A4AC-074B5E24D39C}"/>
              </a:ext>
            </a:extLst>
          </p:cNvPr>
          <p:cNvSpPr/>
          <p:nvPr/>
        </p:nvSpPr>
        <p:spPr>
          <a:xfrm>
            <a:off x="303127" y="6950754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55" name="Triangolo isoscele 34">
            <a:extLst>
              <a:ext uri="{FF2B5EF4-FFF2-40B4-BE49-F238E27FC236}">
                <a16:creationId xmlns:a16="http://schemas.microsoft.com/office/drawing/2014/main" id="{8FC3B080-7C76-440F-861F-2D20896D2108}"/>
              </a:ext>
            </a:extLst>
          </p:cNvPr>
          <p:cNvSpPr/>
          <p:nvPr/>
        </p:nvSpPr>
        <p:spPr>
          <a:xfrm>
            <a:off x="11756536" y="6950754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56" name="Triangolo isoscele 35">
            <a:extLst>
              <a:ext uri="{FF2B5EF4-FFF2-40B4-BE49-F238E27FC236}">
                <a16:creationId xmlns:a16="http://schemas.microsoft.com/office/drawing/2014/main" id="{F9218F3E-8719-411A-8133-F81EE1AD951F}"/>
              </a:ext>
            </a:extLst>
          </p:cNvPr>
          <p:cNvSpPr/>
          <p:nvPr/>
        </p:nvSpPr>
        <p:spPr>
          <a:xfrm rot="5400000">
            <a:off x="-276040" y="885372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57" name="Triangolo isoscele 36">
            <a:extLst>
              <a:ext uri="{FF2B5EF4-FFF2-40B4-BE49-F238E27FC236}">
                <a16:creationId xmlns:a16="http://schemas.microsoft.com/office/drawing/2014/main" id="{81709264-62CB-49F2-B774-BD1E7262F147}"/>
              </a:ext>
            </a:extLst>
          </p:cNvPr>
          <p:cNvSpPr/>
          <p:nvPr/>
        </p:nvSpPr>
        <p:spPr>
          <a:xfrm rot="5400000">
            <a:off x="-276039" y="5982836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59" name="Triangolo isoscele 37">
            <a:extLst>
              <a:ext uri="{FF2B5EF4-FFF2-40B4-BE49-F238E27FC236}">
                <a16:creationId xmlns:a16="http://schemas.microsoft.com/office/drawing/2014/main" id="{8052EB76-DEF2-44DE-84BD-ED3AEA4214FF}"/>
              </a:ext>
            </a:extLst>
          </p:cNvPr>
          <p:cNvSpPr/>
          <p:nvPr/>
        </p:nvSpPr>
        <p:spPr>
          <a:xfrm rot="16200000">
            <a:off x="12331119" y="885372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60" name="Triangolo isoscele 38">
            <a:extLst>
              <a:ext uri="{FF2B5EF4-FFF2-40B4-BE49-F238E27FC236}">
                <a16:creationId xmlns:a16="http://schemas.microsoft.com/office/drawing/2014/main" id="{CF808EDF-72E6-472E-9EDD-AED9DED5F490}"/>
              </a:ext>
            </a:extLst>
          </p:cNvPr>
          <p:cNvSpPr/>
          <p:nvPr/>
        </p:nvSpPr>
        <p:spPr>
          <a:xfrm rot="16200000">
            <a:off x="12331120" y="5982836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pic>
        <p:nvPicPr>
          <p:cNvPr id="62" name="Elemento grafico 61">
            <a:extLst>
              <a:ext uri="{FF2B5EF4-FFF2-40B4-BE49-F238E27FC236}">
                <a16:creationId xmlns:a16="http://schemas.microsoft.com/office/drawing/2014/main" id="{534CBEB8-C103-495B-ADBB-DEC19A427D05}"/>
              </a:ext>
            </a:extLst>
          </p:cNvPr>
          <p:cNvPicPr>
            <a:picLocks noChangeAspect="1"/>
          </p:cNvPicPr>
          <p:nvPr/>
        </p:nvPicPr>
        <p:blipFill>
          <a:blip r:embed="rId2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10081892" y="-5080"/>
            <a:ext cx="1560273" cy="309880"/>
          </a:xfrm>
          <a:prstGeom prst="rect">
            <a:avLst/>
          </a:prstGeom>
        </p:spPr>
      </p:pic>
      <p:sp>
        <p:nvSpPr>
          <p:cNvPr id="63" name="object 267">
            <a:extLst>
              <a:ext uri="{FF2B5EF4-FFF2-40B4-BE49-F238E27FC236}">
                <a16:creationId xmlns:a16="http://schemas.microsoft.com/office/drawing/2014/main" id="{DF4D029B-D53C-4F12-BE0A-BC3499A7D7E5}"/>
              </a:ext>
            </a:extLst>
          </p:cNvPr>
          <p:cNvSpPr/>
          <p:nvPr/>
        </p:nvSpPr>
        <p:spPr>
          <a:xfrm>
            <a:off x="0" y="1251482"/>
            <a:ext cx="675518" cy="45719"/>
          </a:xfrm>
          <a:custGeom>
            <a:avLst/>
            <a:gdLst/>
            <a:ahLst/>
            <a:cxnLst/>
            <a:rect l="l" t="t" r="r" b="b"/>
            <a:pathLst>
              <a:path w="657225">
                <a:moveTo>
                  <a:pt x="0" y="0"/>
                </a:moveTo>
                <a:lnTo>
                  <a:pt x="656678" y="0"/>
                </a:lnTo>
              </a:path>
            </a:pathLst>
          </a:custGeom>
          <a:ln w="76200">
            <a:solidFill>
              <a:srgbClr val="EEDC00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JhengHei UI Light" panose="020B0304030504040204" pitchFamily="34" charset="-120"/>
              <a:ea typeface="Microsoft JhengHei UI Light" panose="020B0304030504040204" pitchFamily="34" charset="-120"/>
              <a:cs typeface="+mn-cs"/>
            </a:endParaRPr>
          </a:p>
        </p:txBody>
      </p:sp>
      <p:sp>
        <p:nvSpPr>
          <p:cNvPr id="42" name="Triangolo isoscele 20">
            <a:extLst>
              <a:ext uri="{FF2B5EF4-FFF2-40B4-BE49-F238E27FC236}">
                <a16:creationId xmlns:a16="http://schemas.microsoft.com/office/drawing/2014/main" id="{EE3864A0-3631-CA4B-A5A0-AB3E8C4CF8FA}"/>
              </a:ext>
            </a:extLst>
          </p:cNvPr>
          <p:cNvSpPr/>
          <p:nvPr/>
        </p:nvSpPr>
        <p:spPr>
          <a:xfrm rot="5400000">
            <a:off x="-276040" y="885372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43" name="Triangolo isoscele 21">
            <a:extLst>
              <a:ext uri="{FF2B5EF4-FFF2-40B4-BE49-F238E27FC236}">
                <a16:creationId xmlns:a16="http://schemas.microsoft.com/office/drawing/2014/main" id="{7A7DFF51-B1C4-F84D-A148-77219AC93593}"/>
              </a:ext>
            </a:extLst>
          </p:cNvPr>
          <p:cNvSpPr/>
          <p:nvPr/>
        </p:nvSpPr>
        <p:spPr>
          <a:xfrm rot="5400000">
            <a:off x="-276039" y="5982836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44" name="Triangolo isoscele 35">
            <a:extLst>
              <a:ext uri="{FF2B5EF4-FFF2-40B4-BE49-F238E27FC236}">
                <a16:creationId xmlns:a16="http://schemas.microsoft.com/office/drawing/2014/main" id="{1E8DD0EB-CAC4-E241-8B7C-3170775F3AFB}"/>
              </a:ext>
            </a:extLst>
          </p:cNvPr>
          <p:cNvSpPr/>
          <p:nvPr/>
        </p:nvSpPr>
        <p:spPr>
          <a:xfrm rot="5400000">
            <a:off x="-276040" y="885372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45" name="Triangolo isoscele 36">
            <a:extLst>
              <a:ext uri="{FF2B5EF4-FFF2-40B4-BE49-F238E27FC236}">
                <a16:creationId xmlns:a16="http://schemas.microsoft.com/office/drawing/2014/main" id="{B59F167F-1A86-8E40-80FB-4CC099E7B153}"/>
              </a:ext>
            </a:extLst>
          </p:cNvPr>
          <p:cNvSpPr/>
          <p:nvPr/>
        </p:nvSpPr>
        <p:spPr>
          <a:xfrm rot="5400000">
            <a:off x="-276039" y="5982836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49" name="bg object 16">
            <a:extLst>
              <a:ext uri="{FF2B5EF4-FFF2-40B4-BE49-F238E27FC236}">
                <a16:creationId xmlns:a16="http://schemas.microsoft.com/office/drawing/2014/main" id="{7F65980A-63FD-3E4B-9F16-7A47F53DD3FA}"/>
              </a:ext>
            </a:extLst>
          </p:cNvPr>
          <p:cNvSpPr/>
          <p:nvPr/>
        </p:nvSpPr>
        <p:spPr>
          <a:xfrm>
            <a:off x="11330381" y="6448615"/>
            <a:ext cx="311785" cy="410845"/>
          </a:xfrm>
          <a:custGeom>
            <a:avLst/>
            <a:gdLst/>
            <a:ahLst/>
            <a:cxnLst/>
            <a:rect l="l" t="t" r="r" b="b"/>
            <a:pathLst>
              <a:path w="311784" h="410845">
                <a:moveTo>
                  <a:pt x="311645" y="0"/>
                </a:moveTo>
                <a:lnTo>
                  <a:pt x="0" y="0"/>
                </a:lnTo>
                <a:lnTo>
                  <a:pt x="0" y="410438"/>
                </a:lnTo>
                <a:lnTo>
                  <a:pt x="311645" y="410438"/>
                </a:lnTo>
                <a:lnTo>
                  <a:pt x="311645" y="0"/>
                </a:lnTo>
                <a:close/>
              </a:path>
            </a:pathLst>
          </a:custGeom>
          <a:solidFill>
            <a:srgbClr val="0047B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8" name="Holder 7">
            <a:extLst>
              <a:ext uri="{FF2B5EF4-FFF2-40B4-BE49-F238E27FC236}">
                <a16:creationId xmlns:a16="http://schemas.microsoft.com/office/drawing/2014/main" id="{A799BF65-9F56-AB48-9888-006A47A0FBF5}"/>
              </a:ext>
            </a:extLst>
          </p:cNvPr>
          <p:cNvSpPr txBox="1">
            <a:spLocks/>
          </p:cNvSpPr>
          <p:nvPr/>
        </p:nvSpPr>
        <p:spPr>
          <a:xfrm>
            <a:off x="11342726" y="6520516"/>
            <a:ext cx="256044" cy="16158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it-IT"/>
            </a:defPPr>
            <a:lvl1pPr marL="0" algn="l" defTabSz="914400" rtl="0" eaLnBrk="1" latinLnBrk="0" hangingPunct="1">
              <a:defRPr sz="850" b="1" i="0" kern="1200">
                <a:solidFill>
                  <a:schemeClr val="bg1"/>
                </a:solidFill>
                <a:latin typeface="Verdana"/>
                <a:ea typeface="+mn-ea"/>
                <a:cs typeface="Verdana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8100" algn="ctr">
              <a:spcBef>
                <a:spcPts val="105"/>
              </a:spcBef>
            </a:pPr>
            <a:fld id="{81D60167-4931-47E6-BA6A-407CBD079E47}" type="slidenum">
              <a:rPr lang="it-IT" sz="1050" b="0" i="0" spc="5" smtClean="0">
                <a:latin typeface="Avenir Next LT Pro" pitchFamily="2" charset="0"/>
              </a:rPr>
              <a:pPr marL="38100" algn="ctr">
                <a:spcBef>
                  <a:spcPts val="105"/>
                </a:spcBef>
              </a:pPr>
              <a:t>‹N›</a:t>
            </a:fld>
            <a:endParaRPr lang="it-IT" sz="1050" b="0" i="0" spc="5" dirty="0">
              <a:latin typeface="Avenir Next LT Pro" pitchFamily="2" charset="0"/>
            </a:endParaRPr>
          </a:p>
        </p:txBody>
      </p:sp>
      <p:sp>
        <p:nvSpPr>
          <p:cNvPr id="66" name="Triangolo isoscele 16">
            <a:extLst>
              <a:ext uri="{FF2B5EF4-FFF2-40B4-BE49-F238E27FC236}">
                <a16:creationId xmlns:a16="http://schemas.microsoft.com/office/drawing/2014/main" id="{0320084D-93DB-104A-B313-66BE0CB26F9B}"/>
              </a:ext>
            </a:extLst>
          </p:cNvPr>
          <p:cNvSpPr/>
          <p:nvPr/>
        </p:nvSpPr>
        <p:spPr>
          <a:xfrm rot="10800000">
            <a:off x="303127" y="-324737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67" name="Triangolo isoscele 17">
            <a:extLst>
              <a:ext uri="{FF2B5EF4-FFF2-40B4-BE49-F238E27FC236}">
                <a16:creationId xmlns:a16="http://schemas.microsoft.com/office/drawing/2014/main" id="{96E221F3-D91B-FA42-A3CE-69C84951F9B0}"/>
              </a:ext>
            </a:extLst>
          </p:cNvPr>
          <p:cNvSpPr/>
          <p:nvPr/>
        </p:nvSpPr>
        <p:spPr>
          <a:xfrm rot="10800000">
            <a:off x="11756536" y="-324737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68" name="Triangolo isoscele 18">
            <a:extLst>
              <a:ext uri="{FF2B5EF4-FFF2-40B4-BE49-F238E27FC236}">
                <a16:creationId xmlns:a16="http://schemas.microsoft.com/office/drawing/2014/main" id="{AA0B9116-2F35-3845-8012-AC042B19F8D9}"/>
              </a:ext>
            </a:extLst>
          </p:cNvPr>
          <p:cNvSpPr/>
          <p:nvPr/>
        </p:nvSpPr>
        <p:spPr>
          <a:xfrm>
            <a:off x="303127" y="6950754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69" name="Triangolo isoscele 19">
            <a:extLst>
              <a:ext uri="{FF2B5EF4-FFF2-40B4-BE49-F238E27FC236}">
                <a16:creationId xmlns:a16="http://schemas.microsoft.com/office/drawing/2014/main" id="{33B0A58E-0AEC-8649-A7C5-1927C51BACF4}"/>
              </a:ext>
            </a:extLst>
          </p:cNvPr>
          <p:cNvSpPr/>
          <p:nvPr/>
        </p:nvSpPr>
        <p:spPr>
          <a:xfrm>
            <a:off x="11756536" y="6950754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70" name="Triangolo isoscele 20">
            <a:extLst>
              <a:ext uri="{FF2B5EF4-FFF2-40B4-BE49-F238E27FC236}">
                <a16:creationId xmlns:a16="http://schemas.microsoft.com/office/drawing/2014/main" id="{A4F298B0-86BC-0F42-93D0-35B6740F1FE6}"/>
              </a:ext>
            </a:extLst>
          </p:cNvPr>
          <p:cNvSpPr/>
          <p:nvPr/>
        </p:nvSpPr>
        <p:spPr>
          <a:xfrm rot="5400000">
            <a:off x="-276040" y="885372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71" name="Triangolo isoscele 21">
            <a:extLst>
              <a:ext uri="{FF2B5EF4-FFF2-40B4-BE49-F238E27FC236}">
                <a16:creationId xmlns:a16="http://schemas.microsoft.com/office/drawing/2014/main" id="{6542EBB0-FD57-2549-81E3-9721B41D32F4}"/>
              </a:ext>
            </a:extLst>
          </p:cNvPr>
          <p:cNvSpPr/>
          <p:nvPr/>
        </p:nvSpPr>
        <p:spPr>
          <a:xfrm rot="5400000">
            <a:off x="-276039" y="5982836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72" name="Triangolo isoscele 22">
            <a:extLst>
              <a:ext uri="{FF2B5EF4-FFF2-40B4-BE49-F238E27FC236}">
                <a16:creationId xmlns:a16="http://schemas.microsoft.com/office/drawing/2014/main" id="{3867C7F9-7430-B04B-8953-3F4FC08B7998}"/>
              </a:ext>
            </a:extLst>
          </p:cNvPr>
          <p:cNvSpPr/>
          <p:nvPr/>
        </p:nvSpPr>
        <p:spPr>
          <a:xfrm rot="16200000">
            <a:off x="12331119" y="885372"/>
            <a:ext cx="132336" cy="261257"/>
          </a:xfrm>
          <a:prstGeom prst="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74" name="Triangolo isoscele 23">
            <a:extLst>
              <a:ext uri="{FF2B5EF4-FFF2-40B4-BE49-F238E27FC236}">
                <a16:creationId xmlns:a16="http://schemas.microsoft.com/office/drawing/2014/main" id="{5562C8A5-34D2-5C40-932B-E90D7E00DAA8}"/>
              </a:ext>
            </a:extLst>
          </p:cNvPr>
          <p:cNvSpPr/>
          <p:nvPr/>
        </p:nvSpPr>
        <p:spPr>
          <a:xfrm rot="16200000">
            <a:off x="12331120" y="5982836"/>
            <a:ext cx="132336" cy="261257"/>
          </a:xfrm>
          <a:prstGeom prst="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75" name="Triangolo isoscele 31">
            <a:extLst>
              <a:ext uri="{FF2B5EF4-FFF2-40B4-BE49-F238E27FC236}">
                <a16:creationId xmlns:a16="http://schemas.microsoft.com/office/drawing/2014/main" id="{7A80B56B-D893-3F4D-8644-BA8C48B6017F}"/>
              </a:ext>
            </a:extLst>
          </p:cNvPr>
          <p:cNvSpPr/>
          <p:nvPr/>
        </p:nvSpPr>
        <p:spPr>
          <a:xfrm rot="10800000">
            <a:off x="303127" y="-324737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76" name="Triangolo isoscele 32">
            <a:extLst>
              <a:ext uri="{FF2B5EF4-FFF2-40B4-BE49-F238E27FC236}">
                <a16:creationId xmlns:a16="http://schemas.microsoft.com/office/drawing/2014/main" id="{46DF462B-43D5-3340-849E-997691018B35}"/>
              </a:ext>
            </a:extLst>
          </p:cNvPr>
          <p:cNvSpPr/>
          <p:nvPr/>
        </p:nvSpPr>
        <p:spPr>
          <a:xfrm rot="10800000">
            <a:off x="11756536" y="-324737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77" name="Triangolo isoscele 33">
            <a:extLst>
              <a:ext uri="{FF2B5EF4-FFF2-40B4-BE49-F238E27FC236}">
                <a16:creationId xmlns:a16="http://schemas.microsoft.com/office/drawing/2014/main" id="{85548BAE-9AA2-0F45-863A-CA4E0A912299}"/>
              </a:ext>
            </a:extLst>
          </p:cNvPr>
          <p:cNvSpPr/>
          <p:nvPr/>
        </p:nvSpPr>
        <p:spPr>
          <a:xfrm>
            <a:off x="303127" y="6950754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78" name="Triangolo isoscele 34">
            <a:extLst>
              <a:ext uri="{FF2B5EF4-FFF2-40B4-BE49-F238E27FC236}">
                <a16:creationId xmlns:a16="http://schemas.microsoft.com/office/drawing/2014/main" id="{F4D92F4C-206B-F745-A66D-BF3B719B7ED0}"/>
              </a:ext>
            </a:extLst>
          </p:cNvPr>
          <p:cNvSpPr/>
          <p:nvPr/>
        </p:nvSpPr>
        <p:spPr>
          <a:xfrm>
            <a:off x="11756536" y="6950754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79" name="Triangolo isoscele 35">
            <a:extLst>
              <a:ext uri="{FF2B5EF4-FFF2-40B4-BE49-F238E27FC236}">
                <a16:creationId xmlns:a16="http://schemas.microsoft.com/office/drawing/2014/main" id="{B9D34269-B96D-7F42-8EEC-7910165A075A}"/>
              </a:ext>
            </a:extLst>
          </p:cNvPr>
          <p:cNvSpPr/>
          <p:nvPr/>
        </p:nvSpPr>
        <p:spPr>
          <a:xfrm rot="5400000">
            <a:off x="-276040" y="885372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80" name="Triangolo isoscele 36">
            <a:extLst>
              <a:ext uri="{FF2B5EF4-FFF2-40B4-BE49-F238E27FC236}">
                <a16:creationId xmlns:a16="http://schemas.microsoft.com/office/drawing/2014/main" id="{DD872F01-5502-1F48-9A58-736AE104ED97}"/>
              </a:ext>
            </a:extLst>
          </p:cNvPr>
          <p:cNvSpPr/>
          <p:nvPr/>
        </p:nvSpPr>
        <p:spPr>
          <a:xfrm rot="5400000">
            <a:off x="-276039" y="5982836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81" name="Triangolo isoscele 37">
            <a:extLst>
              <a:ext uri="{FF2B5EF4-FFF2-40B4-BE49-F238E27FC236}">
                <a16:creationId xmlns:a16="http://schemas.microsoft.com/office/drawing/2014/main" id="{4BA8AEFE-89CE-074A-BB11-B5C18AA009A9}"/>
              </a:ext>
            </a:extLst>
          </p:cNvPr>
          <p:cNvSpPr/>
          <p:nvPr/>
        </p:nvSpPr>
        <p:spPr>
          <a:xfrm rot="16200000">
            <a:off x="12331119" y="885372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82" name="Triangolo isoscele 38">
            <a:extLst>
              <a:ext uri="{FF2B5EF4-FFF2-40B4-BE49-F238E27FC236}">
                <a16:creationId xmlns:a16="http://schemas.microsoft.com/office/drawing/2014/main" id="{3F51AF59-AC80-5541-B354-89B781746623}"/>
              </a:ext>
            </a:extLst>
          </p:cNvPr>
          <p:cNvSpPr/>
          <p:nvPr/>
        </p:nvSpPr>
        <p:spPr>
          <a:xfrm rot="16200000">
            <a:off x="12331120" y="5982836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pic>
        <p:nvPicPr>
          <p:cNvPr id="84" name="Elemento grafico 83">
            <a:extLst>
              <a:ext uri="{FF2B5EF4-FFF2-40B4-BE49-F238E27FC236}">
                <a16:creationId xmlns:a16="http://schemas.microsoft.com/office/drawing/2014/main" id="{2BD6C0B8-8F22-3141-9CCA-575076163DAB}"/>
              </a:ext>
            </a:extLst>
          </p:cNvPr>
          <p:cNvPicPr>
            <a:picLocks noChangeAspect="1"/>
          </p:cNvPicPr>
          <p:nvPr/>
        </p:nvPicPr>
        <p:blipFill>
          <a:blip r:embed="rId2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10081892" y="-5080"/>
            <a:ext cx="1560273" cy="309880"/>
          </a:xfrm>
          <a:prstGeom prst="rect">
            <a:avLst/>
          </a:prstGeom>
        </p:spPr>
      </p:pic>
      <p:sp>
        <p:nvSpPr>
          <p:cNvPr id="85" name="object 267">
            <a:extLst>
              <a:ext uri="{FF2B5EF4-FFF2-40B4-BE49-F238E27FC236}">
                <a16:creationId xmlns:a16="http://schemas.microsoft.com/office/drawing/2014/main" id="{D1A6BF65-1ED8-074E-B8B6-E4E1F9AAF1B9}"/>
              </a:ext>
            </a:extLst>
          </p:cNvPr>
          <p:cNvSpPr/>
          <p:nvPr/>
        </p:nvSpPr>
        <p:spPr>
          <a:xfrm>
            <a:off x="0" y="1251482"/>
            <a:ext cx="675518" cy="45719"/>
          </a:xfrm>
          <a:custGeom>
            <a:avLst/>
            <a:gdLst/>
            <a:ahLst/>
            <a:cxnLst/>
            <a:rect l="l" t="t" r="r" b="b"/>
            <a:pathLst>
              <a:path w="657225">
                <a:moveTo>
                  <a:pt x="0" y="0"/>
                </a:moveTo>
                <a:lnTo>
                  <a:pt x="656678" y="0"/>
                </a:lnTo>
              </a:path>
            </a:pathLst>
          </a:custGeom>
          <a:ln w="76200">
            <a:solidFill>
              <a:srgbClr val="EEDC00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JhengHei UI Light" panose="020B0304030504040204" pitchFamily="34" charset="-120"/>
              <a:ea typeface="Microsoft JhengHei UI Light" panose="020B0304030504040204" pitchFamily="34" charset="-120"/>
              <a:cs typeface="+mn-cs"/>
            </a:endParaRPr>
          </a:p>
        </p:txBody>
      </p:sp>
      <p:sp>
        <p:nvSpPr>
          <p:cNvPr id="90" name="Segnaposto testo 2">
            <a:extLst>
              <a:ext uri="{FF2B5EF4-FFF2-40B4-BE49-F238E27FC236}">
                <a16:creationId xmlns:a16="http://schemas.microsoft.com/office/drawing/2014/main" id="{A3A48F2D-9524-9747-A5B0-AE29FDF9203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75518" y="1548863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it-IT" dirty="0"/>
              <a:t>Fare clic per modificare gli stili del testo dello schema</a:t>
            </a:r>
          </a:p>
          <a:p>
            <a:pPr lvl="1"/>
            <a:r>
              <a:rPr lang="it-IT" dirty="0"/>
              <a:t>Secondo livello</a:t>
            </a:r>
          </a:p>
          <a:p>
            <a:pPr lvl="2"/>
            <a:r>
              <a:rPr lang="it-IT" dirty="0"/>
              <a:t>Terzo livello</a:t>
            </a:r>
          </a:p>
          <a:p>
            <a:pPr lvl="3"/>
            <a:r>
              <a:rPr lang="it-IT" dirty="0"/>
              <a:t>Quarto livello</a:t>
            </a:r>
          </a:p>
          <a:p>
            <a:pPr lvl="4"/>
            <a:r>
              <a:rPr lang="it-IT" dirty="0"/>
              <a:t>Quinto livello</a:t>
            </a:r>
          </a:p>
        </p:txBody>
      </p:sp>
      <p:sp>
        <p:nvSpPr>
          <p:cNvPr id="92" name="Segnaposto titolo 1">
            <a:extLst>
              <a:ext uri="{FF2B5EF4-FFF2-40B4-BE49-F238E27FC236}">
                <a16:creationId xmlns:a16="http://schemas.microsoft.com/office/drawing/2014/main" id="{883FEED5-D0F2-9B4C-9534-88DF93924B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7394" y="504194"/>
            <a:ext cx="10515600" cy="725421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it-IT" dirty="0"/>
              <a:t>FARE CLIC PER MODIFICARE LO STILE DEL TITOLO DELLO SCHEMA</a:t>
            </a:r>
          </a:p>
        </p:txBody>
      </p:sp>
      <p:sp>
        <p:nvSpPr>
          <p:cNvPr id="64" name="Triangolo isoscele 16">
            <a:extLst>
              <a:ext uri="{FF2B5EF4-FFF2-40B4-BE49-F238E27FC236}">
                <a16:creationId xmlns:a16="http://schemas.microsoft.com/office/drawing/2014/main" id="{085F4287-ABF4-154A-AC72-076F69E36B18}"/>
              </a:ext>
            </a:extLst>
          </p:cNvPr>
          <p:cNvSpPr/>
          <p:nvPr userDrawn="1"/>
        </p:nvSpPr>
        <p:spPr>
          <a:xfrm rot="10800000">
            <a:off x="303127" y="-324737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83" name="Triangolo isoscele 17">
            <a:extLst>
              <a:ext uri="{FF2B5EF4-FFF2-40B4-BE49-F238E27FC236}">
                <a16:creationId xmlns:a16="http://schemas.microsoft.com/office/drawing/2014/main" id="{68C5E2B0-936B-074B-AD90-0B874864B205}"/>
              </a:ext>
            </a:extLst>
          </p:cNvPr>
          <p:cNvSpPr/>
          <p:nvPr userDrawn="1"/>
        </p:nvSpPr>
        <p:spPr>
          <a:xfrm rot="10800000">
            <a:off x="11756536" y="-324737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86" name="Triangolo isoscele 18">
            <a:extLst>
              <a:ext uri="{FF2B5EF4-FFF2-40B4-BE49-F238E27FC236}">
                <a16:creationId xmlns:a16="http://schemas.microsoft.com/office/drawing/2014/main" id="{3A3F062C-197A-D745-9049-A0F8B183AF2D}"/>
              </a:ext>
            </a:extLst>
          </p:cNvPr>
          <p:cNvSpPr/>
          <p:nvPr userDrawn="1"/>
        </p:nvSpPr>
        <p:spPr>
          <a:xfrm>
            <a:off x="303127" y="6950754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87" name="Triangolo isoscele 19">
            <a:extLst>
              <a:ext uri="{FF2B5EF4-FFF2-40B4-BE49-F238E27FC236}">
                <a16:creationId xmlns:a16="http://schemas.microsoft.com/office/drawing/2014/main" id="{6C3531AA-8E07-D843-B516-609ECC85B5DD}"/>
              </a:ext>
            </a:extLst>
          </p:cNvPr>
          <p:cNvSpPr/>
          <p:nvPr userDrawn="1"/>
        </p:nvSpPr>
        <p:spPr>
          <a:xfrm>
            <a:off x="11756536" y="6950754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88" name="Triangolo isoscele 20">
            <a:extLst>
              <a:ext uri="{FF2B5EF4-FFF2-40B4-BE49-F238E27FC236}">
                <a16:creationId xmlns:a16="http://schemas.microsoft.com/office/drawing/2014/main" id="{FAD5D516-D38B-9A42-993F-6D7A438EE56F}"/>
              </a:ext>
            </a:extLst>
          </p:cNvPr>
          <p:cNvSpPr/>
          <p:nvPr userDrawn="1"/>
        </p:nvSpPr>
        <p:spPr>
          <a:xfrm rot="5400000">
            <a:off x="-276040" y="885372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89" name="Triangolo isoscele 21">
            <a:extLst>
              <a:ext uri="{FF2B5EF4-FFF2-40B4-BE49-F238E27FC236}">
                <a16:creationId xmlns:a16="http://schemas.microsoft.com/office/drawing/2014/main" id="{6A39F99F-C98F-9A43-B04A-27CA14227B5A}"/>
              </a:ext>
            </a:extLst>
          </p:cNvPr>
          <p:cNvSpPr/>
          <p:nvPr userDrawn="1"/>
        </p:nvSpPr>
        <p:spPr>
          <a:xfrm rot="5400000">
            <a:off x="-276039" y="5982836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91" name="Triangolo isoscele 22">
            <a:extLst>
              <a:ext uri="{FF2B5EF4-FFF2-40B4-BE49-F238E27FC236}">
                <a16:creationId xmlns:a16="http://schemas.microsoft.com/office/drawing/2014/main" id="{5BC2BEDA-43D9-BB4F-AF7F-E899EADC4B38}"/>
              </a:ext>
            </a:extLst>
          </p:cNvPr>
          <p:cNvSpPr/>
          <p:nvPr userDrawn="1"/>
        </p:nvSpPr>
        <p:spPr>
          <a:xfrm rot="16200000">
            <a:off x="12331119" y="885372"/>
            <a:ext cx="132336" cy="261257"/>
          </a:xfrm>
          <a:prstGeom prst="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93" name="Triangolo isoscele 23">
            <a:extLst>
              <a:ext uri="{FF2B5EF4-FFF2-40B4-BE49-F238E27FC236}">
                <a16:creationId xmlns:a16="http://schemas.microsoft.com/office/drawing/2014/main" id="{AEC5D42B-9010-0547-9C67-D5A36BEA6002}"/>
              </a:ext>
            </a:extLst>
          </p:cNvPr>
          <p:cNvSpPr/>
          <p:nvPr userDrawn="1"/>
        </p:nvSpPr>
        <p:spPr>
          <a:xfrm rot="16200000">
            <a:off x="12331120" y="5982836"/>
            <a:ext cx="132336" cy="261257"/>
          </a:xfrm>
          <a:prstGeom prst="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94" name="Triangolo isoscele 31">
            <a:extLst>
              <a:ext uri="{FF2B5EF4-FFF2-40B4-BE49-F238E27FC236}">
                <a16:creationId xmlns:a16="http://schemas.microsoft.com/office/drawing/2014/main" id="{6B4BAD9F-F69A-E34B-8174-1122C3FA2F31}"/>
              </a:ext>
            </a:extLst>
          </p:cNvPr>
          <p:cNvSpPr/>
          <p:nvPr userDrawn="1"/>
        </p:nvSpPr>
        <p:spPr>
          <a:xfrm rot="10800000">
            <a:off x="303127" y="-324737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95" name="Triangolo isoscele 32">
            <a:extLst>
              <a:ext uri="{FF2B5EF4-FFF2-40B4-BE49-F238E27FC236}">
                <a16:creationId xmlns:a16="http://schemas.microsoft.com/office/drawing/2014/main" id="{B3F086B0-1F25-484C-91D9-DD2EECD0D057}"/>
              </a:ext>
            </a:extLst>
          </p:cNvPr>
          <p:cNvSpPr/>
          <p:nvPr userDrawn="1"/>
        </p:nvSpPr>
        <p:spPr>
          <a:xfrm rot="10800000">
            <a:off x="11756536" y="-324737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96" name="Triangolo isoscele 33">
            <a:extLst>
              <a:ext uri="{FF2B5EF4-FFF2-40B4-BE49-F238E27FC236}">
                <a16:creationId xmlns:a16="http://schemas.microsoft.com/office/drawing/2014/main" id="{456A5037-21DB-CF41-99BF-A661592ACF30}"/>
              </a:ext>
            </a:extLst>
          </p:cNvPr>
          <p:cNvSpPr/>
          <p:nvPr userDrawn="1"/>
        </p:nvSpPr>
        <p:spPr>
          <a:xfrm>
            <a:off x="303127" y="6950754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97" name="Triangolo isoscele 34">
            <a:extLst>
              <a:ext uri="{FF2B5EF4-FFF2-40B4-BE49-F238E27FC236}">
                <a16:creationId xmlns:a16="http://schemas.microsoft.com/office/drawing/2014/main" id="{8D5D1E83-D855-3D45-BBE8-427CA31DC548}"/>
              </a:ext>
            </a:extLst>
          </p:cNvPr>
          <p:cNvSpPr/>
          <p:nvPr userDrawn="1"/>
        </p:nvSpPr>
        <p:spPr>
          <a:xfrm>
            <a:off x="11756536" y="6950754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98" name="Triangolo isoscele 35">
            <a:extLst>
              <a:ext uri="{FF2B5EF4-FFF2-40B4-BE49-F238E27FC236}">
                <a16:creationId xmlns:a16="http://schemas.microsoft.com/office/drawing/2014/main" id="{3940C4AF-C194-7247-A3B1-5C178CE8B0B0}"/>
              </a:ext>
            </a:extLst>
          </p:cNvPr>
          <p:cNvSpPr/>
          <p:nvPr userDrawn="1"/>
        </p:nvSpPr>
        <p:spPr>
          <a:xfrm rot="5400000">
            <a:off x="-276040" y="885372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99" name="Triangolo isoscele 36">
            <a:extLst>
              <a:ext uri="{FF2B5EF4-FFF2-40B4-BE49-F238E27FC236}">
                <a16:creationId xmlns:a16="http://schemas.microsoft.com/office/drawing/2014/main" id="{8BF83D60-B2BD-5744-8105-4462686E4E68}"/>
              </a:ext>
            </a:extLst>
          </p:cNvPr>
          <p:cNvSpPr/>
          <p:nvPr userDrawn="1"/>
        </p:nvSpPr>
        <p:spPr>
          <a:xfrm rot="5400000">
            <a:off x="-276039" y="5997124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100" name="Triangolo isoscele 37">
            <a:extLst>
              <a:ext uri="{FF2B5EF4-FFF2-40B4-BE49-F238E27FC236}">
                <a16:creationId xmlns:a16="http://schemas.microsoft.com/office/drawing/2014/main" id="{73404EA2-0943-9D41-AEAE-BB5783111E98}"/>
              </a:ext>
            </a:extLst>
          </p:cNvPr>
          <p:cNvSpPr/>
          <p:nvPr userDrawn="1"/>
        </p:nvSpPr>
        <p:spPr>
          <a:xfrm rot="16200000">
            <a:off x="12331119" y="885372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101" name="Triangolo isoscele 38">
            <a:extLst>
              <a:ext uri="{FF2B5EF4-FFF2-40B4-BE49-F238E27FC236}">
                <a16:creationId xmlns:a16="http://schemas.microsoft.com/office/drawing/2014/main" id="{3A920059-835C-6641-ADAA-73ADA957BDFB}"/>
              </a:ext>
            </a:extLst>
          </p:cNvPr>
          <p:cNvSpPr/>
          <p:nvPr userDrawn="1"/>
        </p:nvSpPr>
        <p:spPr>
          <a:xfrm rot="16200000">
            <a:off x="12331120" y="5997124"/>
            <a:ext cx="132336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103" name="bg object 16">
            <a:extLst>
              <a:ext uri="{FF2B5EF4-FFF2-40B4-BE49-F238E27FC236}">
                <a16:creationId xmlns:a16="http://schemas.microsoft.com/office/drawing/2014/main" id="{11DD3B47-3596-FF47-8336-9E5C4F545F89}"/>
              </a:ext>
            </a:extLst>
          </p:cNvPr>
          <p:cNvSpPr/>
          <p:nvPr userDrawn="1"/>
        </p:nvSpPr>
        <p:spPr>
          <a:xfrm>
            <a:off x="11330381" y="6448615"/>
            <a:ext cx="311785" cy="410845"/>
          </a:xfrm>
          <a:custGeom>
            <a:avLst/>
            <a:gdLst/>
            <a:ahLst/>
            <a:cxnLst/>
            <a:rect l="l" t="t" r="r" b="b"/>
            <a:pathLst>
              <a:path w="311784" h="410845">
                <a:moveTo>
                  <a:pt x="311645" y="0"/>
                </a:moveTo>
                <a:lnTo>
                  <a:pt x="0" y="0"/>
                </a:lnTo>
                <a:lnTo>
                  <a:pt x="0" y="410438"/>
                </a:lnTo>
                <a:lnTo>
                  <a:pt x="311645" y="410438"/>
                </a:lnTo>
                <a:lnTo>
                  <a:pt x="311645" y="0"/>
                </a:lnTo>
                <a:close/>
              </a:path>
            </a:pathLst>
          </a:custGeom>
          <a:solidFill>
            <a:srgbClr val="0047B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4" name="Holder 7">
            <a:extLst>
              <a:ext uri="{FF2B5EF4-FFF2-40B4-BE49-F238E27FC236}">
                <a16:creationId xmlns:a16="http://schemas.microsoft.com/office/drawing/2014/main" id="{1929AB2D-37AF-E844-B0ED-60637521FF0D}"/>
              </a:ext>
            </a:extLst>
          </p:cNvPr>
          <p:cNvSpPr txBox="1">
            <a:spLocks/>
          </p:cNvSpPr>
          <p:nvPr userDrawn="1"/>
        </p:nvSpPr>
        <p:spPr>
          <a:xfrm>
            <a:off x="11342726" y="6520516"/>
            <a:ext cx="256044" cy="16158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it-IT"/>
            </a:defPPr>
            <a:lvl1pPr marL="0" algn="l" defTabSz="914400" rtl="0" eaLnBrk="1" latinLnBrk="0" hangingPunct="1">
              <a:defRPr sz="850" b="1" i="0" kern="1200">
                <a:solidFill>
                  <a:schemeClr val="bg1"/>
                </a:solidFill>
                <a:latin typeface="Verdana"/>
                <a:ea typeface="+mn-ea"/>
                <a:cs typeface="Verdana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8100" algn="ctr">
              <a:spcBef>
                <a:spcPts val="105"/>
              </a:spcBef>
            </a:pPr>
            <a:fld id="{81D60167-4931-47E6-BA6A-407CBD079E47}" type="slidenum">
              <a:rPr lang="it-IT" sz="1050" b="0" i="0" spc="5" smtClean="0">
                <a:latin typeface="Avenir Next LT Pro" pitchFamily="2" charset="0"/>
              </a:rPr>
              <a:pPr marL="38100" algn="ctr">
                <a:spcBef>
                  <a:spcPts val="105"/>
                </a:spcBef>
              </a:pPr>
              <a:t>‹N›</a:t>
            </a:fld>
            <a:endParaRPr lang="it-IT" sz="1050" b="0" i="0" spc="5" dirty="0">
              <a:latin typeface="Avenir Next LT Pro" pitchFamily="2" charset="0"/>
            </a:endParaRPr>
          </a:p>
        </p:txBody>
      </p:sp>
      <p:pic>
        <p:nvPicPr>
          <p:cNvPr id="105" name="Elemento grafico 104">
            <a:extLst>
              <a:ext uri="{FF2B5EF4-FFF2-40B4-BE49-F238E27FC236}">
                <a16:creationId xmlns:a16="http://schemas.microsoft.com/office/drawing/2014/main" id="{EBBD5612-37AA-1749-8410-EDED60389C08}"/>
              </a:ext>
            </a:extLst>
          </p:cNvPr>
          <p:cNvPicPr>
            <a:picLocks noChangeAspect="1"/>
          </p:cNvPicPr>
          <p:nvPr userDrawn="1"/>
        </p:nvPicPr>
        <p:blipFill>
          <a:blip r:embed="rId2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10081892" y="-5080"/>
            <a:ext cx="1560273" cy="309880"/>
          </a:xfrm>
          <a:prstGeom prst="rect">
            <a:avLst/>
          </a:prstGeom>
        </p:spPr>
      </p:pic>
      <p:sp>
        <p:nvSpPr>
          <p:cNvPr id="106" name="object 267">
            <a:extLst>
              <a:ext uri="{FF2B5EF4-FFF2-40B4-BE49-F238E27FC236}">
                <a16:creationId xmlns:a16="http://schemas.microsoft.com/office/drawing/2014/main" id="{30B2FF09-E725-C442-A539-6088B13A47D8}"/>
              </a:ext>
            </a:extLst>
          </p:cNvPr>
          <p:cNvSpPr/>
          <p:nvPr userDrawn="1"/>
        </p:nvSpPr>
        <p:spPr>
          <a:xfrm>
            <a:off x="0" y="1251482"/>
            <a:ext cx="675518" cy="45719"/>
          </a:xfrm>
          <a:custGeom>
            <a:avLst/>
            <a:gdLst/>
            <a:ahLst/>
            <a:cxnLst/>
            <a:rect l="l" t="t" r="r" b="b"/>
            <a:pathLst>
              <a:path w="657225">
                <a:moveTo>
                  <a:pt x="0" y="0"/>
                </a:moveTo>
                <a:lnTo>
                  <a:pt x="656678" y="0"/>
                </a:lnTo>
              </a:path>
            </a:pathLst>
          </a:custGeom>
          <a:ln w="76200">
            <a:solidFill>
              <a:srgbClr val="EEDC00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icrosoft JhengHei UI Light" panose="020B0304030504040204" pitchFamily="34" charset="-120"/>
              <a:ea typeface="Microsoft JhengHei UI Light" panose="020B0304030504040204" pitchFamily="34" charset="-120"/>
              <a:cs typeface="+mn-cs"/>
            </a:endParaRPr>
          </a:p>
        </p:txBody>
      </p:sp>
      <p:sp>
        <p:nvSpPr>
          <p:cNvPr id="108" name="Rettangolo 107">
            <a:extLst>
              <a:ext uri="{FF2B5EF4-FFF2-40B4-BE49-F238E27FC236}">
                <a16:creationId xmlns:a16="http://schemas.microsoft.com/office/drawing/2014/main" id="{C3447F6E-CB2F-204D-9F0F-9AD90C329E38}"/>
              </a:ext>
            </a:extLst>
          </p:cNvPr>
          <p:cNvSpPr/>
          <p:nvPr userDrawn="1"/>
        </p:nvSpPr>
        <p:spPr>
          <a:xfrm>
            <a:off x="8400817" y="-1788148"/>
            <a:ext cx="1782962" cy="1122539"/>
          </a:xfrm>
          <a:prstGeom prst="rect">
            <a:avLst/>
          </a:prstGeom>
          <a:solidFill>
            <a:srgbClr val="3D85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it-IT" sz="1400" b="1" dirty="0">
                <a:solidFill>
                  <a:schemeClr val="bg1"/>
                </a:solidFill>
              </a:rPr>
              <a:t>CELESTE</a:t>
            </a:r>
          </a:p>
          <a:p>
            <a:pPr algn="ctr"/>
            <a:r>
              <a:rPr lang="it-IT" sz="1400" dirty="0">
                <a:solidFill>
                  <a:schemeClr val="bg1"/>
                </a:solidFill>
              </a:rPr>
              <a:t>RGB 61-133-255</a:t>
            </a:r>
          </a:p>
          <a:p>
            <a:pPr algn="ctr"/>
            <a:endParaRPr lang="it-IT" sz="1400" dirty="0">
              <a:solidFill>
                <a:schemeClr val="bg1"/>
              </a:solidFill>
            </a:endParaRPr>
          </a:p>
          <a:p>
            <a:pPr algn="ctr"/>
            <a:r>
              <a:rPr lang="it-IT" sz="1400" dirty="0">
                <a:solidFill>
                  <a:schemeClr val="bg1"/>
                </a:solidFill>
              </a:rPr>
              <a:t>GRAFICA</a:t>
            </a:r>
            <a:endParaRPr lang="it-IT" sz="1400" b="1" dirty="0">
              <a:solidFill>
                <a:schemeClr val="bg1"/>
              </a:solidFill>
            </a:endParaRPr>
          </a:p>
        </p:txBody>
      </p:sp>
      <p:sp>
        <p:nvSpPr>
          <p:cNvPr id="109" name="Rettangolo 108">
            <a:extLst>
              <a:ext uri="{FF2B5EF4-FFF2-40B4-BE49-F238E27FC236}">
                <a16:creationId xmlns:a16="http://schemas.microsoft.com/office/drawing/2014/main" id="{BB16F996-2E74-5542-A0F7-9C87787F6C24}"/>
              </a:ext>
            </a:extLst>
          </p:cNvPr>
          <p:cNvSpPr/>
          <p:nvPr userDrawn="1"/>
        </p:nvSpPr>
        <p:spPr>
          <a:xfrm>
            <a:off x="-1896232" y="-1788147"/>
            <a:ext cx="1782963" cy="112253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it-IT" sz="1400" b="1" dirty="0">
                <a:solidFill>
                  <a:schemeClr val="bg1"/>
                </a:solidFill>
              </a:rPr>
              <a:t>BLU</a:t>
            </a:r>
          </a:p>
          <a:p>
            <a:pPr algn="ctr"/>
            <a:r>
              <a:rPr lang="it-IT" sz="1400" dirty="0">
                <a:solidFill>
                  <a:schemeClr val="bg1"/>
                </a:solidFill>
              </a:rPr>
              <a:t>RGB 0-71-187</a:t>
            </a:r>
          </a:p>
          <a:p>
            <a:pPr algn="ctr"/>
            <a:endParaRPr lang="it-IT" sz="1400" dirty="0">
              <a:solidFill>
                <a:schemeClr val="bg1"/>
              </a:solidFill>
            </a:endParaRPr>
          </a:p>
          <a:p>
            <a:pPr algn="ctr"/>
            <a:r>
              <a:rPr lang="it-IT" sz="1400" dirty="0">
                <a:solidFill>
                  <a:schemeClr val="bg1"/>
                </a:solidFill>
              </a:rPr>
              <a:t>TITOLI /GRAFICI /GRAFICA</a:t>
            </a:r>
            <a:endParaRPr lang="it-IT" sz="1400" b="1" dirty="0">
              <a:solidFill>
                <a:schemeClr val="bg1"/>
              </a:solidFill>
            </a:endParaRPr>
          </a:p>
        </p:txBody>
      </p:sp>
      <p:sp>
        <p:nvSpPr>
          <p:cNvPr id="110" name="Rettangolo 109">
            <a:extLst>
              <a:ext uri="{FF2B5EF4-FFF2-40B4-BE49-F238E27FC236}">
                <a16:creationId xmlns:a16="http://schemas.microsoft.com/office/drawing/2014/main" id="{0E4E971E-D77C-AB49-B0A3-6DA69670C75E}"/>
              </a:ext>
            </a:extLst>
          </p:cNvPr>
          <p:cNvSpPr/>
          <p:nvPr userDrawn="1"/>
        </p:nvSpPr>
        <p:spPr>
          <a:xfrm>
            <a:off x="2233750" y="-1782055"/>
            <a:ext cx="1782962" cy="1122539"/>
          </a:xfrm>
          <a:prstGeom prst="rect">
            <a:avLst/>
          </a:prstGeom>
          <a:solidFill>
            <a:srgbClr val="3B3B3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it-IT" sz="1400" b="1" dirty="0">
                <a:solidFill>
                  <a:schemeClr val="bg1"/>
                </a:solidFill>
              </a:rPr>
              <a:t>GRIGIO 1 </a:t>
            </a:r>
            <a:br>
              <a:rPr lang="it-IT" sz="1400" b="1" dirty="0">
                <a:solidFill>
                  <a:schemeClr val="bg1"/>
                </a:solidFill>
              </a:rPr>
            </a:br>
            <a:r>
              <a:rPr lang="it-IT" sz="1400" dirty="0">
                <a:solidFill>
                  <a:schemeClr val="bg1"/>
                </a:solidFill>
              </a:rPr>
              <a:t>RGB 60-60-59</a:t>
            </a:r>
          </a:p>
          <a:p>
            <a:pPr algn="ctr"/>
            <a:endParaRPr lang="it-IT" sz="1400" dirty="0">
              <a:solidFill>
                <a:schemeClr val="bg1"/>
              </a:solidFill>
            </a:endParaRPr>
          </a:p>
          <a:p>
            <a:pPr algn="ctr"/>
            <a:r>
              <a:rPr lang="it-IT" sz="1100" dirty="0">
                <a:solidFill>
                  <a:schemeClr val="bg1"/>
                </a:solidFill>
              </a:rPr>
              <a:t>SOLO PER IL TESTO</a:t>
            </a:r>
          </a:p>
          <a:p>
            <a:pPr algn="ctr"/>
            <a:r>
              <a:rPr lang="it-IT" sz="1100" dirty="0">
                <a:solidFill>
                  <a:schemeClr val="bg1"/>
                </a:solidFill>
              </a:rPr>
              <a:t>E GRAFICI</a:t>
            </a:r>
          </a:p>
        </p:txBody>
      </p:sp>
      <p:sp>
        <p:nvSpPr>
          <p:cNvPr id="111" name="Rettangolo 110">
            <a:extLst>
              <a:ext uri="{FF2B5EF4-FFF2-40B4-BE49-F238E27FC236}">
                <a16:creationId xmlns:a16="http://schemas.microsoft.com/office/drawing/2014/main" id="{98B65F32-29B4-5448-9A6B-207DEC386E59}"/>
              </a:ext>
            </a:extLst>
          </p:cNvPr>
          <p:cNvSpPr/>
          <p:nvPr userDrawn="1"/>
        </p:nvSpPr>
        <p:spPr>
          <a:xfrm>
            <a:off x="4295789" y="-1788147"/>
            <a:ext cx="1782962" cy="1122539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it-IT" sz="1400" b="1" dirty="0">
                <a:solidFill>
                  <a:schemeClr val="bg1"/>
                </a:solidFill>
              </a:rPr>
              <a:t>GRIGIO 2</a:t>
            </a:r>
          </a:p>
          <a:p>
            <a:pPr algn="ctr"/>
            <a:r>
              <a:rPr lang="it-IT" sz="1400" dirty="0">
                <a:solidFill>
                  <a:schemeClr val="bg1"/>
                </a:solidFill>
              </a:rPr>
              <a:t>RGB 112-111-111</a:t>
            </a:r>
          </a:p>
          <a:p>
            <a:pPr algn="ctr"/>
            <a:endParaRPr lang="it-IT" sz="1400" dirty="0">
              <a:solidFill>
                <a:schemeClr val="bg1"/>
              </a:solidFill>
            </a:endParaRPr>
          </a:p>
          <a:p>
            <a:pPr algn="ctr"/>
            <a:r>
              <a:rPr lang="it-IT" sz="1400" dirty="0">
                <a:solidFill>
                  <a:schemeClr val="bg1"/>
                </a:solidFill>
              </a:rPr>
              <a:t>TESTO </a:t>
            </a:r>
            <a:r>
              <a:rPr lang="it-IT" sz="1400" b="1" dirty="0">
                <a:solidFill>
                  <a:schemeClr val="bg1"/>
                </a:solidFill>
              </a:rPr>
              <a:t>BIANCO</a:t>
            </a:r>
          </a:p>
        </p:txBody>
      </p:sp>
      <p:sp>
        <p:nvSpPr>
          <p:cNvPr id="112" name="Rettangolo 111">
            <a:extLst>
              <a:ext uri="{FF2B5EF4-FFF2-40B4-BE49-F238E27FC236}">
                <a16:creationId xmlns:a16="http://schemas.microsoft.com/office/drawing/2014/main" id="{2D4ECE48-734A-7F49-9737-6D328E437451}"/>
              </a:ext>
            </a:extLst>
          </p:cNvPr>
          <p:cNvSpPr/>
          <p:nvPr userDrawn="1"/>
        </p:nvSpPr>
        <p:spPr>
          <a:xfrm>
            <a:off x="12389784" y="-1788147"/>
            <a:ext cx="1782962" cy="1122539"/>
          </a:xfrm>
          <a:prstGeom prst="rect">
            <a:avLst/>
          </a:prstGeom>
          <a:solidFill>
            <a:srgbClr val="C0C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it-IT" sz="1400" b="1" dirty="0">
                <a:solidFill>
                  <a:schemeClr val="bg2">
                    <a:lumMod val="25000"/>
                  </a:schemeClr>
                </a:solidFill>
              </a:rPr>
              <a:t>GRIGIO 3</a:t>
            </a:r>
          </a:p>
          <a:p>
            <a:pPr algn="ctr"/>
            <a:r>
              <a:rPr lang="it-IT" sz="1400" dirty="0">
                <a:solidFill>
                  <a:srgbClr val="3B3B3A"/>
                </a:solidFill>
              </a:rPr>
              <a:t>RGB 192-192-192</a:t>
            </a:r>
            <a:endParaRPr lang="it-IT" sz="1400" b="1" dirty="0">
              <a:solidFill>
                <a:schemeClr val="bg2">
                  <a:lumMod val="25000"/>
                </a:schemeClr>
              </a:solidFill>
            </a:endParaRPr>
          </a:p>
          <a:p>
            <a:pPr algn="ctr"/>
            <a:endParaRPr lang="it-IT" sz="1400" b="1" dirty="0">
              <a:solidFill>
                <a:schemeClr val="accent5"/>
              </a:solidFill>
            </a:endParaRPr>
          </a:p>
          <a:p>
            <a:pPr algn="ctr"/>
            <a:r>
              <a:rPr lang="it-IT" sz="1400" dirty="0">
                <a:solidFill>
                  <a:schemeClr val="accent5"/>
                </a:solidFill>
              </a:rPr>
              <a:t>SOLO GRAFICI</a:t>
            </a:r>
            <a:endParaRPr lang="it-IT" sz="1400" b="1" dirty="0">
              <a:solidFill>
                <a:schemeClr val="accent5"/>
              </a:solidFill>
            </a:endParaRPr>
          </a:p>
        </p:txBody>
      </p:sp>
      <p:sp>
        <p:nvSpPr>
          <p:cNvPr id="113" name="Rettangolo 112">
            <a:extLst>
              <a:ext uri="{FF2B5EF4-FFF2-40B4-BE49-F238E27FC236}">
                <a16:creationId xmlns:a16="http://schemas.microsoft.com/office/drawing/2014/main" id="{0A0ACA57-E6DB-F848-B26B-C09B0E76F347}"/>
              </a:ext>
            </a:extLst>
          </p:cNvPr>
          <p:cNvSpPr/>
          <p:nvPr userDrawn="1"/>
        </p:nvSpPr>
        <p:spPr>
          <a:xfrm>
            <a:off x="165807" y="-1788148"/>
            <a:ext cx="1782963" cy="1122539"/>
          </a:xfrm>
          <a:prstGeom prst="rect">
            <a:avLst/>
          </a:prstGeom>
          <a:solidFill>
            <a:srgbClr val="E6DC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it-IT" sz="1400" b="1" dirty="0">
                <a:solidFill>
                  <a:schemeClr val="bg1"/>
                </a:solidFill>
              </a:rPr>
              <a:t>GIALLO</a:t>
            </a:r>
          </a:p>
          <a:p>
            <a:pPr algn="ctr"/>
            <a:r>
              <a:rPr lang="it-IT" sz="1400" dirty="0">
                <a:solidFill>
                  <a:schemeClr val="bg1"/>
                </a:solidFill>
              </a:rPr>
              <a:t>RGB 61-134-255</a:t>
            </a:r>
          </a:p>
          <a:p>
            <a:pPr algn="ctr"/>
            <a:endParaRPr lang="it-IT" sz="1400" b="1" dirty="0">
              <a:solidFill>
                <a:schemeClr val="bg1"/>
              </a:solidFill>
            </a:endParaRPr>
          </a:p>
          <a:p>
            <a:pPr algn="ctr"/>
            <a:r>
              <a:rPr lang="it-IT" sz="1400" b="0" dirty="0">
                <a:solidFill>
                  <a:schemeClr val="bg1"/>
                </a:solidFill>
              </a:rPr>
              <a:t>GRAFICI /GRAFICA</a:t>
            </a:r>
            <a:endParaRPr lang="it-IT" sz="1400" b="1" dirty="0">
              <a:solidFill>
                <a:schemeClr val="bg1"/>
              </a:solidFill>
            </a:endParaRPr>
          </a:p>
        </p:txBody>
      </p:sp>
      <p:sp>
        <p:nvSpPr>
          <p:cNvPr id="114" name="Rettangolo 113">
            <a:extLst>
              <a:ext uri="{FF2B5EF4-FFF2-40B4-BE49-F238E27FC236}">
                <a16:creationId xmlns:a16="http://schemas.microsoft.com/office/drawing/2014/main" id="{AA6175D5-D40B-8945-8639-375BDADD474B}"/>
              </a:ext>
            </a:extLst>
          </p:cNvPr>
          <p:cNvSpPr/>
          <p:nvPr userDrawn="1"/>
        </p:nvSpPr>
        <p:spPr>
          <a:xfrm>
            <a:off x="10324793" y="-1788147"/>
            <a:ext cx="1782963" cy="1122539"/>
          </a:xfrm>
          <a:prstGeom prst="rect">
            <a:avLst/>
          </a:prstGeom>
          <a:solidFill>
            <a:schemeClr val="tx2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it-IT" sz="1400" b="1" dirty="0">
                <a:solidFill>
                  <a:schemeClr val="tx1"/>
                </a:solidFill>
              </a:rPr>
              <a:t>BLU 80%</a:t>
            </a:r>
          </a:p>
          <a:p>
            <a:pPr algn="ctr"/>
            <a:r>
              <a:rPr lang="it-IT" sz="1400" dirty="0">
                <a:solidFill>
                  <a:schemeClr val="tx1"/>
                </a:solidFill>
              </a:rPr>
              <a:t>RGB 0-71-187</a:t>
            </a:r>
            <a:endParaRPr lang="it-IT" sz="1400" b="1" dirty="0">
              <a:solidFill>
                <a:schemeClr val="tx1"/>
              </a:solidFill>
            </a:endParaRPr>
          </a:p>
          <a:p>
            <a:pPr algn="ctr"/>
            <a:endParaRPr lang="it-IT" sz="1400" b="1" dirty="0">
              <a:solidFill>
                <a:schemeClr val="tx1"/>
              </a:solidFill>
            </a:endParaRPr>
          </a:p>
          <a:p>
            <a:pPr algn="ctr"/>
            <a:r>
              <a:rPr lang="it-IT" sz="1400" dirty="0">
                <a:solidFill>
                  <a:schemeClr val="tx1"/>
                </a:solidFill>
              </a:rPr>
              <a:t>FONDINI</a:t>
            </a:r>
            <a:endParaRPr lang="it-IT" sz="1400" b="1" dirty="0">
              <a:solidFill>
                <a:schemeClr val="tx1"/>
              </a:solidFill>
            </a:endParaRPr>
          </a:p>
        </p:txBody>
      </p:sp>
      <p:sp>
        <p:nvSpPr>
          <p:cNvPr id="115" name="Rettangolo 114">
            <a:extLst>
              <a:ext uri="{FF2B5EF4-FFF2-40B4-BE49-F238E27FC236}">
                <a16:creationId xmlns:a16="http://schemas.microsoft.com/office/drawing/2014/main" id="{873900C8-B344-5E44-BDB6-1E1B09B2C772}"/>
              </a:ext>
            </a:extLst>
          </p:cNvPr>
          <p:cNvSpPr/>
          <p:nvPr userDrawn="1"/>
        </p:nvSpPr>
        <p:spPr>
          <a:xfrm>
            <a:off x="6357828" y="-1788147"/>
            <a:ext cx="1782962" cy="1122539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it-IT" sz="1400" b="1" dirty="0">
                <a:solidFill>
                  <a:schemeClr val="tx2"/>
                </a:solidFill>
              </a:rPr>
              <a:t>BIANCO</a:t>
            </a:r>
          </a:p>
          <a:p>
            <a:pPr algn="ctr"/>
            <a:r>
              <a:rPr lang="it-IT" sz="1400" dirty="0">
                <a:solidFill>
                  <a:schemeClr val="tx2"/>
                </a:solidFill>
              </a:rPr>
              <a:t>RGB 255-255-255</a:t>
            </a:r>
          </a:p>
          <a:p>
            <a:pPr algn="ctr"/>
            <a:endParaRPr lang="it-IT" sz="1400" dirty="0">
              <a:solidFill>
                <a:schemeClr val="tx2"/>
              </a:solidFill>
            </a:endParaRPr>
          </a:p>
          <a:p>
            <a:pPr algn="ctr"/>
            <a:r>
              <a:rPr lang="it-IT" sz="1200" dirty="0">
                <a:solidFill>
                  <a:schemeClr val="tx2"/>
                </a:solidFill>
              </a:rPr>
              <a:t>PER TESTO E FONDO</a:t>
            </a:r>
            <a:endParaRPr lang="it-IT" sz="1200" b="1" dirty="0">
              <a:solidFill>
                <a:schemeClr val="tx2"/>
              </a:solidFill>
            </a:endParaRPr>
          </a:p>
        </p:txBody>
      </p:sp>
      <p:sp>
        <p:nvSpPr>
          <p:cNvPr id="3" name="CasellaDiTesto 2">
            <a:extLst>
              <a:ext uri="{FF2B5EF4-FFF2-40B4-BE49-F238E27FC236}">
                <a16:creationId xmlns:a16="http://schemas.microsoft.com/office/drawing/2014/main" id="{95CEF3FD-E6A3-8A24-0DA6-4AE90F1ECBE0}"/>
              </a:ext>
            </a:extLst>
          </p:cNvPr>
          <p:cNvSpPr txBox="1"/>
          <p:nvPr userDrawn="1"/>
        </p:nvSpPr>
        <p:spPr>
          <a:xfrm>
            <a:off x="3916392" y="6623540"/>
            <a:ext cx="739499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it-IT" sz="800" i="1" dirty="0"/>
              <a:t>Documento ad uso esclusivamente interno, da intendersi come strettamente riservato; non è autorizzata la trasmissione ad altri e la divulgazione all’esterno.</a:t>
            </a:r>
            <a:endParaRPr lang="en-US" sz="800" i="1" dirty="0"/>
          </a:p>
        </p:txBody>
      </p:sp>
    </p:spTree>
    <p:extLst>
      <p:ext uri="{BB962C8B-B14F-4D97-AF65-F5344CB8AC3E}">
        <p14:creationId xmlns:p14="http://schemas.microsoft.com/office/powerpoint/2010/main" val="35591336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0" r:id="rId1"/>
    <p:sldLayoutId id="2147483751" r:id="rId2"/>
    <p:sldLayoutId id="2147483752" r:id="rId3"/>
    <p:sldLayoutId id="2147483753" r:id="rId4"/>
    <p:sldLayoutId id="2147483754" r:id="rId5"/>
    <p:sldLayoutId id="2147483755" r:id="rId6"/>
    <p:sldLayoutId id="2147483756" r:id="rId7"/>
    <p:sldLayoutId id="2147483757" r:id="rId8"/>
    <p:sldLayoutId id="2147483758" r:id="rId9"/>
    <p:sldLayoutId id="2147483759" r:id="rId10"/>
    <p:sldLayoutId id="2147483760" r:id="rId11"/>
    <p:sldLayoutId id="2147483761" r:id="rId12"/>
    <p:sldLayoutId id="2147483762" r:id="rId13"/>
    <p:sldLayoutId id="2147483763" r:id="rId14"/>
    <p:sldLayoutId id="2147483764" r:id="rId15"/>
    <p:sldLayoutId id="2147483765" r:id="rId16"/>
    <p:sldLayoutId id="2147483766" r:id="rId17"/>
    <p:sldLayoutId id="2147483767" r:id="rId18"/>
    <p:sldLayoutId id="2147483768" r:id="rId19"/>
    <p:sldLayoutId id="2147483769" r:id="rId20"/>
    <p:sldLayoutId id="2147483770" r:id="rId2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accent2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34">
          <p15:clr>
            <a:srgbClr val="FDE53C"/>
          </p15:clr>
        </p15:guide>
        <p15:guide id="2" pos="3840">
          <p15:clr>
            <a:srgbClr val="FDE53C"/>
          </p15:clr>
        </p15:guide>
        <p15:guide id="3" pos="7446">
          <p15:clr>
            <a:srgbClr val="FDE53C"/>
          </p15:clr>
        </p15:guide>
        <p15:guide id="4" orient="horz" pos="640">
          <p15:clr>
            <a:srgbClr val="FDE53C"/>
          </p15:clr>
        </p15:guide>
        <p15:guide id="5" orient="horz" pos="3861">
          <p15:clr>
            <a:srgbClr val="FDE53C"/>
          </p15:clr>
        </p15:guide>
        <p15:guide id="6" orient="horz" pos="2160">
          <p15:clr>
            <a:srgbClr val="FDE53C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25.png"/><Relationship Id="rId4" Type="http://schemas.openxmlformats.org/officeDocument/2006/relationships/image" Target="../media/image24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29.png"/><Relationship Id="rId4" Type="http://schemas.openxmlformats.org/officeDocument/2006/relationships/image" Target="../media/image28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1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34.png"/><Relationship Id="rId4" Type="http://schemas.openxmlformats.org/officeDocument/2006/relationships/image" Target="../media/image33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testo 2">
            <a:extLst>
              <a:ext uri="{FF2B5EF4-FFF2-40B4-BE49-F238E27FC236}">
                <a16:creationId xmlns:a16="http://schemas.microsoft.com/office/drawing/2014/main" id="{BD606AC8-A24D-67DD-BBD3-5BEA3A3E6EF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15144" y="857383"/>
            <a:ext cx="11161712" cy="2532026"/>
          </a:xfrm>
        </p:spPr>
        <p:txBody>
          <a:bodyPr/>
          <a:lstStyle/>
          <a:p>
            <a:r>
              <a:rPr lang="it-IT" dirty="0"/>
              <a:t>SERVIZIO DI TESORERIA</a:t>
            </a:r>
          </a:p>
        </p:txBody>
      </p:sp>
      <p:sp>
        <p:nvSpPr>
          <p:cNvPr id="8" name="Segnaposto testo 7"/>
          <p:cNvSpPr>
            <a:spLocks noGrp="1"/>
          </p:cNvSpPr>
          <p:nvPr>
            <p:ph type="body" sz="quarter" idx="11"/>
          </p:nvPr>
        </p:nvSpPr>
        <p:spPr>
          <a:xfrm>
            <a:off x="658813" y="4668782"/>
            <a:ext cx="11161712" cy="1398587"/>
          </a:xfrm>
        </p:spPr>
        <p:txBody>
          <a:bodyPr/>
          <a:lstStyle/>
          <a:p>
            <a:r>
              <a:rPr lang="it-IT" dirty="0"/>
              <a:t>Servizi di BancoPosta</a:t>
            </a:r>
          </a:p>
        </p:txBody>
      </p:sp>
      <p:sp>
        <p:nvSpPr>
          <p:cNvPr id="7" name="Sottotitolo 6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it-IT" dirty="0"/>
              <a:t>Torino, 16  Febbraio 2024</a:t>
            </a:r>
          </a:p>
        </p:txBody>
      </p:sp>
    </p:spTree>
    <p:extLst>
      <p:ext uri="{BB962C8B-B14F-4D97-AF65-F5344CB8AC3E}">
        <p14:creationId xmlns:p14="http://schemas.microsoft.com/office/powerpoint/2010/main" val="28265494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ttangolo arrotondato 81">
            <a:extLst>
              <a:ext uri="{FF2B5EF4-FFF2-40B4-BE49-F238E27FC236}">
                <a16:creationId xmlns:a16="http://schemas.microsoft.com/office/drawing/2014/main" id="{C5DF73FF-DF53-49A9-87EC-28354975CAF3}"/>
              </a:ext>
            </a:extLst>
          </p:cNvPr>
          <p:cNvSpPr/>
          <p:nvPr/>
        </p:nvSpPr>
        <p:spPr>
          <a:xfrm>
            <a:off x="4202097" y="1940622"/>
            <a:ext cx="3676470" cy="4112604"/>
          </a:xfrm>
          <a:prstGeom prst="roundRect">
            <a:avLst>
              <a:gd name="adj" fmla="val 6647"/>
            </a:avLst>
          </a:prstGeom>
          <a:noFill/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600">
              <a:solidFill>
                <a:schemeClr val="tx1"/>
              </a:solidFill>
            </a:endParaRPr>
          </a:p>
        </p:txBody>
      </p:sp>
      <p:sp>
        <p:nvSpPr>
          <p:cNvPr id="12" name="Rettangolo arrotondato 84">
            <a:extLst>
              <a:ext uri="{FF2B5EF4-FFF2-40B4-BE49-F238E27FC236}">
                <a16:creationId xmlns:a16="http://schemas.microsoft.com/office/drawing/2014/main" id="{3CEA3AA1-2ECC-450B-A7D8-5090B8672C9F}"/>
              </a:ext>
            </a:extLst>
          </p:cNvPr>
          <p:cNvSpPr/>
          <p:nvPr/>
        </p:nvSpPr>
        <p:spPr>
          <a:xfrm>
            <a:off x="8231971" y="1909245"/>
            <a:ext cx="3759259" cy="4112604"/>
          </a:xfrm>
          <a:prstGeom prst="roundRect">
            <a:avLst>
              <a:gd name="adj" fmla="val 6647"/>
            </a:avLst>
          </a:prstGeom>
          <a:noFill/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600">
              <a:solidFill>
                <a:schemeClr val="tx1"/>
              </a:solidFill>
            </a:endParaRPr>
          </a:p>
        </p:txBody>
      </p:sp>
      <p:sp>
        <p:nvSpPr>
          <p:cNvPr id="14" name="Rettangolo arrotondato 81">
            <a:extLst>
              <a:ext uri="{FF2B5EF4-FFF2-40B4-BE49-F238E27FC236}">
                <a16:creationId xmlns:a16="http://schemas.microsoft.com/office/drawing/2014/main" id="{C5DF73FF-DF53-49A9-87EC-28354975CAF3}"/>
              </a:ext>
            </a:extLst>
          </p:cNvPr>
          <p:cNvSpPr/>
          <p:nvPr/>
        </p:nvSpPr>
        <p:spPr>
          <a:xfrm>
            <a:off x="160339" y="1909245"/>
            <a:ext cx="3676470" cy="4112604"/>
          </a:xfrm>
          <a:prstGeom prst="roundRect">
            <a:avLst>
              <a:gd name="adj" fmla="val 6647"/>
            </a:avLst>
          </a:prstGeom>
          <a:noFill/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600">
              <a:solidFill>
                <a:schemeClr val="tx1"/>
              </a:solidFill>
            </a:endParaRPr>
          </a:p>
        </p:txBody>
      </p:sp>
      <p:sp>
        <p:nvSpPr>
          <p:cNvPr id="5" name="Titolo 4"/>
          <p:cNvSpPr>
            <a:spLocks noGrp="1"/>
          </p:cNvSpPr>
          <p:nvPr>
            <p:ph type="title"/>
          </p:nvPr>
        </p:nvSpPr>
        <p:spPr>
          <a:xfrm>
            <a:off x="753618" y="35496"/>
            <a:ext cx="11418587" cy="358951"/>
          </a:xfrm>
        </p:spPr>
        <p:txBody>
          <a:bodyPr>
            <a:normAutofit fontScale="90000"/>
          </a:bodyPr>
          <a:lstStyle/>
          <a:p>
            <a:r>
              <a:rPr lang="it-IT" dirty="0"/>
              <a:t>IL SERVIZIO DI TESORERIA</a:t>
            </a:r>
          </a:p>
        </p:txBody>
      </p:sp>
      <p:sp>
        <p:nvSpPr>
          <p:cNvPr id="39" name="Segnaposto testo 7"/>
          <p:cNvSpPr>
            <a:spLocks noGrp="1"/>
          </p:cNvSpPr>
          <p:nvPr>
            <p:ph type="body" sz="quarter" idx="15"/>
          </p:nvPr>
        </p:nvSpPr>
        <p:spPr>
          <a:xfrm>
            <a:off x="776735" y="451052"/>
            <a:ext cx="8040094" cy="250026"/>
          </a:xfrm>
        </p:spPr>
        <p:txBody>
          <a:bodyPr/>
          <a:lstStyle/>
          <a:p>
            <a:r>
              <a:rPr lang="it-IT" sz="1600" dirty="0"/>
              <a:t>LA RISPOSTA ISTITUZIONALE AL PAESE</a:t>
            </a:r>
          </a:p>
        </p:txBody>
      </p:sp>
      <p:sp>
        <p:nvSpPr>
          <p:cNvPr id="7" name="Rettangolo 6">
            <a:extLst>
              <a:ext uri="{FF2B5EF4-FFF2-40B4-BE49-F238E27FC236}">
                <a16:creationId xmlns:a16="http://schemas.microsoft.com/office/drawing/2014/main" id="{AA4C5041-1360-41A3-9627-824C1BC7F8BE}"/>
              </a:ext>
            </a:extLst>
          </p:cNvPr>
          <p:cNvSpPr/>
          <p:nvPr/>
        </p:nvSpPr>
        <p:spPr>
          <a:xfrm>
            <a:off x="460418" y="2195015"/>
            <a:ext cx="3101695" cy="3785652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>
              <a:defRPr/>
            </a:pPr>
            <a:endParaRPr lang="it-IT" sz="1600" b="1" kern="0" dirty="0">
              <a:cs typeface="Arial"/>
            </a:endParaRPr>
          </a:p>
          <a:p>
            <a:pPr>
              <a:defRPr/>
            </a:pPr>
            <a:endParaRPr lang="it-IT" sz="1600" b="1" kern="0" dirty="0">
              <a:cs typeface="Arial"/>
            </a:endParaRPr>
          </a:p>
          <a:p>
            <a:pPr>
              <a:defRPr/>
            </a:pPr>
            <a:endParaRPr lang="it-IT" sz="1600" b="1" kern="0" dirty="0">
              <a:cs typeface="Arial"/>
            </a:endParaRPr>
          </a:p>
          <a:p>
            <a:pPr>
              <a:defRPr/>
            </a:pPr>
            <a:r>
              <a:rPr lang="it-IT" sz="1600" b="1" kern="0" dirty="0">
                <a:cs typeface="Arial"/>
              </a:rPr>
              <a:t>Minore presenza delle Banche su Piccoli Comuni</a:t>
            </a:r>
          </a:p>
          <a:p>
            <a:pPr>
              <a:defRPr/>
            </a:pPr>
            <a:endParaRPr lang="it-IT" sz="1600" b="1" kern="0" dirty="0">
              <a:cs typeface="Arial"/>
            </a:endParaRPr>
          </a:p>
          <a:p>
            <a:pPr>
              <a:defRPr/>
            </a:pPr>
            <a:r>
              <a:rPr lang="it-IT" sz="1600" b="1" kern="0" dirty="0">
                <a:cs typeface="Arial"/>
              </a:rPr>
              <a:t>Gare deserte e servizi prorogati </a:t>
            </a:r>
          </a:p>
          <a:p>
            <a:pPr>
              <a:defRPr/>
            </a:pPr>
            <a:endParaRPr lang="it-IT" sz="1600" b="1" kern="0" dirty="0">
              <a:cs typeface="Arial"/>
            </a:endParaRPr>
          </a:p>
          <a:p>
            <a:pPr>
              <a:defRPr/>
            </a:pPr>
            <a:r>
              <a:rPr lang="it-IT" sz="1600" b="1" kern="0" dirty="0">
                <a:cs typeface="Arial"/>
              </a:rPr>
              <a:t>Ricontrattazione delle condizioni economiche - non favorevoli agli enti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endParaRPr lang="it-IT" sz="1600" kern="0" dirty="0">
              <a:cs typeface="Arial"/>
            </a:endParaRPr>
          </a:p>
          <a:p>
            <a:pPr>
              <a:defRPr/>
            </a:pPr>
            <a:endParaRPr lang="it-IT" sz="1600" b="1" kern="0" dirty="0">
              <a:cs typeface="Arial"/>
            </a:endParaRPr>
          </a:p>
          <a:p>
            <a:pPr>
              <a:defRPr/>
            </a:pPr>
            <a:endParaRPr lang="it-IT" sz="1600" b="1" kern="0" dirty="0">
              <a:cs typeface="Arial"/>
            </a:endParaRPr>
          </a:p>
        </p:txBody>
      </p:sp>
      <p:sp>
        <p:nvSpPr>
          <p:cNvPr id="8" name="Rettangolo 7">
            <a:extLst>
              <a:ext uri="{FF2B5EF4-FFF2-40B4-BE49-F238E27FC236}">
                <a16:creationId xmlns:a16="http://schemas.microsoft.com/office/drawing/2014/main" id="{F27BE762-9CDA-46D3-910F-B966FA9E5282}"/>
              </a:ext>
            </a:extLst>
          </p:cNvPr>
          <p:cNvSpPr/>
          <p:nvPr/>
        </p:nvSpPr>
        <p:spPr>
          <a:xfrm>
            <a:off x="4567142" y="2077224"/>
            <a:ext cx="3164183" cy="4216539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>
              <a:defRPr/>
            </a:pPr>
            <a:endParaRPr lang="it-IT" sz="1400" b="1" kern="0" dirty="0">
              <a:cs typeface="Arial"/>
            </a:endParaRPr>
          </a:p>
          <a:p>
            <a:pPr>
              <a:defRPr/>
            </a:pPr>
            <a:endParaRPr lang="it-IT" sz="1400" b="1" kern="0" dirty="0">
              <a:cs typeface="Arial"/>
            </a:endParaRPr>
          </a:p>
          <a:p>
            <a:pPr>
              <a:defRPr/>
            </a:pPr>
            <a:endParaRPr lang="it-IT" sz="1400" b="1" kern="0" dirty="0">
              <a:cs typeface="Arial"/>
            </a:endParaRPr>
          </a:p>
          <a:p>
            <a:pPr>
              <a:defRPr/>
            </a:pPr>
            <a:endParaRPr lang="it-IT" sz="1400" b="1" kern="0" dirty="0">
              <a:cs typeface="Arial"/>
            </a:endParaRPr>
          </a:p>
          <a:p>
            <a:pPr>
              <a:defRPr/>
            </a:pPr>
            <a:r>
              <a:rPr lang="it-IT" sz="1600" b="1" kern="0" dirty="0">
                <a:cs typeface="Arial"/>
              </a:rPr>
              <a:t>Accessibilità al servizio obbligatorio per legge a costi sostenibili</a:t>
            </a:r>
          </a:p>
          <a:p>
            <a:pPr>
              <a:defRPr/>
            </a:pPr>
            <a:endParaRPr lang="it-IT" sz="1600" b="1" kern="0" dirty="0">
              <a:cs typeface="Arial"/>
            </a:endParaRPr>
          </a:p>
          <a:p>
            <a:pPr>
              <a:defRPr/>
            </a:pPr>
            <a:endParaRPr lang="it-IT" sz="1600" b="1" kern="0" dirty="0">
              <a:cs typeface="Arial"/>
            </a:endParaRPr>
          </a:p>
          <a:p>
            <a:pPr>
              <a:defRPr/>
            </a:pPr>
            <a:r>
              <a:rPr lang="it-IT" sz="1600" b="1" kern="0" dirty="0">
                <a:cs typeface="Arial"/>
              </a:rPr>
              <a:t>Eliminazione di spese legate alla gestione di «gare deserte»</a:t>
            </a:r>
          </a:p>
          <a:p>
            <a:pPr>
              <a:defRPr/>
            </a:pPr>
            <a:r>
              <a:rPr lang="it-IT" sz="1600" b="1" kern="0" dirty="0">
                <a:cs typeface="Arial"/>
              </a:rPr>
              <a:t> </a:t>
            </a:r>
          </a:p>
          <a:p>
            <a:pPr>
              <a:defRPr/>
            </a:pPr>
            <a:endParaRPr lang="it-IT" sz="1400" b="1" kern="0" dirty="0">
              <a:cs typeface="Arial"/>
            </a:endParaRPr>
          </a:p>
          <a:p>
            <a:pPr>
              <a:defRPr/>
            </a:pPr>
            <a:endParaRPr lang="it-IT" sz="1400" b="1" kern="0" dirty="0">
              <a:cs typeface="Arial"/>
            </a:endParaRPr>
          </a:p>
          <a:p>
            <a:pPr>
              <a:defRPr/>
            </a:pPr>
            <a:endParaRPr lang="it-IT" sz="1400" b="1" kern="0" dirty="0">
              <a:cs typeface="Arial"/>
            </a:endParaRP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endParaRPr lang="it-IT" sz="1400" kern="0" dirty="0">
              <a:cs typeface="Arial"/>
            </a:endParaRPr>
          </a:p>
          <a:p>
            <a:pPr>
              <a:defRPr/>
            </a:pPr>
            <a:endParaRPr lang="it-IT" sz="1400" b="1" kern="0" dirty="0">
              <a:cs typeface="Arial"/>
            </a:endParaRPr>
          </a:p>
          <a:p>
            <a:pPr>
              <a:defRPr/>
            </a:pPr>
            <a:endParaRPr lang="it-IT" sz="1400" b="1" kern="0" dirty="0">
              <a:cs typeface="Arial"/>
            </a:endParaRPr>
          </a:p>
        </p:txBody>
      </p:sp>
      <p:sp>
        <p:nvSpPr>
          <p:cNvPr id="16" name="Rettangolo 15">
            <a:extLst>
              <a:ext uri="{FF2B5EF4-FFF2-40B4-BE49-F238E27FC236}">
                <a16:creationId xmlns:a16="http://schemas.microsoft.com/office/drawing/2014/main" id="{F1F676A5-4E6E-49F6-BC57-531D3A709F33}"/>
              </a:ext>
            </a:extLst>
          </p:cNvPr>
          <p:cNvSpPr/>
          <p:nvPr/>
        </p:nvSpPr>
        <p:spPr>
          <a:xfrm>
            <a:off x="280324" y="2123538"/>
            <a:ext cx="3255525" cy="538808"/>
          </a:xfrm>
          <a:prstGeom prst="rect">
            <a:avLst/>
          </a:prstGeom>
          <a:solidFill>
            <a:schemeClr val="accent2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it-IT" sz="1600" b="1" dirty="0">
                <a:solidFill>
                  <a:schemeClr val="tx1"/>
                </a:solidFill>
              </a:rPr>
              <a:t>Lo scenario attuale</a:t>
            </a:r>
          </a:p>
        </p:txBody>
      </p:sp>
      <p:sp>
        <p:nvSpPr>
          <p:cNvPr id="18" name="Rettangolo 17">
            <a:extLst>
              <a:ext uri="{FF2B5EF4-FFF2-40B4-BE49-F238E27FC236}">
                <a16:creationId xmlns:a16="http://schemas.microsoft.com/office/drawing/2014/main" id="{E396EFA9-4192-406F-9A54-EE94A1A17216}"/>
              </a:ext>
            </a:extLst>
          </p:cNvPr>
          <p:cNvSpPr/>
          <p:nvPr/>
        </p:nvSpPr>
        <p:spPr>
          <a:xfrm>
            <a:off x="4433879" y="2170496"/>
            <a:ext cx="3143699" cy="538808"/>
          </a:xfrm>
          <a:prstGeom prst="rect">
            <a:avLst/>
          </a:prstGeom>
          <a:solidFill>
            <a:schemeClr val="accent2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it-IT" sz="1600" b="1" dirty="0">
                <a:solidFill>
                  <a:schemeClr val="tx1"/>
                </a:solidFill>
              </a:rPr>
              <a:t>Le Esigenze</a:t>
            </a:r>
          </a:p>
        </p:txBody>
      </p:sp>
      <p:pic>
        <p:nvPicPr>
          <p:cNvPr id="21" name="Immagine 20" descr="PPT_02-07.png">
            <a:extLst>
              <a:ext uri="{FF2B5EF4-FFF2-40B4-BE49-F238E27FC236}">
                <a16:creationId xmlns:a16="http://schemas.microsoft.com/office/drawing/2014/main" id="{C1054F56-4B78-4FB8-A23F-1C7658E17368}"/>
              </a:ext>
            </a:extLst>
          </p:cNvPr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1501533" y="1463140"/>
            <a:ext cx="663124" cy="663124"/>
          </a:xfrm>
          <a:prstGeom prst="rect">
            <a:avLst/>
          </a:prstGeom>
        </p:spPr>
      </p:pic>
      <p:sp>
        <p:nvSpPr>
          <p:cNvPr id="20" name="Rettangolo 19">
            <a:extLst>
              <a:ext uri="{FF2B5EF4-FFF2-40B4-BE49-F238E27FC236}">
                <a16:creationId xmlns:a16="http://schemas.microsoft.com/office/drawing/2014/main" id="{ECCA17BD-DF51-4F70-8FE5-5BA7E40BB3B4}"/>
              </a:ext>
            </a:extLst>
          </p:cNvPr>
          <p:cNvSpPr/>
          <p:nvPr/>
        </p:nvSpPr>
        <p:spPr>
          <a:xfrm>
            <a:off x="8478929" y="2172222"/>
            <a:ext cx="3204717" cy="538808"/>
          </a:xfrm>
          <a:prstGeom prst="rect">
            <a:avLst/>
          </a:prstGeom>
          <a:solidFill>
            <a:schemeClr val="accent2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600" b="1" dirty="0">
              <a:solidFill>
                <a:schemeClr val="tx1"/>
              </a:solidFill>
            </a:endParaRPr>
          </a:p>
          <a:p>
            <a:pPr algn="ctr"/>
            <a:r>
              <a:rPr lang="it-IT" sz="1600" b="1" dirty="0">
                <a:solidFill>
                  <a:schemeClr val="tx1"/>
                </a:solidFill>
              </a:rPr>
              <a:t>La soluzione di «sistema» per i Piccoli Comuni</a:t>
            </a:r>
          </a:p>
          <a:p>
            <a:pPr algn="ctr"/>
            <a:endParaRPr lang="it-IT" sz="1600" b="1" dirty="0">
              <a:solidFill>
                <a:schemeClr val="tx1"/>
              </a:solidFill>
            </a:endParaRPr>
          </a:p>
        </p:txBody>
      </p:sp>
      <p:pic>
        <p:nvPicPr>
          <p:cNvPr id="23" name="Immagine 22" descr="PPT_02-08.png">
            <a:extLst>
              <a:ext uri="{FF2B5EF4-FFF2-40B4-BE49-F238E27FC236}">
                <a16:creationId xmlns:a16="http://schemas.microsoft.com/office/drawing/2014/main" id="{6FF2ACA7-5D0A-49BA-9856-B43FDB694FA6}"/>
              </a:ext>
            </a:extLst>
          </p:cNvPr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9808499" y="1494944"/>
            <a:ext cx="663124" cy="663124"/>
          </a:xfrm>
          <a:prstGeom prst="rect">
            <a:avLst/>
          </a:prstGeom>
        </p:spPr>
      </p:pic>
      <p:pic>
        <p:nvPicPr>
          <p:cNvPr id="25" name="Immagine 24" descr="PPT_02-23.png">
            <a:extLst>
              <a:ext uri="{FF2B5EF4-FFF2-40B4-BE49-F238E27FC236}">
                <a16:creationId xmlns:a16="http://schemas.microsoft.com/office/drawing/2014/main" id="{22B0DA34-CF84-4CCB-BBF5-097D0BA71B46}"/>
              </a:ext>
            </a:extLst>
          </p:cNvPr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5650561" y="1494944"/>
            <a:ext cx="659594" cy="659002"/>
          </a:xfrm>
          <a:prstGeom prst="rect">
            <a:avLst/>
          </a:prstGeom>
        </p:spPr>
      </p:pic>
      <p:sp>
        <p:nvSpPr>
          <p:cNvPr id="27" name="Freccia a destra 26"/>
          <p:cNvSpPr/>
          <p:nvPr/>
        </p:nvSpPr>
        <p:spPr>
          <a:xfrm>
            <a:off x="7783892" y="3244992"/>
            <a:ext cx="367032" cy="1966123"/>
          </a:xfrm>
          <a:prstGeom prst="rightArrow">
            <a:avLst>
              <a:gd name="adj1" fmla="val 0"/>
              <a:gd name="adj2" fmla="val 50000"/>
            </a:avLst>
          </a:prstGeom>
          <a:solidFill>
            <a:schemeClr val="tx2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>
              <a:solidFill>
                <a:schemeClr val="tx1"/>
              </a:solidFill>
            </a:endParaRPr>
          </a:p>
        </p:txBody>
      </p:sp>
      <p:sp>
        <p:nvSpPr>
          <p:cNvPr id="28" name="Freccia a destra 27"/>
          <p:cNvSpPr/>
          <p:nvPr/>
        </p:nvSpPr>
        <p:spPr>
          <a:xfrm>
            <a:off x="3750936" y="3149369"/>
            <a:ext cx="367032" cy="1966123"/>
          </a:xfrm>
          <a:prstGeom prst="rightArrow">
            <a:avLst>
              <a:gd name="adj1" fmla="val 0"/>
              <a:gd name="adj2" fmla="val 50000"/>
            </a:avLst>
          </a:prstGeom>
          <a:solidFill>
            <a:schemeClr val="tx2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>
              <a:solidFill>
                <a:schemeClr val="tx1"/>
              </a:solidFill>
            </a:endParaRPr>
          </a:p>
        </p:txBody>
      </p:sp>
      <p:sp>
        <p:nvSpPr>
          <p:cNvPr id="3" name="Rettangolo 2"/>
          <p:cNvSpPr/>
          <p:nvPr/>
        </p:nvSpPr>
        <p:spPr>
          <a:xfrm>
            <a:off x="8458502" y="5140929"/>
            <a:ext cx="3484961" cy="67235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>
              <a:solidFill>
                <a:schemeClr val="tx1"/>
              </a:solidFill>
            </a:endParaRPr>
          </a:p>
        </p:txBody>
      </p:sp>
      <p:sp>
        <p:nvSpPr>
          <p:cNvPr id="9" name="Rettangolo 8">
            <a:extLst>
              <a:ext uri="{FF2B5EF4-FFF2-40B4-BE49-F238E27FC236}">
                <a16:creationId xmlns:a16="http://schemas.microsoft.com/office/drawing/2014/main" id="{0CAD0B49-2047-4997-B374-918449D59A9A}"/>
              </a:ext>
            </a:extLst>
          </p:cNvPr>
          <p:cNvSpPr/>
          <p:nvPr/>
        </p:nvSpPr>
        <p:spPr>
          <a:xfrm>
            <a:off x="8512290" y="2675584"/>
            <a:ext cx="3543471" cy="4278094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>
              <a:defRPr/>
            </a:pPr>
            <a:endParaRPr lang="it-IT" sz="1600" b="1" kern="0" dirty="0">
              <a:cs typeface="Arial"/>
            </a:endParaRPr>
          </a:p>
          <a:p>
            <a:pPr>
              <a:defRPr/>
            </a:pPr>
            <a:r>
              <a:rPr lang="it-IT" sz="1600" b="1" kern="0" dirty="0">
                <a:cs typeface="Arial"/>
              </a:rPr>
              <a:t>L. 158/2017: per i Comuni &lt;5.000 ab. possibilità di affidare direttamente a Poste il Servizio di Tesoreria</a:t>
            </a:r>
          </a:p>
          <a:p>
            <a:pPr>
              <a:defRPr/>
            </a:pPr>
            <a:endParaRPr lang="it-IT" sz="1600" b="1" kern="0" dirty="0">
              <a:cs typeface="Arial"/>
            </a:endParaRPr>
          </a:p>
          <a:p>
            <a:pPr>
              <a:defRPr/>
            </a:pPr>
            <a:r>
              <a:rPr lang="it-IT" sz="1600" b="1" kern="0" dirty="0">
                <a:cs typeface="Arial"/>
              </a:rPr>
              <a:t>Legge di Bilancio 2018: CDP è stata autorizzata a concedere anticipazioni di tesoreria</a:t>
            </a:r>
          </a:p>
          <a:p>
            <a:pPr>
              <a:defRPr/>
            </a:pPr>
            <a:endParaRPr lang="it-IT" sz="1600" b="1" kern="0" dirty="0">
              <a:cs typeface="Arial"/>
            </a:endParaRPr>
          </a:p>
          <a:p>
            <a:pPr>
              <a:defRPr/>
            </a:pPr>
            <a:r>
              <a:rPr lang="it-IT" sz="1600" b="1" kern="0" dirty="0">
                <a:cs typeface="Arial"/>
              </a:rPr>
              <a:t>Nasce la nuova offerta Poste-CDP per la Tesoreria ai Piccoli Comuni </a:t>
            </a:r>
          </a:p>
          <a:p>
            <a:pPr>
              <a:defRPr/>
            </a:pPr>
            <a:endParaRPr lang="it-IT" sz="1600" b="1" kern="0" dirty="0">
              <a:cs typeface="Arial"/>
            </a:endParaRPr>
          </a:p>
          <a:p>
            <a:pPr>
              <a:defRPr/>
            </a:pPr>
            <a:endParaRPr lang="it-IT" sz="1600" b="1" kern="0" dirty="0">
              <a:cs typeface="Arial"/>
            </a:endParaRP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endParaRPr lang="it-IT" sz="1600" kern="0" dirty="0">
              <a:cs typeface="Arial"/>
            </a:endParaRPr>
          </a:p>
          <a:p>
            <a:pPr>
              <a:defRPr/>
            </a:pPr>
            <a:endParaRPr lang="it-IT" sz="1600" b="1" kern="0" dirty="0">
              <a:cs typeface="Arial"/>
            </a:endParaRPr>
          </a:p>
          <a:p>
            <a:pPr>
              <a:defRPr/>
            </a:pPr>
            <a:endParaRPr lang="it-IT" sz="1600" b="1" kern="0" dirty="0">
              <a:cs typeface="Arial"/>
            </a:endParaRPr>
          </a:p>
        </p:txBody>
      </p:sp>
      <p:pic>
        <p:nvPicPr>
          <p:cNvPr id="30" name="Immagine 29" descr="PPT_02-22.png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215348" y="2989400"/>
            <a:ext cx="286815" cy="286557"/>
          </a:xfrm>
          <a:prstGeom prst="rect">
            <a:avLst/>
          </a:prstGeom>
        </p:spPr>
      </p:pic>
      <p:pic>
        <p:nvPicPr>
          <p:cNvPr id="32" name="Immagine 31" descr="PPT_02-22.png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206384" y="3720021"/>
            <a:ext cx="286815" cy="286557"/>
          </a:xfrm>
          <a:prstGeom prst="rect">
            <a:avLst/>
          </a:prstGeom>
        </p:spPr>
      </p:pic>
      <p:pic>
        <p:nvPicPr>
          <p:cNvPr id="33" name="Immagine 32" descr="PPT_02-22.png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197420" y="4437195"/>
            <a:ext cx="286815" cy="286557"/>
          </a:xfrm>
          <a:prstGeom prst="rect">
            <a:avLst/>
          </a:prstGeom>
        </p:spPr>
      </p:pic>
      <p:pic>
        <p:nvPicPr>
          <p:cNvPr id="34" name="Immagine 33" descr="PPT_02-22.png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4302637" y="3006090"/>
            <a:ext cx="286815" cy="286557"/>
          </a:xfrm>
          <a:prstGeom prst="rect">
            <a:avLst/>
          </a:prstGeom>
        </p:spPr>
      </p:pic>
      <p:pic>
        <p:nvPicPr>
          <p:cNvPr id="35" name="Immagine 34" descr="PPT_02-22.png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4291482" y="4265278"/>
            <a:ext cx="286815" cy="286557"/>
          </a:xfrm>
          <a:prstGeom prst="rect">
            <a:avLst/>
          </a:prstGeom>
        </p:spPr>
      </p:pic>
      <p:pic>
        <p:nvPicPr>
          <p:cNvPr id="36" name="Immagine 35" descr="PPT_02-22.png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8275788" y="2992776"/>
            <a:ext cx="286815" cy="286557"/>
          </a:xfrm>
          <a:prstGeom prst="rect">
            <a:avLst/>
          </a:prstGeom>
        </p:spPr>
      </p:pic>
      <p:pic>
        <p:nvPicPr>
          <p:cNvPr id="37" name="Immagine 36" descr="PPT_02-22.png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8283390" y="4192691"/>
            <a:ext cx="286815" cy="286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11583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ettangolo arrotondato 33">
            <a:extLst>
              <a:ext uri="{FF2B5EF4-FFF2-40B4-BE49-F238E27FC236}">
                <a16:creationId xmlns:a16="http://schemas.microsoft.com/office/drawing/2014/main" id="{22450BA4-C3A1-40BF-9D8F-2B91791662F2}"/>
              </a:ext>
            </a:extLst>
          </p:cNvPr>
          <p:cNvSpPr/>
          <p:nvPr/>
        </p:nvSpPr>
        <p:spPr>
          <a:xfrm>
            <a:off x="546379" y="1819927"/>
            <a:ext cx="3779730" cy="470067"/>
          </a:xfrm>
          <a:prstGeom prst="roundRect">
            <a:avLst/>
          </a:prstGeom>
          <a:solidFill>
            <a:schemeClr val="accent2"/>
          </a:solidFill>
          <a:ln>
            <a:solidFill>
              <a:schemeClr val="tx1">
                <a:lumMod val="75000"/>
              </a:schemeClr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it-IT" b="1" dirty="0">
                <a:solidFill>
                  <a:schemeClr val="tx1"/>
                </a:solidFill>
              </a:rPr>
              <a:t>Poste Italiane: Tesoriere</a:t>
            </a:r>
          </a:p>
        </p:txBody>
      </p:sp>
      <p:sp>
        <p:nvSpPr>
          <p:cNvPr id="2" name="Rettangolo 1">
            <a:extLst>
              <a:ext uri="{FF2B5EF4-FFF2-40B4-BE49-F238E27FC236}">
                <a16:creationId xmlns:a16="http://schemas.microsoft.com/office/drawing/2014/main" id="{8C82E65E-E29B-490C-97D1-EBE13DA19559}"/>
              </a:ext>
            </a:extLst>
          </p:cNvPr>
          <p:cNvSpPr/>
          <p:nvPr/>
        </p:nvSpPr>
        <p:spPr>
          <a:xfrm>
            <a:off x="266402" y="5132000"/>
            <a:ext cx="5457455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it-IT" b="1" dirty="0"/>
              <a:t>                          </a:t>
            </a:r>
          </a:p>
          <a:p>
            <a:pPr lvl="0"/>
            <a:endParaRPr lang="it-IT" dirty="0"/>
          </a:p>
          <a:p>
            <a:pPr lvl="0"/>
            <a:r>
              <a:rPr lang="it-IT" dirty="0"/>
              <a:t>Gestione delle “anticipazioni di cassa” nelle situazioni di temporanea carenza di liquidità</a:t>
            </a:r>
          </a:p>
        </p:txBody>
      </p:sp>
      <p:sp>
        <p:nvSpPr>
          <p:cNvPr id="5" name="Titolo 4"/>
          <p:cNvSpPr>
            <a:spLocks noGrp="1"/>
          </p:cNvSpPr>
          <p:nvPr>
            <p:ph type="title"/>
          </p:nvPr>
        </p:nvSpPr>
        <p:spPr>
          <a:xfrm>
            <a:off x="753618" y="35496"/>
            <a:ext cx="11418587" cy="358951"/>
          </a:xfrm>
        </p:spPr>
        <p:txBody>
          <a:bodyPr>
            <a:normAutofit fontScale="90000"/>
          </a:bodyPr>
          <a:lstStyle/>
          <a:p>
            <a:r>
              <a:rPr lang="it-IT" dirty="0"/>
              <a:t>IL SERVIZIO DI TESORERIA</a:t>
            </a:r>
          </a:p>
        </p:txBody>
      </p:sp>
      <p:sp>
        <p:nvSpPr>
          <p:cNvPr id="39" name="Segnaposto testo 7"/>
          <p:cNvSpPr>
            <a:spLocks noGrp="1"/>
          </p:cNvSpPr>
          <p:nvPr>
            <p:ph type="body" sz="quarter" idx="15"/>
          </p:nvPr>
        </p:nvSpPr>
        <p:spPr>
          <a:xfrm>
            <a:off x="663845" y="451052"/>
            <a:ext cx="10493520" cy="166240"/>
          </a:xfr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it-IT" sz="1600" dirty="0"/>
              <a:t>Il servizio in partnership POSTE ITALIANE - CASSA DEPOSITI E PRESTITI</a:t>
            </a:r>
          </a:p>
        </p:txBody>
      </p:sp>
      <p:sp>
        <p:nvSpPr>
          <p:cNvPr id="7" name="Rettangolo 6">
            <a:extLst>
              <a:ext uri="{FF2B5EF4-FFF2-40B4-BE49-F238E27FC236}">
                <a16:creationId xmlns:a16="http://schemas.microsoft.com/office/drawing/2014/main" id="{AA4C5041-1360-41A3-9627-824C1BC7F8BE}"/>
              </a:ext>
            </a:extLst>
          </p:cNvPr>
          <p:cNvSpPr/>
          <p:nvPr/>
        </p:nvSpPr>
        <p:spPr>
          <a:xfrm>
            <a:off x="349078" y="2306261"/>
            <a:ext cx="4779107" cy="3046988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lvl="0"/>
            <a:r>
              <a:rPr lang="it-IT" sz="1600" dirty="0"/>
              <a:t>Gestione attività</a:t>
            </a:r>
            <a:r>
              <a:rPr lang="it-IT" sz="1600" b="1" dirty="0"/>
              <a:t> di incasso\pagamento </a:t>
            </a:r>
            <a:r>
              <a:rPr lang="it-IT" sz="1600" dirty="0"/>
              <a:t>attraverso</a:t>
            </a:r>
            <a:r>
              <a:rPr lang="it-IT" sz="1600" b="1" dirty="0"/>
              <a:t>:</a:t>
            </a:r>
          </a:p>
          <a:p>
            <a:pPr lvl="0"/>
            <a:endParaRPr lang="it-IT" sz="1600" b="1" dirty="0"/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it-IT" sz="1600" dirty="0"/>
              <a:t>Team centrale di risorse altamente qualificate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endParaRPr lang="it-IT" sz="1600" dirty="0"/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it-IT" sz="1600" dirty="0"/>
              <a:t>Disponibilità di un Ufficio Postale di radicamento per le attività che richiedono la “fisicità”*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endParaRPr lang="it-IT" sz="1600" dirty="0"/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it-IT" sz="1600" dirty="0"/>
              <a:t>Accessibilità per le attività di incasso a tutta la Rete di Uffici Postali in circolarità</a:t>
            </a:r>
            <a:endParaRPr lang="it-IT" sz="1600" b="1" kern="0" dirty="0">
              <a:cs typeface="Arial"/>
            </a:endParaRPr>
          </a:p>
          <a:p>
            <a:pPr>
              <a:defRPr/>
            </a:pPr>
            <a:endParaRPr lang="it-IT" sz="1600" b="1" kern="0" dirty="0">
              <a:cs typeface="Arial"/>
            </a:endParaRPr>
          </a:p>
        </p:txBody>
      </p:sp>
      <p:sp>
        <p:nvSpPr>
          <p:cNvPr id="13" name="Rettangolo 12">
            <a:extLst>
              <a:ext uri="{FF2B5EF4-FFF2-40B4-BE49-F238E27FC236}">
                <a16:creationId xmlns:a16="http://schemas.microsoft.com/office/drawing/2014/main" id="{0A8B0176-B18B-46E1-826D-DB083A542162}"/>
              </a:ext>
            </a:extLst>
          </p:cNvPr>
          <p:cNvSpPr/>
          <p:nvPr/>
        </p:nvSpPr>
        <p:spPr>
          <a:xfrm>
            <a:off x="76060" y="6552128"/>
            <a:ext cx="5429795" cy="276999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lvl="0" algn="just">
              <a:defRPr/>
            </a:pPr>
            <a:r>
              <a:rPr lang="it-IT" sz="1200" b="1" kern="0" dirty="0">
                <a:solidFill>
                  <a:srgbClr val="706F6F"/>
                </a:solidFill>
                <a:cs typeface="Arial"/>
              </a:rPr>
              <a:t>* </a:t>
            </a:r>
            <a:r>
              <a:rPr lang="it-IT" sz="1200" kern="0" dirty="0">
                <a:solidFill>
                  <a:srgbClr val="706F6F"/>
                </a:solidFill>
                <a:cs typeface="Arial"/>
              </a:rPr>
              <a:t>attività residuali se il Comune ha attivato l’OPI</a:t>
            </a:r>
            <a:endParaRPr lang="da-DK" sz="1200" kern="0" dirty="0">
              <a:solidFill>
                <a:srgbClr val="706F6F"/>
              </a:solidFill>
              <a:cs typeface="Arial"/>
            </a:endParaRPr>
          </a:p>
        </p:txBody>
      </p:sp>
      <p:sp>
        <p:nvSpPr>
          <p:cNvPr id="29" name="Rettangolo arrotondato 33">
            <a:extLst>
              <a:ext uri="{FF2B5EF4-FFF2-40B4-BE49-F238E27FC236}">
                <a16:creationId xmlns:a16="http://schemas.microsoft.com/office/drawing/2014/main" id="{22450BA4-C3A1-40BF-9D8F-2B91791662F2}"/>
              </a:ext>
            </a:extLst>
          </p:cNvPr>
          <p:cNvSpPr/>
          <p:nvPr/>
        </p:nvSpPr>
        <p:spPr>
          <a:xfrm>
            <a:off x="390736" y="5195849"/>
            <a:ext cx="3665973" cy="470067"/>
          </a:xfrm>
          <a:prstGeom prst="roundRect">
            <a:avLst/>
          </a:prstGeom>
          <a:solidFill>
            <a:schemeClr val="accent2"/>
          </a:solidFill>
          <a:ln>
            <a:solidFill>
              <a:schemeClr val="tx1">
                <a:lumMod val="75000"/>
              </a:schemeClr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it-IT" b="1" dirty="0">
                <a:solidFill>
                  <a:schemeClr val="tx1"/>
                </a:solidFill>
              </a:rPr>
              <a:t>CDP: gestione anticipazioni</a:t>
            </a:r>
          </a:p>
        </p:txBody>
      </p:sp>
      <p:sp>
        <p:nvSpPr>
          <p:cNvPr id="31" name="Freccia a destra 30"/>
          <p:cNvSpPr/>
          <p:nvPr/>
        </p:nvSpPr>
        <p:spPr>
          <a:xfrm>
            <a:off x="5411868" y="2563427"/>
            <a:ext cx="872645" cy="3074696"/>
          </a:xfrm>
          <a:prstGeom prst="rightArrow">
            <a:avLst>
              <a:gd name="adj1" fmla="val 0"/>
              <a:gd name="adj2" fmla="val 50000"/>
            </a:avLst>
          </a:prstGeom>
          <a:solidFill>
            <a:schemeClr val="tx2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18" name="TextBox 43">
            <a:extLst>
              <a:ext uri="{FF2B5EF4-FFF2-40B4-BE49-F238E27FC236}">
                <a16:creationId xmlns:a16="http://schemas.microsoft.com/office/drawing/2014/main" id="{07C07876-B7FB-48AF-BA0F-0805FE809B65}"/>
              </a:ext>
            </a:extLst>
          </p:cNvPr>
          <p:cNvSpPr txBox="1"/>
          <p:nvPr/>
        </p:nvSpPr>
        <p:spPr>
          <a:xfrm>
            <a:off x="6940129" y="1262776"/>
            <a:ext cx="4624329" cy="338554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GB"/>
            </a:defPPr>
            <a:lvl1pPr marL="0" indent="0">
              <a:buFont typeface="Wingdings" panose="05000000000000000000" pitchFamily="2" charset="2"/>
              <a:buNone/>
              <a:defRPr sz="1800" b="1">
                <a:solidFill>
                  <a:schemeClr val="tx2"/>
                </a:solidFill>
              </a:defRPr>
            </a:lvl1pPr>
          </a:lstStyle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it-IT" sz="1600" kern="0" dirty="0">
                <a:solidFill>
                  <a:schemeClr val="tx1"/>
                </a:solidFill>
                <a:latin typeface="+mj-lt"/>
              </a:rPr>
              <a:t>PLUS DELL’OFFERTA</a:t>
            </a:r>
            <a:endParaRPr lang="en-US" sz="1600" kern="0" dirty="0">
              <a:solidFill>
                <a:schemeClr val="tx1"/>
              </a:solidFill>
              <a:latin typeface="+mj-lt"/>
            </a:endParaRPr>
          </a:p>
        </p:txBody>
      </p:sp>
      <p:cxnSp>
        <p:nvCxnSpPr>
          <p:cNvPr id="19" name="Straight Connector 81">
            <a:extLst>
              <a:ext uri="{FF2B5EF4-FFF2-40B4-BE49-F238E27FC236}">
                <a16:creationId xmlns:a16="http://schemas.microsoft.com/office/drawing/2014/main" id="{630F9D1A-214C-481A-8C91-583ABB06889B}"/>
              </a:ext>
            </a:extLst>
          </p:cNvPr>
          <p:cNvCxnSpPr/>
          <p:nvPr/>
        </p:nvCxnSpPr>
        <p:spPr>
          <a:xfrm>
            <a:off x="7992294" y="1617495"/>
            <a:ext cx="2520000" cy="0"/>
          </a:xfrm>
          <a:prstGeom prst="line">
            <a:avLst/>
          </a:prstGeom>
          <a:noFill/>
          <a:ln w="28575" cap="flat" cmpd="sng" algn="ctr">
            <a:solidFill>
              <a:schemeClr val="tx1"/>
            </a:solidFill>
            <a:prstDash val="solid"/>
            <a:miter lim="800000"/>
          </a:ln>
          <a:effectLst/>
        </p:spPr>
      </p:cxnSp>
      <p:cxnSp>
        <p:nvCxnSpPr>
          <p:cNvPr id="20" name="Connettore diritto 33">
            <a:extLst>
              <a:ext uri="{FF2B5EF4-FFF2-40B4-BE49-F238E27FC236}">
                <a16:creationId xmlns:a16="http://schemas.microsoft.com/office/drawing/2014/main" id="{EA34C5F4-C0B7-4456-B407-A03089E5284B}"/>
              </a:ext>
            </a:extLst>
          </p:cNvPr>
          <p:cNvCxnSpPr/>
          <p:nvPr/>
        </p:nvCxnSpPr>
        <p:spPr>
          <a:xfrm>
            <a:off x="8613202" y="1586576"/>
            <a:ext cx="1296000" cy="0"/>
          </a:xfrm>
          <a:prstGeom prst="line">
            <a:avLst/>
          </a:prstGeom>
          <a:noFill/>
          <a:ln w="50800" cap="flat" cmpd="sng" algn="ctr">
            <a:solidFill>
              <a:schemeClr val="tx1"/>
            </a:solidFill>
            <a:prstDash val="solid"/>
            <a:miter lim="800000"/>
          </a:ln>
          <a:effectLst/>
        </p:spPr>
      </p:cxnSp>
      <p:sp>
        <p:nvSpPr>
          <p:cNvPr id="21" name="TextBox 43">
            <a:extLst>
              <a:ext uri="{FF2B5EF4-FFF2-40B4-BE49-F238E27FC236}">
                <a16:creationId xmlns:a16="http://schemas.microsoft.com/office/drawing/2014/main" id="{07C07876-B7FB-48AF-BA0F-0805FE809B65}"/>
              </a:ext>
            </a:extLst>
          </p:cNvPr>
          <p:cNvSpPr txBox="1"/>
          <p:nvPr/>
        </p:nvSpPr>
        <p:spPr>
          <a:xfrm>
            <a:off x="292870" y="1259533"/>
            <a:ext cx="4624329" cy="338554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GB"/>
            </a:defPPr>
            <a:lvl1pPr marL="0" indent="0">
              <a:buFont typeface="Wingdings" panose="05000000000000000000" pitchFamily="2" charset="2"/>
              <a:buNone/>
              <a:defRPr sz="1800" b="1">
                <a:solidFill>
                  <a:schemeClr val="tx2"/>
                </a:solidFill>
              </a:defRPr>
            </a:lvl1pPr>
          </a:lstStyle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it-IT" sz="1600" kern="0" dirty="0">
                <a:solidFill>
                  <a:schemeClr val="tx1"/>
                </a:solidFill>
                <a:latin typeface="+mj-lt"/>
              </a:rPr>
              <a:t>CARATTERISTICHE OFFERTA</a:t>
            </a:r>
            <a:endParaRPr lang="en-US" sz="1600" kern="0" dirty="0">
              <a:solidFill>
                <a:schemeClr val="tx1"/>
              </a:solidFill>
              <a:latin typeface="+mj-lt"/>
            </a:endParaRPr>
          </a:p>
        </p:txBody>
      </p:sp>
      <p:cxnSp>
        <p:nvCxnSpPr>
          <p:cNvPr id="30" name="Straight Connector 81">
            <a:extLst>
              <a:ext uri="{FF2B5EF4-FFF2-40B4-BE49-F238E27FC236}">
                <a16:creationId xmlns:a16="http://schemas.microsoft.com/office/drawing/2014/main" id="{630F9D1A-214C-481A-8C91-583ABB06889B}"/>
              </a:ext>
            </a:extLst>
          </p:cNvPr>
          <p:cNvCxnSpPr/>
          <p:nvPr/>
        </p:nvCxnSpPr>
        <p:spPr>
          <a:xfrm>
            <a:off x="1345035" y="1614252"/>
            <a:ext cx="2520000" cy="0"/>
          </a:xfrm>
          <a:prstGeom prst="line">
            <a:avLst/>
          </a:prstGeom>
          <a:noFill/>
          <a:ln w="28575" cap="flat" cmpd="sng" algn="ctr">
            <a:solidFill>
              <a:schemeClr val="tx1"/>
            </a:solidFill>
            <a:prstDash val="solid"/>
            <a:miter lim="800000"/>
          </a:ln>
          <a:effectLst/>
        </p:spPr>
      </p:cxnSp>
      <p:cxnSp>
        <p:nvCxnSpPr>
          <p:cNvPr id="32" name="Connettore diritto 33">
            <a:extLst>
              <a:ext uri="{FF2B5EF4-FFF2-40B4-BE49-F238E27FC236}">
                <a16:creationId xmlns:a16="http://schemas.microsoft.com/office/drawing/2014/main" id="{EA34C5F4-C0B7-4456-B407-A03089E5284B}"/>
              </a:ext>
            </a:extLst>
          </p:cNvPr>
          <p:cNvCxnSpPr/>
          <p:nvPr/>
        </p:nvCxnSpPr>
        <p:spPr>
          <a:xfrm>
            <a:off x="1965943" y="1583333"/>
            <a:ext cx="1296000" cy="0"/>
          </a:xfrm>
          <a:prstGeom prst="line">
            <a:avLst/>
          </a:prstGeom>
          <a:noFill/>
          <a:ln w="50800" cap="flat" cmpd="sng" algn="ctr">
            <a:solidFill>
              <a:schemeClr val="tx1"/>
            </a:solidFill>
            <a:prstDash val="solid"/>
            <a:miter lim="800000"/>
          </a:ln>
          <a:effectLst/>
        </p:spPr>
      </p:cxnSp>
      <p:sp>
        <p:nvSpPr>
          <p:cNvPr id="3" name="Rettangolo 2"/>
          <p:cNvSpPr/>
          <p:nvPr/>
        </p:nvSpPr>
        <p:spPr>
          <a:xfrm>
            <a:off x="266402" y="1259534"/>
            <a:ext cx="5239453" cy="5072538"/>
          </a:xfrm>
          <a:prstGeom prst="rect">
            <a:avLst/>
          </a:prstGeom>
          <a:noFill/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33" name="Rettangolo 32"/>
          <p:cNvSpPr/>
          <p:nvPr/>
        </p:nvSpPr>
        <p:spPr>
          <a:xfrm>
            <a:off x="6508338" y="1266020"/>
            <a:ext cx="5239453" cy="5066310"/>
          </a:xfrm>
          <a:prstGeom prst="rect">
            <a:avLst/>
          </a:prstGeom>
          <a:noFill/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sp>
        <p:nvSpPr>
          <p:cNvPr id="34" name="TextBox 12">
            <a:extLst>
              <a:ext uri="{FF2B5EF4-FFF2-40B4-BE49-F238E27FC236}">
                <a16:creationId xmlns:a16="http://schemas.microsoft.com/office/drawing/2014/main" id="{3945CE82-2F2D-4B10-A43D-77116599F1FA}"/>
              </a:ext>
            </a:extLst>
          </p:cNvPr>
          <p:cNvSpPr txBox="1"/>
          <p:nvPr/>
        </p:nvSpPr>
        <p:spPr>
          <a:xfrm>
            <a:off x="7724103" y="2036207"/>
            <a:ext cx="3070120" cy="374571"/>
          </a:xfrm>
          <a:prstGeom prst="roundRect">
            <a:avLst/>
          </a:prstGeom>
          <a:solidFill>
            <a:schemeClr val="tx2"/>
          </a:solidFill>
        </p:spPr>
        <p:txBody>
          <a:bodyPr wrap="square" rtlCol="0">
            <a:spAutoFit/>
          </a:bodyPr>
          <a:lstStyle>
            <a:defPPr>
              <a:defRPr lang="it-IT"/>
            </a:defPPr>
            <a:lvl1pPr algn="ctr">
              <a:defRPr sz="1200" b="1"/>
            </a:lvl1pPr>
          </a:lstStyle>
          <a:p>
            <a:r>
              <a:rPr lang="it-IT" sz="1600" dirty="0">
                <a:solidFill>
                  <a:schemeClr val="bg1"/>
                </a:solidFill>
              </a:rPr>
              <a:t>Economicità</a:t>
            </a:r>
          </a:p>
        </p:txBody>
      </p:sp>
      <p:sp>
        <p:nvSpPr>
          <p:cNvPr id="35" name="TextBox 12">
            <a:extLst>
              <a:ext uri="{FF2B5EF4-FFF2-40B4-BE49-F238E27FC236}">
                <a16:creationId xmlns:a16="http://schemas.microsoft.com/office/drawing/2014/main" id="{E6C1FBD0-4E40-4674-B00E-EF80C6B88863}"/>
              </a:ext>
            </a:extLst>
          </p:cNvPr>
          <p:cNvSpPr txBox="1"/>
          <p:nvPr/>
        </p:nvSpPr>
        <p:spPr>
          <a:xfrm>
            <a:off x="7734042" y="3673917"/>
            <a:ext cx="3060181" cy="374571"/>
          </a:xfrm>
          <a:prstGeom prst="roundRect">
            <a:avLst/>
          </a:prstGeom>
          <a:solidFill>
            <a:schemeClr val="tx2"/>
          </a:solidFill>
        </p:spPr>
        <p:txBody>
          <a:bodyPr wrap="square" rtlCol="0">
            <a:spAutoFit/>
          </a:bodyPr>
          <a:lstStyle>
            <a:defPPr>
              <a:defRPr lang="it-IT"/>
            </a:defPPr>
            <a:lvl1pPr algn="ctr">
              <a:defRPr sz="1200" b="1"/>
            </a:lvl1pPr>
          </a:lstStyle>
          <a:p>
            <a:r>
              <a:rPr lang="it-IT" sz="1600" dirty="0">
                <a:solidFill>
                  <a:schemeClr val="bg1"/>
                </a:solidFill>
              </a:rPr>
              <a:t>Assistenza dedicata</a:t>
            </a:r>
          </a:p>
        </p:txBody>
      </p:sp>
      <p:sp>
        <p:nvSpPr>
          <p:cNvPr id="36" name="TextBox 12">
            <a:extLst>
              <a:ext uri="{FF2B5EF4-FFF2-40B4-BE49-F238E27FC236}">
                <a16:creationId xmlns:a16="http://schemas.microsoft.com/office/drawing/2014/main" id="{DC67905D-E7BA-448B-BD21-ABF1E415ADD6}"/>
              </a:ext>
            </a:extLst>
          </p:cNvPr>
          <p:cNvSpPr txBox="1"/>
          <p:nvPr/>
        </p:nvSpPr>
        <p:spPr>
          <a:xfrm>
            <a:off x="7720261" y="5280861"/>
            <a:ext cx="3073962" cy="374571"/>
          </a:xfrm>
          <a:prstGeom prst="roundRect">
            <a:avLst/>
          </a:prstGeom>
          <a:solidFill>
            <a:schemeClr val="tx2"/>
          </a:solidFill>
        </p:spPr>
        <p:txBody>
          <a:bodyPr wrap="square" rtlCol="0">
            <a:spAutoFit/>
          </a:bodyPr>
          <a:lstStyle>
            <a:defPPr>
              <a:defRPr lang="it-IT"/>
            </a:defPPr>
            <a:lvl1pPr algn="ctr">
              <a:defRPr sz="1200" b="1"/>
            </a:lvl1pPr>
          </a:lstStyle>
          <a:p>
            <a:r>
              <a:rPr lang="it-IT" sz="1600" dirty="0">
                <a:solidFill>
                  <a:schemeClr val="bg1"/>
                </a:solidFill>
              </a:rPr>
              <a:t>Presenza su territorio</a:t>
            </a:r>
          </a:p>
        </p:txBody>
      </p:sp>
      <p:sp>
        <p:nvSpPr>
          <p:cNvPr id="40" name="Rettangolo 39"/>
          <p:cNvSpPr/>
          <p:nvPr/>
        </p:nvSpPr>
        <p:spPr>
          <a:xfrm>
            <a:off x="6838718" y="2477205"/>
            <a:ext cx="4837829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it-IT" sz="1600" kern="0" dirty="0">
                <a:solidFill>
                  <a:schemeClr val="tx1">
                    <a:lumMod val="75000"/>
                  </a:schemeClr>
                </a:solidFill>
                <a:cs typeface="Arial"/>
                <a:sym typeface="Wingdings" panose="05000000000000000000" pitchFamily="2" charset="2"/>
              </a:rPr>
              <a:t>L’offerta presenta un pricing complessivo fortemente competitivo</a:t>
            </a:r>
            <a:endParaRPr lang="it-IT" sz="1600" strike="sngStrike" kern="0" dirty="0">
              <a:solidFill>
                <a:srgbClr val="FF0000"/>
              </a:solidFill>
              <a:cs typeface="Arial"/>
            </a:endParaRPr>
          </a:p>
        </p:txBody>
      </p:sp>
      <p:sp>
        <p:nvSpPr>
          <p:cNvPr id="41" name="Rettangolo 40"/>
          <p:cNvSpPr/>
          <p:nvPr/>
        </p:nvSpPr>
        <p:spPr>
          <a:xfrm>
            <a:off x="6861334" y="4168308"/>
            <a:ext cx="4684807" cy="115416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300"/>
              </a:spcBef>
              <a:buSzPct val="90000"/>
              <a:defRPr/>
            </a:pPr>
            <a:r>
              <a:rPr lang="it-IT" sz="1600" kern="0" dirty="0">
                <a:solidFill>
                  <a:schemeClr val="tx1">
                    <a:lumMod val="75000"/>
                  </a:schemeClr>
                </a:solidFill>
                <a:cs typeface="Arial"/>
              </a:rPr>
              <a:t>Assistenza specialistica al servizio attraverso operatori altamente qualificati </a:t>
            </a:r>
          </a:p>
          <a:p>
            <a:pPr>
              <a:spcBef>
                <a:spcPts val="300"/>
              </a:spcBef>
              <a:buSzPct val="90000"/>
              <a:defRPr/>
            </a:pPr>
            <a:r>
              <a:rPr lang="it-IT" sz="1600" b="1" kern="0" dirty="0"/>
              <a:t>Numero verde: </a:t>
            </a:r>
            <a:r>
              <a:rPr lang="en-GB" sz="1600" b="1" kern="0" dirty="0"/>
              <a:t>800.160.000</a:t>
            </a:r>
          </a:p>
          <a:p>
            <a:pPr>
              <a:spcBef>
                <a:spcPts val="300"/>
              </a:spcBef>
              <a:buSzPct val="90000"/>
              <a:defRPr/>
            </a:pPr>
            <a:endParaRPr lang="it-IT" sz="1600" kern="0" dirty="0">
              <a:solidFill>
                <a:schemeClr val="tx1">
                  <a:lumMod val="75000"/>
                </a:schemeClr>
              </a:solidFill>
              <a:cs typeface="Arial"/>
            </a:endParaRPr>
          </a:p>
        </p:txBody>
      </p:sp>
      <p:sp>
        <p:nvSpPr>
          <p:cNvPr id="42" name="Rettangolo 41"/>
          <p:cNvSpPr/>
          <p:nvPr/>
        </p:nvSpPr>
        <p:spPr>
          <a:xfrm>
            <a:off x="6888164" y="5685073"/>
            <a:ext cx="4788383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300"/>
              </a:spcBef>
              <a:buSzPct val="90000"/>
              <a:defRPr/>
            </a:pPr>
            <a:r>
              <a:rPr lang="it-IT" sz="1600" kern="0" dirty="0">
                <a:solidFill>
                  <a:schemeClr val="tx1">
                    <a:lumMod val="75000"/>
                  </a:schemeClr>
                </a:solidFill>
                <a:cs typeface="Arial"/>
              </a:rPr>
              <a:t>Accesso alla rete dei circa 12.800 Uffici Postali in circolarità per gli incassi</a:t>
            </a:r>
          </a:p>
        </p:txBody>
      </p:sp>
      <p:pic>
        <p:nvPicPr>
          <p:cNvPr id="45" name="Immagine 44" descr="PPT_02-02.png">
            <a:extLst>
              <a:ext uri="{FF2B5EF4-FFF2-40B4-BE49-F238E27FC236}">
                <a16:creationId xmlns:a16="http://schemas.microsoft.com/office/drawing/2014/main" id="{9A0BB992-40BB-4CBA-918E-3AB5252ABEFD}"/>
              </a:ext>
            </a:extLst>
          </p:cNvPr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6674952" y="3587807"/>
            <a:ext cx="540485" cy="540000"/>
          </a:xfrm>
          <a:prstGeom prst="rect">
            <a:avLst/>
          </a:prstGeom>
        </p:spPr>
      </p:pic>
      <p:pic>
        <p:nvPicPr>
          <p:cNvPr id="47" name="Immagine 46">
            <a:extLst>
              <a:ext uri="{FF2B5EF4-FFF2-40B4-BE49-F238E27FC236}">
                <a16:creationId xmlns:a16="http://schemas.microsoft.com/office/drawing/2014/main" id="{38525AE6-BB5E-4A23-A7C5-74435EECA751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6605391" y="5220652"/>
            <a:ext cx="644564" cy="540000"/>
          </a:xfrm>
          <a:prstGeom prst="rect">
            <a:avLst/>
          </a:prstGeom>
        </p:spPr>
      </p:pic>
      <p:pic>
        <p:nvPicPr>
          <p:cNvPr id="44" name="Immagine 43">
            <a:extLst>
              <a:ext uri="{FF2B5EF4-FFF2-40B4-BE49-F238E27FC236}">
                <a16:creationId xmlns:a16="http://schemas.microsoft.com/office/drawing/2014/main" id="{E8EBD4C6-80D1-4DB6-9C96-5B8C1D313F18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74951" y="1865244"/>
            <a:ext cx="540000" cy="540000"/>
          </a:xfrm>
          <a:prstGeom prst="rect">
            <a:avLst/>
          </a:prstGeom>
        </p:spPr>
      </p:pic>
      <p:pic>
        <p:nvPicPr>
          <p:cNvPr id="1026" name="Immagine 1">
            <a:extLst>
              <a:ext uri="{FF2B5EF4-FFF2-40B4-BE49-F238E27FC236}">
                <a16:creationId xmlns:a16="http://schemas.microsoft.com/office/drawing/2014/main" id="{ECE454C0-FA1C-FCCC-DBB4-A0E68BCD54B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85235" y="5121719"/>
            <a:ext cx="867284" cy="533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304330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extBox 43">
            <a:extLst>
              <a:ext uri="{FF2B5EF4-FFF2-40B4-BE49-F238E27FC236}">
                <a16:creationId xmlns:a16="http://schemas.microsoft.com/office/drawing/2014/main" id="{B5C04C8D-CEC7-4A86-B6EA-2159C2A4A1A3}"/>
              </a:ext>
            </a:extLst>
          </p:cNvPr>
          <p:cNvSpPr txBox="1"/>
          <p:nvPr/>
        </p:nvSpPr>
        <p:spPr>
          <a:xfrm>
            <a:off x="292677" y="1586425"/>
            <a:ext cx="3964247" cy="338554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GB"/>
            </a:defPPr>
            <a:lvl1pPr marL="0" indent="0">
              <a:buFont typeface="Wingdings" panose="05000000000000000000" pitchFamily="2" charset="2"/>
              <a:buNone/>
              <a:defRPr sz="1800" b="1">
                <a:solidFill>
                  <a:schemeClr val="tx2"/>
                </a:solidFill>
              </a:defRPr>
            </a:lvl1pPr>
          </a:lstStyle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it-IT" sz="1600" kern="0" dirty="0">
                <a:solidFill>
                  <a:schemeClr val="tx1"/>
                </a:solidFill>
                <a:latin typeface="+mj-lt"/>
              </a:rPr>
              <a:t>MODALITÀ DI ACCESSO</a:t>
            </a:r>
          </a:p>
        </p:txBody>
      </p:sp>
      <p:cxnSp>
        <p:nvCxnSpPr>
          <p:cNvPr id="27" name="Straight Connector 81">
            <a:extLst>
              <a:ext uri="{FF2B5EF4-FFF2-40B4-BE49-F238E27FC236}">
                <a16:creationId xmlns:a16="http://schemas.microsoft.com/office/drawing/2014/main" id="{3CA94AE7-4D21-4D42-BF78-C4E995A08474}"/>
              </a:ext>
            </a:extLst>
          </p:cNvPr>
          <p:cNvCxnSpPr/>
          <p:nvPr/>
        </p:nvCxnSpPr>
        <p:spPr>
          <a:xfrm>
            <a:off x="648995" y="1953794"/>
            <a:ext cx="2520000" cy="0"/>
          </a:xfrm>
          <a:prstGeom prst="line">
            <a:avLst/>
          </a:prstGeom>
          <a:noFill/>
          <a:ln w="28575" cap="flat" cmpd="sng" algn="ctr">
            <a:solidFill>
              <a:schemeClr val="tx1"/>
            </a:solidFill>
            <a:prstDash val="solid"/>
            <a:miter lim="800000"/>
          </a:ln>
          <a:effectLst/>
        </p:spPr>
      </p:cxnSp>
      <p:cxnSp>
        <p:nvCxnSpPr>
          <p:cNvPr id="32" name="Connettore diritto 31">
            <a:extLst>
              <a:ext uri="{FF2B5EF4-FFF2-40B4-BE49-F238E27FC236}">
                <a16:creationId xmlns:a16="http://schemas.microsoft.com/office/drawing/2014/main" id="{C862562C-B6C5-4CE0-9839-4BD5ECB4C40D}"/>
              </a:ext>
            </a:extLst>
          </p:cNvPr>
          <p:cNvCxnSpPr/>
          <p:nvPr/>
        </p:nvCxnSpPr>
        <p:spPr>
          <a:xfrm>
            <a:off x="1269903" y="1932302"/>
            <a:ext cx="1296000" cy="0"/>
          </a:xfrm>
          <a:prstGeom prst="line">
            <a:avLst/>
          </a:prstGeom>
          <a:noFill/>
          <a:ln w="50800" cap="flat" cmpd="sng" algn="ctr">
            <a:solidFill>
              <a:schemeClr val="tx1"/>
            </a:solidFill>
            <a:prstDash val="solid"/>
            <a:miter lim="800000"/>
          </a:ln>
          <a:effectLst/>
        </p:spPr>
      </p:cxnSp>
      <p:sp>
        <p:nvSpPr>
          <p:cNvPr id="36" name="TextBox 43">
            <a:extLst>
              <a:ext uri="{FF2B5EF4-FFF2-40B4-BE49-F238E27FC236}">
                <a16:creationId xmlns:a16="http://schemas.microsoft.com/office/drawing/2014/main" id="{B5C04C8D-CEC7-4A86-B6EA-2159C2A4A1A3}"/>
              </a:ext>
            </a:extLst>
          </p:cNvPr>
          <p:cNvSpPr txBox="1"/>
          <p:nvPr/>
        </p:nvSpPr>
        <p:spPr>
          <a:xfrm>
            <a:off x="5059437" y="1602635"/>
            <a:ext cx="3964247" cy="338554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GB"/>
            </a:defPPr>
            <a:lvl1pPr marL="0" indent="0">
              <a:buFont typeface="Wingdings" panose="05000000000000000000" pitchFamily="2" charset="2"/>
              <a:buNone/>
              <a:defRPr sz="1800" b="1">
                <a:solidFill>
                  <a:schemeClr val="tx2"/>
                </a:solidFill>
              </a:defRPr>
            </a:lvl1pPr>
          </a:lstStyle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it-IT" sz="1600" kern="0" dirty="0">
                <a:solidFill>
                  <a:schemeClr val="tx1"/>
                </a:solidFill>
                <a:latin typeface="+mj-lt"/>
              </a:rPr>
              <a:t>DESCRIZIONE</a:t>
            </a:r>
          </a:p>
        </p:txBody>
      </p:sp>
      <p:cxnSp>
        <p:nvCxnSpPr>
          <p:cNvPr id="37" name="Straight Connector 81">
            <a:extLst>
              <a:ext uri="{FF2B5EF4-FFF2-40B4-BE49-F238E27FC236}">
                <a16:creationId xmlns:a16="http://schemas.microsoft.com/office/drawing/2014/main" id="{3CA94AE7-4D21-4D42-BF78-C4E995A08474}"/>
              </a:ext>
            </a:extLst>
          </p:cNvPr>
          <p:cNvCxnSpPr/>
          <p:nvPr/>
        </p:nvCxnSpPr>
        <p:spPr>
          <a:xfrm>
            <a:off x="5414618" y="1989460"/>
            <a:ext cx="3280342" cy="0"/>
          </a:xfrm>
          <a:prstGeom prst="line">
            <a:avLst/>
          </a:prstGeom>
          <a:noFill/>
          <a:ln w="28575" cap="flat" cmpd="sng" algn="ctr">
            <a:solidFill>
              <a:schemeClr val="tx1"/>
            </a:solidFill>
            <a:prstDash val="solid"/>
            <a:miter lim="800000"/>
          </a:ln>
          <a:effectLst/>
        </p:spPr>
      </p:cxnSp>
      <p:cxnSp>
        <p:nvCxnSpPr>
          <p:cNvPr id="38" name="Connettore diritto 31">
            <a:extLst>
              <a:ext uri="{FF2B5EF4-FFF2-40B4-BE49-F238E27FC236}">
                <a16:creationId xmlns:a16="http://schemas.microsoft.com/office/drawing/2014/main" id="{C862562C-B6C5-4CE0-9839-4BD5ECB4C40D}"/>
              </a:ext>
            </a:extLst>
          </p:cNvPr>
          <p:cNvCxnSpPr/>
          <p:nvPr/>
        </p:nvCxnSpPr>
        <p:spPr>
          <a:xfrm>
            <a:off x="6381429" y="1961959"/>
            <a:ext cx="1296000" cy="0"/>
          </a:xfrm>
          <a:prstGeom prst="line">
            <a:avLst/>
          </a:prstGeom>
          <a:noFill/>
          <a:ln w="50800" cap="flat" cmpd="sng" algn="ctr">
            <a:solidFill>
              <a:schemeClr val="tx1"/>
            </a:solidFill>
            <a:prstDash val="solid"/>
            <a:miter lim="800000"/>
          </a:ln>
          <a:effectLst/>
        </p:spPr>
      </p:cxnSp>
      <p:sp>
        <p:nvSpPr>
          <p:cNvPr id="6" name="Rettangolo arrotondato 5"/>
          <p:cNvSpPr/>
          <p:nvPr/>
        </p:nvSpPr>
        <p:spPr>
          <a:xfrm>
            <a:off x="648995" y="2425208"/>
            <a:ext cx="2661133" cy="1725474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it-IT" b="1" dirty="0">
                <a:solidFill>
                  <a:schemeClr val="tx1"/>
                </a:solidFill>
              </a:rPr>
              <a:t>Affidamento diretto</a:t>
            </a:r>
          </a:p>
        </p:txBody>
      </p:sp>
      <p:sp>
        <p:nvSpPr>
          <p:cNvPr id="40" name="Rettangolo arrotondato 39"/>
          <p:cNvSpPr/>
          <p:nvPr/>
        </p:nvSpPr>
        <p:spPr>
          <a:xfrm>
            <a:off x="650318" y="4533313"/>
            <a:ext cx="2661133" cy="1725474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it-IT" b="1" dirty="0">
                <a:solidFill>
                  <a:schemeClr val="tx1"/>
                </a:solidFill>
              </a:rPr>
              <a:t>Gara pubblica</a:t>
            </a:r>
          </a:p>
        </p:txBody>
      </p:sp>
      <p:sp>
        <p:nvSpPr>
          <p:cNvPr id="41" name="Rectangle 62">
            <a:extLst>
              <a:ext uri="{FF2B5EF4-FFF2-40B4-BE49-F238E27FC236}">
                <a16:creationId xmlns:a16="http://schemas.microsoft.com/office/drawing/2014/main" id="{F3EE3BF2-A2DC-4C65-908C-010A1CA413CC}"/>
              </a:ext>
            </a:extLst>
          </p:cNvPr>
          <p:cNvSpPr/>
          <p:nvPr/>
        </p:nvSpPr>
        <p:spPr bwMode="gray">
          <a:xfrm>
            <a:off x="388980" y="2201339"/>
            <a:ext cx="487835" cy="457077"/>
          </a:xfrm>
          <a:prstGeom prst="ellipse">
            <a:avLst/>
          </a:prstGeom>
          <a:solidFill>
            <a:srgbClr val="EEDC00"/>
          </a:solidFill>
          <a:ln w="38100" cap="flat" cmpd="sng" algn="ctr">
            <a:solidFill>
              <a:sysClr val="window" lastClr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45720" rIns="7200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it-IT" sz="1600" b="1" i="1" kern="0" dirty="0">
                <a:solidFill>
                  <a:srgbClr val="706F6F"/>
                </a:solidFill>
                <a:ea typeface="Apex New Book" panose="02010600040501010103" pitchFamily="2" charset="0"/>
              </a:rPr>
              <a:t>1</a:t>
            </a:r>
            <a:endParaRPr kumimoji="0" lang="it-IT" sz="1600" b="1" i="1" u="none" strike="noStrike" kern="0" cap="none" spc="0" normalizeH="0" baseline="0" noProof="0" dirty="0">
              <a:ln>
                <a:noFill/>
              </a:ln>
              <a:solidFill>
                <a:srgbClr val="706F6F"/>
              </a:solidFill>
              <a:effectLst/>
              <a:uLnTx/>
              <a:uFillTx/>
              <a:ea typeface="Apex New Book" panose="02010600040501010103" pitchFamily="2" charset="0"/>
            </a:endParaRPr>
          </a:p>
        </p:txBody>
      </p:sp>
      <p:sp>
        <p:nvSpPr>
          <p:cNvPr id="18" name="Rectangle 62">
            <a:extLst>
              <a:ext uri="{FF2B5EF4-FFF2-40B4-BE49-F238E27FC236}">
                <a16:creationId xmlns:a16="http://schemas.microsoft.com/office/drawing/2014/main" id="{92181243-096D-4415-9BFD-49EBCCA99E29}"/>
              </a:ext>
            </a:extLst>
          </p:cNvPr>
          <p:cNvSpPr/>
          <p:nvPr/>
        </p:nvSpPr>
        <p:spPr bwMode="gray">
          <a:xfrm>
            <a:off x="350316" y="4340112"/>
            <a:ext cx="487835" cy="453498"/>
          </a:xfrm>
          <a:prstGeom prst="ellipse">
            <a:avLst/>
          </a:prstGeom>
          <a:solidFill>
            <a:srgbClr val="EEDC00"/>
          </a:solidFill>
          <a:ln w="38100" cap="flat" cmpd="sng" algn="ctr">
            <a:solidFill>
              <a:sysClr val="window" lastClr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45720" rIns="7200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it-IT" sz="1600" b="1" i="1" kern="0" dirty="0">
                <a:solidFill>
                  <a:srgbClr val="706F6F"/>
                </a:solidFill>
                <a:ea typeface="Apex New Book" panose="02010600040501010103" pitchFamily="2" charset="0"/>
              </a:rPr>
              <a:t>2</a:t>
            </a:r>
            <a:endParaRPr kumimoji="0" lang="it-IT" sz="1600" b="1" i="1" u="none" strike="noStrike" kern="0" cap="none" spc="0" normalizeH="0" baseline="0" noProof="0" dirty="0">
              <a:ln>
                <a:noFill/>
              </a:ln>
              <a:solidFill>
                <a:srgbClr val="706F6F"/>
              </a:solidFill>
              <a:effectLst/>
              <a:uLnTx/>
              <a:uFillTx/>
              <a:ea typeface="Apex New Book" panose="02010600040501010103" pitchFamily="2" charset="0"/>
            </a:endParaRPr>
          </a:p>
        </p:txBody>
      </p:sp>
      <p:sp>
        <p:nvSpPr>
          <p:cNvPr id="7" name="CasellaDiTesto 6"/>
          <p:cNvSpPr txBox="1"/>
          <p:nvPr/>
        </p:nvSpPr>
        <p:spPr>
          <a:xfrm>
            <a:off x="3782947" y="2396356"/>
            <a:ext cx="5862171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dirty="0"/>
              <a:t>I Comuni sotto i 5k abitanti, in base alla L. 158/2017, possono fare </a:t>
            </a:r>
            <a:r>
              <a:rPr lang="it-IT" b="1" dirty="0"/>
              <a:t>una richiesta di offerta </a:t>
            </a:r>
            <a:r>
              <a:rPr lang="it-IT" dirty="0"/>
              <a:t>a Poste senza ricorrere a procedure competitiv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it-IT" dirty="0"/>
          </a:p>
          <a:p>
            <a:r>
              <a:rPr lang="it-IT" dirty="0"/>
              <a:t>     La piena commercializzazione del servizio Poste-      </a:t>
            </a:r>
          </a:p>
          <a:p>
            <a:r>
              <a:rPr lang="it-IT" dirty="0"/>
              <a:t>     </a:t>
            </a:r>
            <a:r>
              <a:rPr lang="it-IT" dirty="0" err="1"/>
              <a:t>CdP</a:t>
            </a:r>
            <a:r>
              <a:rPr lang="it-IT" dirty="0"/>
              <a:t> è partita dal mese di gennaio del 2019</a:t>
            </a:r>
            <a:endParaRPr lang="it-IT" b="1" dirty="0"/>
          </a:p>
        </p:txBody>
      </p:sp>
      <p:sp>
        <p:nvSpPr>
          <p:cNvPr id="44" name="CasellaDiTesto 43"/>
          <p:cNvSpPr txBox="1"/>
          <p:nvPr/>
        </p:nvSpPr>
        <p:spPr>
          <a:xfrm>
            <a:off x="3782947" y="4834347"/>
            <a:ext cx="5865413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dirty="0"/>
              <a:t>I Comuni fino a 100k abitanti, le province e le città metropolitane (fino ad 1 milione) possono ricorrere agli </a:t>
            </a:r>
            <a:r>
              <a:rPr lang="it-IT" b="1" dirty="0"/>
              <a:t>usuali meccanismi di affidamento tramite gara pubblica</a:t>
            </a:r>
          </a:p>
        </p:txBody>
      </p:sp>
      <p:cxnSp>
        <p:nvCxnSpPr>
          <p:cNvPr id="9" name="Connettore 1 8"/>
          <p:cNvCxnSpPr>
            <a:cxnSpLocks/>
          </p:cNvCxnSpPr>
          <p:nvPr/>
        </p:nvCxnSpPr>
        <p:spPr>
          <a:xfrm flipV="1">
            <a:off x="666331" y="4276308"/>
            <a:ext cx="8898715" cy="38235"/>
          </a:xfrm>
          <a:prstGeom prst="line">
            <a:avLst/>
          </a:prstGeom>
          <a:ln w="28575">
            <a:solidFill>
              <a:schemeClr val="accent3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ttangolo arrotondato 9"/>
          <p:cNvSpPr/>
          <p:nvPr/>
        </p:nvSpPr>
        <p:spPr>
          <a:xfrm>
            <a:off x="305161" y="1247752"/>
            <a:ext cx="9247401" cy="5190565"/>
          </a:xfrm>
          <a:prstGeom prst="roundRect">
            <a:avLst/>
          </a:prstGeom>
          <a:noFill/>
          <a:ln w="381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/>
          </a:p>
        </p:txBody>
      </p:sp>
      <p:pic>
        <p:nvPicPr>
          <p:cNvPr id="45" name="Immagine 44" descr="PPT_02-25.pn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9397755" y="4253960"/>
            <a:ext cx="1031954" cy="1031954"/>
          </a:xfrm>
          <a:prstGeom prst="rect">
            <a:avLst/>
          </a:prstGeom>
        </p:spPr>
      </p:pic>
      <p:pic>
        <p:nvPicPr>
          <p:cNvPr id="46" name="Immagine 45" descr="PPT_02-22.pn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3691263" y="2370787"/>
            <a:ext cx="443029" cy="442631"/>
          </a:xfrm>
          <a:prstGeom prst="rect">
            <a:avLst/>
          </a:prstGeom>
        </p:spPr>
      </p:pic>
      <p:pic>
        <p:nvPicPr>
          <p:cNvPr id="47" name="Immagine 46" descr="PPT_02-22.pn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3691263" y="3418328"/>
            <a:ext cx="443029" cy="442631"/>
          </a:xfrm>
          <a:prstGeom prst="rect">
            <a:avLst/>
          </a:prstGeom>
        </p:spPr>
      </p:pic>
      <p:pic>
        <p:nvPicPr>
          <p:cNvPr id="48" name="Immagine 47" descr="PPT_02-22.pn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3624675" y="4769937"/>
            <a:ext cx="443029" cy="442631"/>
          </a:xfrm>
          <a:prstGeom prst="rect">
            <a:avLst/>
          </a:prstGeom>
        </p:spPr>
      </p:pic>
      <p:sp>
        <p:nvSpPr>
          <p:cNvPr id="25" name="TextBox 12">
            <a:extLst>
              <a:ext uri="{FF2B5EF4-FFF2-40B4-BE49-F238E27FC236}">
                <a16:creationId xmlns:a16="http://schemas.microsoft.com/office/drawing/2014/main" id="{B1F103B2-8585-4933-9E79-94A2D39328DC}"/>
              </a:ext>
            </a:extLst>
          </p:cNvPr>
          <p:cNvSpPr txBox="1"/>
          <p:nvPr/>
        </p:nvSpPr>
        <p:spPr>
          <a:xfrm>
            <a:off x="9657497" y="2811669"/>
            <a:ext cx="2437287" cy="715089"/>
          </a:xfrm>
          <a:prstGeom prst="roundRect">
            <a:avLst/>
          </a:prstGeom>
          <a:solidFill>
            <a:schemeClr val="tx2"/>
          </a:solidFill>
        </p:spPr>
        <p:txBody>
          <a:bodyPr wrap="square" rtlCol="0">
            <a:spAutoFit/>
          </a:bodyPr>
          <a:lstStyle>
            <a:defPPr>
              <a:defRPr lang="it-IT"/>
            </a:defPPr>
            <a:lvl1pPr algn="ctr">
              <a:defRPr sz="1200" b="1"/>
            </a:lvl1pPr>
          </a:lstStyle>
          <a:p>
            <a:r>
              <a:rPr lang="it-IT" sz="1800" dirty="0">
                <a:solidFill>
                  <a:schemeClr val="bg1"/>
                </a:solidFill>
              </a:rPr>
              <a:t>Ambito Poste Italiane </a:t>
            </a:r>
          </a:p>
        </p:txBody>
      </p:sp>
      <p:sp>
        <p:nvSpPr>
          <p:cNvPr id="4" name="Titolo 4">
            <a:extLst>
              <a:ext uri="{FF2B5EF4-FFF2-40B4-BE49-F238E27FC236}">
                <a16:creationId xmlns:a16="http://schemas.microsoft.com/office/drawing/2014/main" id="{9EB2627E-50F8-5FED-2199-897813D644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3618" y="35496"/>
            <a:ext cx="11418587" cy="358951"/>
          </a:xfrm>
        </p:spPr>
        <p:txBody>
          <a:bodyPr>
            <a:normAutofit fontScale="90000"/>
          </a:bodyPr>
          <a:lstStyle/>
          <a:p>
            <a:r>
              <a:rPr lang="it-IT" dirty="0"/>
              <a:t>IL SERVIZIO DI TESORERIA</a:t>
            </a:r>
          </a:p>
        </p:txBody>
      </p:sp>
      <p:sp>
        <p:nvSpPr>
          <p:cNvPr id="8" name="Segnaposto testo 7">
            <a:extLst>
              <a:ext uri="{FF2B5EF4-FFF2-40B4-BE49-F238E27FC236}">
                <a16:creationId xmlns:a16="http://schemas.microsoft.com/office/drawing/2014/main" id="{6DFAE030-0312-06BB-D25D-51952D33E56E}"/>
              </a:ext>
            </a:extLst>
          </p:cNvPr>
          <p:cNvSpPr txBox="1">
            <a:spLocks/>
          </p:cNvSpPr>
          <p:nvPr/>
        </p:nvSpPr>
        <p:spPr>
          <a:xfrm>
            <a:off x="663845" y="451052"/>
            <a:ext cx="10493520" cy="1662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rgbClr val="EFDC01"/>
              </a:buClr>
              <a:buSzPct val="120000"/>
              <a:buFont typeface="Arial" panose="020B0604020202020204" pitchFamily="34" charset="0"/>
              <a:buNone/>
              <a:defRPr lang="it-IT" sz="1800" kern="1200" cap="all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EFDC01"/>
              </a:buClr>
              <a:buSzPct val="120000"/>
              <a:buFont typeface="Wingdings" panose="05000000000000000000" pitchFamily="2" charset="2"/>
              <a:buNone/>
              <a:defRPr lang="it-IT" sz="1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EFDC01"/>
              </a:buClr>
              <a:buSzPct val="115000"/>
              <a:buFont typeface="Courier New" panose="02070309020205020404" pitchFamily="49" charset="0"/>
              <a:buNone/>
              <a:defRPr lang="it-IT" sz="16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EFDC01"/>
              </a:buClr>
              <a:buSzPct val="80000"/>
              <a:buFont typeface="Arial" panose="020B0604020202020204" pitchFamily="34" charset="0"/>
              <a:buNone/>
              <a:defRPr lang="it-IT" sz="14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EFDC01"/>
              </a:buClr>
              <a:buSzPct val="60000"/>
              <a:buFont typeface="Arial" panose="020B0604020202020204" pitchFamily="34" charset="0"/>
              <a:buNone/>
              <a:defRPr lang="it-IT" sz="14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it-IT" sz="1600" dirty="0"/>
              <a:t>Modalità di accesso AL SERVIZIO</a:t>
            </a:r>
          </a:p>
        </p:txBody>
      </p:sp>
    </p:spTree>
    <p:extLst>
      <p:ext uri="{BB962C8B-B14F-4D97-AF65-F5344CB8AC3E}">
        <p14:creationId xmlns:p14="http://schemas.microsoft.com/office/powerpoint/2010/main" val="835997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magin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60186" y="1303706"/>
            <a:ext cx="4542333" cy="4520530"/>
          </a:xfrm>
          <a:prstGeom prst="rect">
            <a:avLst/>
          </a:prstGeom>
        </p:spPr>
      </p:pic>
      <p:pic>
        <p:nvPicPr>
          <p:cNvPr id="7" name="Immagin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70107" y="1303706"/>
            <a:ext cx="3921782" cy="1970364"/>
          </a:xfrm>
          <a:prstGeom prst="rect">
            <a:avLst/>
          </a:prstGeom>
        </p:spPr>
      </p:pic>
      <p:pic>
        <p:nvPicPr>
          <p:cNvPr id="8" name="Immagine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060747" y="3868160"/>
            <a:ext cx="3931142" cy="1956076"/>
          </a:xfrm>
          <a:prstGeom prst="rect">
            <a:avLst/>
          </a:prstGeom>
          <a:ln>
            <a:solidFill>
              <a:schemeClr val="tx1">
                <a:lumMod val="50000"/>
              </a:schemeClr>
            </a:solidFill>
          </a:ln>
        </p:spPr>
      </p:pic>
      <p:pic>
        <p:nvPicPr>
          <p:cNvPr id="3" name="Immagine 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380362" y="3868160"/>
            <a:ext cx="1967422" cy="1967422"/>
          </a:xfrm>
          <a:prstGeom prst="rect">
            <a:avLst/>
          </a:prstGeom>
        </p:spPr>
      </p:pic>
      <p:sp>
        <p:nvSpPr>
          <p:cNvPr id="4" name="Rettangolo 3">
            <a:extLst>
              <a:ext uri="{FF2B5EF4-FFF2-40B4-BE49-F238E27FC236}">
                <a16:creationId xmlns:a16="http://schemas.microsoft.com/office/drawing/2014/main" id="{16EA9EAA-36D8-BAD6-8384-3FD084018764}"/>
              </a:ext>
            </a:extLst>
          </p:cNvPr>
          <p:cNvSpPr/>
          <p:nvPr/>
        </p:nvSpPr>
        <p:spPr>
          <a:xfrm>
            <a:off x="377988" y="6052777"/>
            <a:ext cx="10969796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it-IT" sz="2800" b="1" dirty="0">
                <a:sym typeface="Wingdings" panose="05000000000000000000" pitchFamily="2" charset="2"/>
              </a:rPr>
              <a:t>Poste Italiane gestisce ad oggi circa 800 Piccoli Comuni</a:t>
            </a:r>
            <a:endParaRPr lang="it-IT" sz="2800" b="1" dirty="0"/>
          </a:p>
        </p:txBody>
      </p:sp>
      <p:sp>
        <p:nvSpPr>
          <p:cNvPr id="9" name="Titolo 4">
            <a:extLst>
              <a:ext uri="{FF2B5EF4-FFF2-40B4-BE49-F238E27FC236}">
                <a16:creationId xmlns:a16="http://schemas.microsoft.com/office/drawing/2014/main" id="{EDC14ACE-6E6B-0F9C-B5E7-CDC02D85C29B}"/>
              </a:ext>
            </a:extLst>
          </p:cNvPr>
          <p:cNvSpPr txBox="1">
            <a:spLocks/>
          </p:cNvSpPr>
          <p:nvPr/>
        </p:nvSpPr>
        <p:spPr>
          <a:xfrm>
            <a:off x="753618" y="35496"/>
            <a:ext cx="11418587" cy="358951"/>
          </a:xfrm>
          <a:prstGeom prst="rect">
            <a:avLst/>
          </a:prstGeom>
        </p:spPr>
        <p:txBody>
          <a:bodyPr vert="horz" lIns="0" tIns="0" rIns="0" bIns="0" rtlCol="0" anchor="ctr">
            <a:normAutofit fontScale="97500"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400" b="0" kern="1200" cap="none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it-IT"/>
              <a:t>IL SERVIZIO DI TESORERIA</a:t>
            </a:r>
            <a:endParaRPr lang="it-IT" dirty="0"/>
          </a:p>
        </p:txBody>
      </p:sp>
      <p:sp>
        <p:nvSpPr>
          <p:cNvPr id="10" name="Segnaposto testo 7">
            <a:extLst>
              <a:ext uri="{FF2B5EF4-FFF2-40B4-BE49-F238E27FC236}">
                <a16:creationId xmlns:a16="http://schemas.microsoft.com/office/drawing/2014/main" id="{B31350D9-BA5B-4F30-3A02-A6BD067A722E}"/>
              </a:ext>
            </a:extLst>
          </p:cNvPr>
          <p:cNvSpPr txBox="1">
            <a:spLocks/>
          </p:cNvSpPr>
          <p:nvPr/>
        </p:nvSpPr>
        <p:spPr>
          <a:xfrm>
            <a:off x="663845" y="451052"/>
            <a:ext cx="10493520" cy="1662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rgbClr val="EFDC01"/>
              </a:buClr>
              <a:buSzPct val="120000"/>
              <a:buFont typeface="Arial" panose="020B0604020202020204" pitchFamily="34" charset="0"/>
              <a:buNone/>
              <a:defRPr lang="it-IT" sz="1800" kern="1200" cap="all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EFDC01"/>
              </a:buClr>
              <a:buSzPct val="120000"/>
              <a:buFont typeface="Wingdings" panose="05000000000000000000" pitchFamily="2" charset="2"/>
              <a:buNone/>
              <a:defRPr lang="it-IT" sz="18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EFDC01"/>
              </a:buClr>
              <a:buSzPct val="115000"/>
              <a:buFont typeface="Courier New" panose="02070309020205020404" pitchFamily="49" charset="0"/>
              <a:buNone/>
              <a:defRPr lang="it-IT" sz="16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EFDC01"/>
              </a:buClr>
              <a:buSzPct val="80000"/>
              <a:buFont typeface="Arial" panose="020B0604020202020204" pitchFamily="34" charset="0"/>
              <a:buNone/>
              <a:defRPr lang="it-IT" sz="14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rgbClr val="EFDC01"/>
              </a:buClr>
              <a:buSzPct val="60000"/>
              <a:buFont typeface="Arial" panose="020B0604020202020204" pitchFamily="34" charset="0"/>
              <a:buNone/>
              <a:defRPr lang="it-IT" sz="14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</a:pPr>
            <a:r>
              <a:rPr lang="it-IT" sz="2200" cap="none" dirty="0">
                <a:latin typeface="+mj-lt"/>
                <a:ea typeface="+mj-ea"/>
                <a:cs typeface="+mj-cs"/>
              </a:rPr>
              <a:t>Brochure piccoli comuni</a:t>
            </a:r>
          </a:p>
        </p:txBody>
      </p:sp>
    </p:spTree>
    <p:extLst>
      <p:ext uri="{BB962C8B-B14F-4D97-AF65-F5344CB8AC3E}">
        <p14:creationId xmlns:p14="http://schemas.microsoft.com/office/powerpoint/2010/main" val="22687619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testo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42689758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_Poste">
  <a:themeElements>
    <a:clrScheme name="Personalizzati">
      <a:dk1>
        <a:srgbClr val="3C3C3B"/>
      </a:dk1>
      <a:lt1>
        <a:srgbClr val="FFFFFF"/>
      </a:lt1>
      <a:dk2>
        <a:srgbClr val="0047BB"/>
      </a:dk2>
      <a:lt2>
        <a:srgbClr val="706F6F"/>
      </a:lt2>
      <a:accent1>
        <a:srgbClr val="0047BB"/>
      </a:accent1>
      <a:accent2>
        <a:srgbClr val="E6DC00"/>
      </a:accent2>
      <a:accent3>
        <a:srgbClr val="3C3C3B"/>
      </a:accent3>
      <a:accent4>
        <a:srgbClr val="706F6F"/>
      </a:accent4>
      <a:accent5>
        <a:srgbClr val="C0C0C0"/>
      </a:accent5>
      <a:accent6>
        <a:srgbClr val="3C85FF"/>
      </a:accent6>
      <a:hlink>
        <a:srgbClr val="004691"/>
      </a:hlink>
      <a:folHlink>
        <a:srgbClr val="004691"/>
      </a:folHlink>
    </a:clrScheme>
    <a:fontScheme name="Font Avenir PI">
      <a:majorFont>
        <a:latin typeface="Avenir Next LT Pro"/>
        <a:ea typeface=""/>
        <a:cs typeface=""/>
      </a:majorFont>
      <a:minorFont>
        <a:latin typeface="Avenir Next LT Pr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/>
      <a:bodyPr vert="horz" wrap="square" lIns="0" tIns="13335" rIns="0" bIns="0" rtlCol="0">
        <a:spAutoFit/>
      </a:bodyPr>
      <a:lstStyle>
        <a:defPPr marL="12700" algn="l">
          <a:spcBef>
            <a:spcPts val="105"/>
          </a:spcBef>
          <a:defRPr sz="800" b="1" i="0" spc="600" dirty="0">
            <a:solidFill>
              <a:srgbClr val="706F6F"/>
            </a:solidFill>
            <a:latin typeface="Avenir Next LT Pro" panose="020B0504020202020204"/>
            <a:ea typeface="Microsoft JhengHei UI Light" panose="020B0304030504040204" pitchFamily="34" charset="-120"/>
            <a:cs typeface="Calibri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Tema_Poste" id="{EA483D1F-E824-408F-A426-B2D3DEEEC06C}" vid="{557A2664-3C58-443B-BA81-ADCC0D3A555F}"/>
    </a:ext>
  </a:extLst>
</a:theme>
</file>

<file path=ppt/theme/theme2.xml><?xml version="1.0" encoding="utf-8"?>
<a:theme xmlns:a="http://schemas.openxmlformats.org/drawingml/2006/main" name="21_Tema_PI">
  <a:themeElements>
    <a:clrScheme name="Palette colori PI">
      <a:dk1>
        <a:srgbClr val="3C3C3B"/>
      </a:dk1>
      <a:lt1>
        <a:srgbClr val="FFFFFF"/>
      </a:lt1>
      <a:dk2>
        <a:srgbClr val="0047BB"/>
      </a:dk2>
      <a:lt2>
        <a:srgbClr val="706F6F"/>
      </a:lt2>
      <a:accent1>
        <a:srgbClr val="0047BB"/>
      </a:accent1>
      <a:accent2>
        <a:srgbClr val="E6DC00"/>
      </a:accent2>
      <a:accent3>
        <a:srgbClr val="706F6F"/>
      </a:accent3>
      <a:accent4>
        <a:srgbClr val="3D85FF"/>
      </a:accent4>
      <a:accent5>
        <a:srgbClr val="C0C0C0"/>
      </a:accent5>
      <a:accent6>
        <a:srgbClr val="E5D503"/>
      </a:accent6>
      <a:hlink>
        <a:srgbClr val="004691"/>
      </a:hlink>
      <a:folHlink>
        <a:srgbClr val="004691"/>
      </a:folHlink>
    </a:clrScheme>
    <a:fontScheme name="Font Avenir PI">
      <a:majorFont>
        <a:latin typeface="Avenir Next LT Pro"/>
        <a:ea typeface=""/>
        <a:cs typeface=""/>
      </a:majorFont>
      <a:minorFont>
        <a:latin typeface="Avenir Next LT Pr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Tema_PI" id="{877FE991-B38A-4DB8-8646-63724C30CD3F}" vid="{607F7497-2D7B-4F63-AFC4-D1D81603CE0E}"/>
    </a:ext>
  </a:extLst>
</a:theme>
</file>

<file path=ppt/theme/theme3.xml><?xml version="1.0" encoding="utf-8"?>
<a:theme xmlns:a="http://schemas.openxmlformats.org/drawingml/2006/main" name="22_Tema_PI">
  <a:themeElements>
    <a:clrScheme name="Palette colori PI">
      <a:dk1>
        <a:srgbClr val="3C3C3B"/>
      </a:dk1>
      <a:lt1>
        <a:srgbClr val="FFFFFF"/>
      </a:lt1>
      <a:dk2>
        <a:srgbClr val="0047BB"/>
      </a:dk2>
      <a:lt2>
        <a:srgbClr val="706F6F"/>
      </a:lt2>
      <a:accent1>
        <a:srgbClr val="0047BB"/>
      </a:accent1>
      <a:accent2>
        <a:srgbClr val="E6DC00"/>
      </a:accent2>
      <a:accent3>
        <a:srgbClr val="706F6F"/>
      </a:accent3>
      <a:accent4>
        <a:srgbClr val="3D85FF"/>
      </a:accent4>
      <a:accent5>
        <a:srgbClr val="C0C0C0"/>
      </a:accent5>
      <a:accent6>
        <a:srgbClr val="E5D503"/>
      </a:accent6>
      <a:hlink>
        <a:srgbClr val="004691"/>
      </a:hlink>
      <a:folHlink>
        <a:srgbClr val="004691"/>
      </a:folHlink>
    </a:clrScheme>
    <a:fontScheme name="Font Avenir PI">
      <a:majorFont>
        <a:latin typeface="Avenir Next LT Pro"/>
        <a:ea typeface=""/>
        <a:cs typeface=""/>
      </a:majorFont>
      <a:minorFont>
        <a:latin typeface="Avenir Next LT Pr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Tema_PI" id="{877FE991-B38A-4DB8-8646-63724C30CD3F}" vid="{607F7497-2D7B-4F63-AFC4-D1D81603CE0E}"/>
    </a:ext>
  </a:extLst>
</a:theme>
</file>

<file path=ppt/theme/theme4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7B06F6F8369AB845B7B62AC180720B5C" ma:contentTypeVersion="5" ma:contentTypeDescription="Creare un nuovo documento." ma:contentTypeScope="" ma:versionID="66792b4edd6c2e1d244ec8038bab6bc4">
  <xsd:schema xmlns:xsd="http://www.w3.org/2001/XMLSchema" xmlns:xs="http://www.w3.org/2001/XMLSchema" xmlns:p="http://schemas.microsoft.com/office/2006/metadata/properties" xmlns:ns2="b3d65677-1ae0-4258-a92f-ee65a7f131a5" targetNamespace="http://schemas.microsoft.com/office/2006/metadata/properties" ma:root="true" ma:fieldsID="1519857b39df905b67569dafdf8ffaa9" ns2:_="">
    <xsd:import namespace="b3d65677-1ae0-4258-a92f-ee65a7f131a5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ObjectDetectorVersions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3d65677-1ae0-4258-a92f-ee65a7f131a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LengthInSeconds" ma:index="12" nillable="true" ma:displayName="MediaLengthInSeconds" ma:hidden="true" ma:internalName="MediaLengthInSeconds" ma:readOnly="tru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i contenuto"/>
        <xsd:element ref="dc:title" minOccurs="0" maxOccurs="1" ma:index="4" ma:displayName="Tito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04836EDA-4547-4A45-AEBD-61801139805D}">
  <ds:schemaRefs>
    <ds:schemaRef ds:uri="http://schemas.microsoft.com/office/2006/metadata/contentType"/>
    <ds:schemaRef ds:uri="http://schemas.microsoft.com/office/2006/metadata/properties/metaAttributes"/>
    <ds:schemaRef ds:uri="http://www.w3.org/2000/xmlns/"/>
    <ds:schemaRef ds:uri="http://www.w3.org/2001/XMLSchema"/>
    <ds:schemaRef ds:uri="b3d65677-1ae0-4258-a92f-ee65a7f131a5"/>
    <ds:schemaRef ds:uri="http://schemas.microsoft.com/office/2006/metadata/properties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3FC5F255-F3CD-4205-85E8-FE043D7B10AF}">
  <ds:schemaRefs>
    <ds:schemaRef ds:uri="http://schemas.microsoft.com/office/2006/metadata/properties"/>
    <ds:schemaRef ds:uri="http://www.w3.org/2000/xmlns/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EE5491F8-8FFE-4861-B267-EDA8726C2BEA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761de76f-3d5c-4174-917c-5ad4d06360cb}" enabled="0" method="" siteId="{761de76f-3d5c-4174-917c-5ad4d06360cb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1089</TotalTime>
  <Words>368</Words>
  <Application>Microsoft Office PowerPoint</Application>
  <PresentationFormat>Widescreen</PresentationFormat>
  <Paragraphs>81</Paragraphs>
  <Slides>6</Slides>
  <Notes>0</Notes>
  <HiddenSlides>0</HiddenSlides>
  <MMClips>0</MMClips>
  <ScaleCrop>false</ScaleCrop>
  <HeadingPairs>
    <vt:vector size="8" baseType="variant">
      <vt:variant>
        <vt:lpstr>Caratteri utilizzati</vt:lpstr>
      </vt:variant>
      <vt:variant>
        <vt:i4>8</vt:i4>
      </vt:variant>
      <vt:variant>
        <vt:lpstr>Tema</vt:lpstr>
      </vt:variant>
      <vt:variant>
        <vt:i4>3</vt:i4>
      </vt:variant>
      <vt:variant>
        <vt:lpstr>Server OLE incorporati</vt:lpstr>
      </vt:variant>
      <vt:variant>
        <vt:i4>1</vt:i4>
      </vt:variant>
      <vt:variant>
        <vt:lpstr>Titoli diapositive</vt:lpstr>
      </vt:variant>
      <vt:variant>
        <vt:i4>6</vt:i4>
      </vt:variant>
    </vt:vector>
  </HeadingPairs>
  <TitlesOfParts>
    <vt:vector size="18" baseType="lpstr">
      <vt:lpstr>Microsoft JhengHei UI Light</vt:lpstr>
      <vt:lpstr>Arial</vt:lpstr>
      <vt:lpstr>Avenir Next LT Pro</vt:lpstr>
      <vt:lpstr>AvenirNext LT Pro Regular</vt:lpstr>
      <vt:lpstr>Calibri</vt:lpstr>
      <vt:lpstr>Courier New</vt:lpstr>
      <vt:lpstr>Font di sistema regolare</vt:lpstr>
      <vt:lpstr>Wingdings</vt:lpstr>
      <vt:lpstr>Tema_Poste</vt:lpstr>
      <vt:lpstr>21_Tema_PI</vt:lpstr>
      <vt:lpstr>22_Tema_PI</vt:lpstr>
      <vt:lpstr>think-cell Slide</vt:lpstr>
      <vt:lpstr>Presentazione standard di PowerPoint</vt:lpstr>
      <vt:lpstr>IL SERVIZIO DI TESORERIA</vt:lpstr>
      <vt:lpstr>IL SERVIZIO DI TESORERIA</vt:lpstr>
      <vt:lpstr>IL SERVIZIO DI TESORERIA</vt:lpstr>
      <vt:lpstr>Presentazione standard di PowerPoint</vt:lpstr>
      <vt:lpstr>Presentazione standard di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Layout Poste</dc:title>
  <dc:creator>MRG</dc:creator>
  <cp:lastModifiedBy>AZZIZZI BRUNO (MIPA)</cp:lastModifiedBy>
  <cp:revision>341</cp:revision>
  <cp:lastPrinted>2022-07-27T09:49:10Z</cp:lastPrinted>
  <dcterms:created xsi:type="dcterms:W3CDTF">2016-06-13T14:22:27Z</dcterms:created>
  <dcterms:modified xsi:type="dcterms:W3CDTF">2024-02-15T09:03:0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B06F6F8369AB845B7B62AC180720B5C</vt:lpwstr>
  </property>
</Properties>
</file>